
<file path=[Content_Types].xml><?xml version="1.0" encoding="utf-8"?>
<Types xmlns="http://schemas.openxmlformats.org/package/2006/content-types">
  <Default Extension="bin" ContentType="image/jpeg"/>
  <Default Extension="emf" ContentType="image/x-emf"/>
  <Default Extension="jfif" ContentType="image/jpeg"/>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notesSlides/notesSlide1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7.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8.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36.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2"/>
  </p:sldMasterIdLst>
  <p:notesMasterIdLst>
    <p:notesMasterId r:id="rId55"/>
  </p:notesMasterIdLst>
  <p:handoutMasterIdLst>
    <p:handoutMasterId r:id="rId56"/>
  </p:handoutMasterIdLst>
  <p:sldIdLst>
    <p:sldId id="260" r:id="rId13"/>
    <p:sldId id="258" r:id="rId14"/>
    <p:sldId id="562" r:id="rId15"/>
    <p:sldId id="561" r:id="rId16"/>
    <p:sldId id="534" r:id="rId17"/>
    <p:sldId id="641" r:id="rId18"/>
    <p:sldId id="587" r:id="rId19"/>
    <p:sldId id="642" r:id="rId20"/>
    <p:sldId id="589" r:id="rId21"/>
    <p:sldId id="590" r:id="rId22"/>
    <p:sldId id="593" r:id="rId23"/>
    <p:sldId id="594" r:id="rId24"/>
    <p:sldId id="595" r:id="rId25"/>
    <p:sldId id="596" r:id="rId26"/>
    <p:sldId id="591" r:id="rId27"/>
    <p:sldId id="592" r:id="rId28"/>
    <p:sldId id="531" r:id="rId29"/>
    <p:sldId id="597" r:id="rId30"/>
    <p:sldId id="598" r:id="rId31"/>
    <p:sldId id="599" r:id="rId32"/>
    <p:sldId id="600" r:id="rId33"/>
    <p:sldId id="602" r:id="rId34"/>
    <p:sldId id="639" r:id="rId35"/>
    <p:sldId id="535" r:id="rId36"/>
    <p:sldId id="560" r:id="rId37"/>
    <p:sldId id="563" r:id="rId38"/>
    <p:sldId id="564" r:id="rId39"/>
    <p:sldId id="565" r:id="rId40"/>
    <p:sldId id="566" r:id="rId41"/>
    <p:sldId id="604" r:id="rId42"/>
    <p:sldId id="605" r:id="rId43"/>
    <p:sldId id="606" r:id="rId44"/>
    <p:sldId id="607" r:id="rId45"/>
    <p:sldId id="608" r:id="rId46"/>
    <p:sldId id="610" r:id="rId47"/>
    <p:sldId id="611" r:id="rId48"/>
    <p:sldId id="640" r:id="rId49"/>
    <p:sldId id="568" r:id="rId50"/>
    <p:sldId id="569" r:id="rId51"/>
    <p:sldId id="570" r:id="rId52"/>
    <p:sldId id="638" r:id="rId53"/>
    <p:sldId id="259" r:id="rId54"/>
  </p:sldIdLst>
  <p:sldSz cx="12192000" cy="6858000"/>
  <p:notesSz cx="6858000" cy="9144000"/>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1" id="{25ADF4C8-2200-4410-9F45-B05F5BA6D4E6}">
          <p14:sldIdLst>
            <p14:sldId id="561"/>
            <p14:sldId id="534"/>
            <p14:sldId id="641"/>
            <p14:sldId id="587"/>
            <p14:sldId id="642"/>
            <p14:sldId id="589"/>
            <p14:sldId id="590"/>
            <p14:sldId id="593"/>
            <p14:sldId id="594"/>
            <p14:sldId id="595"/>
            <p14:sldId id="596"/>
            <p14:sldId id="591"/>
            <p14:sldId id="592"/>
            <p14:sldId id="531"/>
            <p14:sldId id="597"/>
            <p14:sldId id="598"/>
            <p14:sldId id="599"/>
            <p14:sldId id="600"/>
            <p14:sldId id="602"/>
            <p14:sldId id="639"/>
            <p14:sldId id="535"/>
            <p14:sldId id="560"/>
            <p14:sldId id="563"/>
          </p14:sldIdLst>
        </p14:section>
        <p14:section name="Lesson2" id="{6F639A05-2893-48A9-A600-6681E43668C4}">
          <p14:sldIdLst>
            <p14:sldId id="564"/>
            <p14:sldId id="565"/>
            <p14:sldId id="566"/>
            <p14:sldId id="604"/>
            <p14:sldId id="605"/>
            <p14:sldId id="606"/>
            <p14:sldId id="607"/>
            <p14:sldId id="608"/>
            <p14:sldId id="610"/>
            <p14:sldId id="611"/>
            <p14:sldId id="640"/>
            <p14:sldId id="568"/>
            <p14:sldId id="569"/>
            <p14:sldId id="570"/>
          </p14:sldIdLst>
        </p14:section>
        <p14:section name="End" id="{A6069B5C-064F-4FB4-B09F-F657BEE751D7}">
          <p14:sldIdLst>
            <p14:sldId id="638"/>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5986B3-56B8-41A0-92EE-231FC3A564EC}" v="71" dt="2020-05-19T22:04:00.8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06" autoAdjust="0"/>
    <p:restoredTop sz="26199" autoAdjust="0"/>
  </p:normalViewPr>
  <p:slideViewPr>
    <p:cSldViewPr showGuides="1">
      <p:cViewPr varScale="1">
        <p:scale>
          <a:sx n="12" d="100"/>
          <a:sy n="12" d="100"/>
        </p:scale>
        <p:origin x="1963" y="14"/>
      </p:cViewPr>
      <p:guideLst/>
    </p:cSldViewPr>
  </p:slideViewPr>
  <p:notesTextViewPr>
    <p:cViewPr>
      <p:scale>
        <a:sx n="1" d="1"/>
        <a:sy n="1" d="1"/>
      </p:scale>
      <p:origin x="0" y="-288"/>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notesMaster" Target="notesMasters/notesMaster1.xml"/><Relationship Id="rId63" Type="http://schemas.microsoft.com/office/2016/11/relationships/changesInfo" Target="changesInfos/changesInfo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customXml" Target="../customXml/item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commentAuthors" Target="commentAuthors.xml"/><Relationship Id="rId5" Type="http://schemas.openxmlformats.org/officeDocument/2006/relationships/customXml" Target="../customXml/item5.xml"/><Relationship Id="rId61" Type="http://schemas.openxmlformats.org/officeDocument/2006/relationships/theme" Target="theme/theme1.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handoutMaster" Target="handoutMasters/handoutMaster1.xml"/><Relationship Id="rId64"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presProps" Target="pres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tags" Target="tags/tag1.xml"/><Relationship Id="rId10" Type="http://schemas.openxmlformats.org/officeDocument/2006/relationships/customXml" Target="../customXml/item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ata Festa" userId="6f22df47-533b-4c2a-a3c1-7f9ad1d63e10" providerId="ADAL" clId="{7E57D0F7-5A0B-4A54-AE70-E30E34B5EF22}"/>
    <pc:docChg chg="delSld modSection">
      <pc:chgData name="Renata Festa" userId="6f22df47-533b-4c2a-a3c1-7f9ad1d63e10" providerId="ADAL" clId="{7E57D0F7-5A0B-4A54-AE70-E30E34B5EF22}" dt="2020-03-31T17:04:56.030" v="0" actId="47"/>
      <pc:docMkLst>
        <pc:docMk/>
      </pc:docMkLst>
      <pc:sldChg chg="del">
        <pc:chgData name="Renata Festa" userId="6f22df47-533b-4c2a-a3c1-7f9ad1d63e10" providerId="ADAL" clId="{7E57D0F7-5A0B-4A54-AE70-E30E34B5EF22}" dt="2020-03-31T17:04:56.030" v="0" actId="47"/>
        <pc:sldMkLst>
          <pc:docMk/>
          <pc:sldMk cId="3782922873" sldId="609"/>
        </pc:sldMkLst>
      </pc:sldChg>
    </pc:docChg>
  </pc:docChgLst>
  <pc:docChgLst>
    <pc:chgData name="Batuhan Yildiz" userId="90f344fc-4655-4923-aeaf-697bba59c1a7" providerId="ADAL" clId="{975986B3-56B8-41A0-92EE-231FC3A564EC}"/>
    <pc:docChg chg="undo custSel addSld delSld modSld modSection">
      <pc:chgData name="Batuhan Yildiz" userId="90f344fc-4655-4923-aeaf-697bba59c1a7" providerId="ADAL" clId="{975986B3-56B8-41A0-92EE-231FC3A564EC}" dt="2020-05-19T22:04:00.850" v="177"/>
      <pc:docMkLst>
        <pc:docMk/>
      </pc:docMkLst>
      <pc:sldChg chg="delSp modSp del mod delAnim modAnim">
        <pc:chgData name="Batuhan Yildiz" userId="90f344fc-4655-4923-aeaf-697bba59c1a7" providerId="ADAL" clId="{975986B3-56B8-41A0-92EE-231FC3A564EC}" dt="2020-05-19T19:48:03.135" v="42" actId="2696"/>
        <pc:sldMkLst>
          <pc:docMk/>
          <pc:sldMk cId="3235270007" sldId="257"/>
        </pc:sldMkLst>
        <pc:spChg chg="mod">
          <ac:chgData name="Batuhan Yildiz" userId="90f344fc-4655-4923-aeaf-697bba59c1a7" providerId="ADAL" clId="{975986B3-56B8-41A0-92EE-231FC3A564EC}" dt="2020-05-19T19:48:01.153" v="40" actId="12"/>
          <ac:spMkLst>
            <pc:docMk/>
            <pc:sldMk cId="3235270007" sldId="257"/>
            <ac:spMk id="6" creationId="{15E9D984-8366-4EBA-8597-A8C841BF2633}"/>
          </ac:spMkLst>
        </pc:spChg>
        <pc:picChg chg="del">
          <ac:chgData name="Batuhan Yildiz" userId="90f344fc-4655-4923-aeaf-697bba59c1a7" providerId="ADAL" clId="{975986B3-56B8-41A0-92EE-231FC3A564EC}" dt="2020-05-19T19:45:45.516" v="3" actId="478"/>
          <ac:picMkLst>
            <pc:docMk/>
            <pc:sldMk cId="3235270007" sldId="257"/>
            <ac:picMk id="7" creationId="{379E82D4-473F-4DA6-83E9-915583A4D32E}"/>
          </ac:picMkLst>
        </pc:picChg>
        <pc:picChg chg="del">
          <ac:chgData name="Batuhan Yildiz" userId="90f344fc-4655-4923-aeaf-697bba59c1a7" providerId="ADAL" clId="{975986B3-56B8-41A0-92EE-231FC3A564EC}" dt="2020-05-19T19:45:44.425" v="2" actId="478"/>
          <ac:picMkLst>
            <pc:docMk/>
            <pc:sldMk cId="3235270007" sldId="257"/>
            <ac:picMk id="8" creationId="{958878E2-1989-44EA-8B4D-DB6BBBAE85DA}"/>
          </ac:picMkLst>
        </pc:picChg>
        <pc:picChg chg="del">
          <ac:chgData name="Batuhan Yildiz" userId="90f344fc-4655-4923-aeaf-697bba59c1a7" providerId="ADAL" clId="{975986B3-56B8-41A0-92EE-231FC3A564EC}" dt="2020-05-19T19:45:41.353" v="1" actId="478"/>
          <ac:picMkLst>
            <pc:docMk/>
            <pc:sldMk cId="3235270007" sldId="257"/>
            <ac:picMk id="9" creationId="{A585F925-5EB4-4EA9-830E-50E93412ECC9}"/>
          </ac:picMkLst>
        </pc:picChg>
        <pc:picChg chg="del">
          <ac:chgData name="Batuhan Yildiz" userId="90f344fc-4655-4923-aeaf-697bba59c1a7" providerId="ADAL" clId="{975986B3-56B8-41A0-92EE-231FC3A564EC}" dt="2020-05-19T19:45:40.128" v="0" actId="478"/>
          <ac:picMkLst>
            <pc:docMk/>
            <pc:sldMk cId="3235270007" sldId="257"/>
            <ac:picMk id="10" creationId="{ACBF07B2-61E8-485A-B727-9B0922D04BC3}"/>
          </ac:picMkLst>
        </pc:picChg>
      </pc:sldChg>
      <pc:sldChg chg="modSp">
        <pc:chgData name="Batuhan Yildiz" userId="90f344fc-4655-4923-aeaf-697bba59c1a7" providerId="ADAL" clId="{975986B3-56B8-41A0-92EE-231FC3A564EC}" dt="2020-05-19T22:02:47.385" v="167" actId="12100"/>
        <pc:sldMkLst>
          <pc:docMk/>
          <pc:sldMk cId="4221783869" sldId="566"/>
        </pc:sldMkLst>
        <pc:graphicFrameChg chg="mod">
          <ac:chgData name="Batuhan Yildiz" userId="90f344fc-4655-4923-aeaf-697bba59c1a7" providerId="ADAL" clId="{975986B3-56B8-41A0-92EE-231FC3A564EC}" dt="2020-05-19T22:02:47.385" v="167" actId="12100"/>
          <ac:graphicFrameMkLst>
            <pc:docMk/>
            <pc:sldMk cId="4221783869" sldId="566"/>
            <ac:graphicFrameMk id="92" creationId="{ECC6120E-4E3B-44BF-9498-F9EE5662E276}"/>
          </ac:graphicFrameMkLst>
        </pc:graphicFrameChg>
      </pc:sldChg>
      <pc:sldChg chg="addSp delSp modSp mod modClrScheme chgLayout modNotesTx">
        <pc:chgData name="Batuhan Yildiz" userId="90f344fc-4655-4923-aeaf-697bba59c1a7" providerId="ADAL" clId="{975986B3-56B8-41A0-92EE-231FC3A564EC}" dt="2020-05-19T19:57:55.563" v="70" actId="20577"/>
        <pc:sldMkLst>
          <pc:docMk/>
          <pc:sldMk cId="3664982634" sldId="587"/>
        </pc:sldMkLst>
        <pc:spChg chg="mod ord">
          <ac:chgData name="Batuhan Yildiz" userId="90f344fc-4655-4923-aeaf-697bba59c1a7" providerId="ADAL" clId="{975986B3-56B8-41A0-92EE-231FC3A564EC}" dt="2020-05-19T19:56:47.881" v="64" actId="700"/>
          <ac:spMkLst>
            <pc:docMk/>
            <pc:sldMk cId="3664982634" sldId="587"/>
            <ac:spMk id="5" creationId="{EE1AC3C7-034D-4D76-8A4B-7B32534D1BDE}"/>
          </ac:spMkLst>
        </pc:spChg>
        <pc:spChg chg="del">
          <ac:chgData name="Batuhan Yildiz" userId="90f344fc-4655-4923-aeaf-697bba59c1a7" providerId="ADAL" clId="{975986B3-56B8-41A0-92EE-231FC3A564EC}" dt="2020-05-19T19:56:16.682" v="59" actId="478"/>
          <ac:spMkLst>
            <pc:docMk/>
            <pc:sldMk cId="3664982634" sldId="587"/>
            <ac:spMk id="89" creationId="{019AA4E8-8310-46D9-8348-AA33FC1B2346}"/>
          </ac:spMkLst>
        </pc:spChg>
        <pc:spChg chg="del">
          <ac:chgData name="Batuhan Yildiz" userId="90f344fc-4655-4923-aeaf-697bba59c1a7" providerId="ADAL" clId="{975986B3-56B8-41A0-92EE-231FC3A564EC}" dt="2020-05-19T19:56:16.682" v="59" actId="478"/>
          <ac:spMkLst>
            <pc:docMk/>
            <pc:sldMk cId="3664982634" sldId="587"/>
            <ac:spMk id="90" creationId="{A64EA47C-FE3C-42C0-A4DB-8BCC53F6E2E2}"/>
          </ac:spMkLst>
        </pc:spChg>
        <pc:spChg chg="del">
          <ac:chgData name="Batuhan Yildiz" userId="90f344fc-4655-4923-aeaf-697bba59c1a7" providerId="ADAL" clId="{975986B3-56B8-41A0-92EE-231FC3A564EC}" dt="2020-05-19T19:56:16.682" v="59" actId="478"/>
          <ac:spMkLst>
            <pc:docMk/>
            <pc:sldMk cId="3664982634" sldId="587"/>
            <ac:spMk id="91" creationId="{9B7D1D39-41BE-434C-B970-4328B8755554}"/>
          </ac:spMkLst>
        </pc:spChg>
        <pc:spChg chg="del">
          <ac:chgData name="Batuhan Yildiz" userId="90f344fc-4655-4923-aeaf-697bba59c1a7" providerId="ADAL" clId="{975986B3-56B8-41A0-92EE-231FC3A564EC}" dt="2020-05-19T19:56:16.682" v="59" actId="478"/>
          <ac:spMkLst>
            <pc:docMk/>
            <pc:sldMk cId="3664982634" sldId="587"/>
            <ac:spMk id="92" creationId="{AEF79A44-2B69-464A-84BD-B3CF4D72A9D2}"/>
          </ac:spMkLst>
        </pc:spChg>
        <pc:spChg chg="del">
          <ac:chgData name="Batuhan Yildiz" userId="90f344fc-4655-4923-aeaf-697bba59c1a7" providerId="ADAL" clId="{975986B3-56B8-41A0-92EE-231FC3A564EC}" dt="2020-05-19T19:56:16.682" v="59" actId="478"/>
          <ac:spMkLst>
            <pc:docMk/>
            <pc:sldMk cId="3664982634" sldId="587"/>
            <ac:spMk id="93" creationId="{57ED24D5-9CB6-4C82-A5D4-5D5E65C1DF26}"/>
          </ac:spMkLst>
        </pc:spChg>
        <pc:spChg chg="del">
          <ac:chgData name="Batuhan Yildiz" userId="90f344fc-4655-4923-aeaf-697bba59c1a7" providerId="ADAL" clId="{975986B3-56B8-41A0-92EE-231FC3A564EC}" dt="2020-05-19T19:56:16.682" v="59" actId="478"/>
          <ac:spMkLst>
            <pc:docMk/>
            <pc:sldMk cId="3664982634" sldId="587"/>
            <ac:spMk id="94" creationId="{8544C767-116C-4259-893A-5723CA0C37F1}"/>
          </ac:spMkLst>
        </pc:spChg>
        <pc:spChg chg="del">
          <ac:chgData name="Batuhan Yildiz" userId="90f344fc-4655-4923-aeaf-697bba59c1a7" providerId="ADAL" clId="{975986B3-56B8-41A0-92EE-231FC3A564EC}" dt="2020-05-19T19:56:16.682" v="59" actId="478"/>
          <ac:spMkLst>
            <pc:docMk/>
            <pc:sldMk cId="3664982634" sldId="587"/>
            <ac:spMk id="95" creationId="{EB0DBD95-891D-4271-8904-CD623BADF3D3}"/>
          </ac:spMkLst>
        </pc:spChg>
        <pc:spChg chg="del">
          <ac:chgData name="Batuhan Yildiz" userId="90f344fc-4655-4923-aeaf-697bba59c1a7" providerId="ADAL" clId="{975986B3-56B8-41A0-92EE-231FC3A564EC}" dt="2020-05-19T19:56:16.682" v="59" actId="478"/>
          <ac:spMkLst>
            <pc:docMk/>
            <pc:sldMk cId="3664982634" sldId="587"/>
            <ac:spMk id="96" creationId="{CEA92197-21C7-4C01-B58F-5B41BAC927D9}"/>
          </ac:spMkLst>
        </pc:spChg>
        <pc:spChg chg="del">
          <ac:chgData name="Batuhan Yildiz" userId="90f344fc-4655-4923-aeaf-697bba59c1a7" providerId="ADAL" clId="{975986B3-56B8-41A0-92EE-231FC3A564EC}" dt="2020-05-19T19:56:16.682" v="59" actId="478"/>
          <ac:spMkLst>
            <pc:docMk/>
            <pc:sldMk cId="3664982634" sldId="587"/>
            <ac:spMk id="97" creationId="{C98A30CA-258F-4C8F-A343-9BA1B053AFBC}"/>
          </ac:spMkLst>
        </pc:spChg>
        <pc:spChg chg="del">
          <ac:chgData name="Batuhan Yildiz" userId="90f344fc-4655-4923-aeaf-697bba59c1a7" providerId="ADAL" clId="{975986B3-56B8-41A0-92EE-231FC3A564EC}" dt="2020-05-19T19:56:16.682" v="59" actId="478"/>
          <ac:spMkLst>
            <pc:docMk/>
            <pc:sldMk cId="3664982634" sldId="587"/>
            <ac:spMk id="98" creationId="{C1DF2645-8B73-427B-A1F2-A2D071E91391}"/>
          </ac:spMkLst>
        </pc:spChg>
        <pc:spChg chg="del">
          <ac:chgData name="Batuhan Yildiz" userId="90f344fc-4655-4923-aeaf-697bba59c1a7" providerId="ADAL" clId="{975986B3-56B8-41A0-92EE-231FC3A564EC}" dt="2020-05-19T19:56:16.682" v="59" actId="478"/>
          <ac:spMkLst>
            <pc:docMk/>
            <pc:sldMk cId="3664982634" sldId="587"/>
            <ac:spMk id="129" creationId="{203EF5C8-62A8-48ED-BD38-E54C2E9B505C}"/>
          </ac:spMkLst>
        </pc:spChg>
        <pc:spChg chg="del">
          <ac:chgData name="Batuhan Yildiz" userId="90f344fc-4655-4923-aeaf-697bba59c1a7" providerId="ADAL" clId="{975986B3-56B8-41A0-92EE-231FC3A564EC}" dt="2020-05-19T19:56:16.682" v="59" actId="478"/>
          <ac:spMkLst>
            <pc:docMk/>
            <pc:sldMk cId="3664982634" sldId="587"/>
            <ac:spMk id="130" creationId="{50BC7E62-D081-4055-BE7E-01AD16EC9DEC}"/>
          </ac:spMkLst>
        </pc:spChg>
        <pc:spChg chg="del">
          <ac:chgData name="Batuhan Yildiz" userId="90f344fc-4655-4923-aeaf-697bba59c1a7" providerId="ADAL" clId="{975986B3-56B8-41A0-92EE-231FC3A564EC}" dt="2020-05-19T19:56:16.682" v="59" actId="478"/>
          <ac:spMkLst>
            <pc:docMk/>
            <pc:sldMk cId="3664982634" sldId="587"/>
            <ac:spMk id="131" creationId="{6DF380AC-1D81-45AD-8451-8C688C7B87FC}"/>
          </ac:spMkLst>
        </pc:spChg>
        <pc:spChg chg="del">
          <ac:chgData name="Batuhan Yildiz" userId="90f344fc-4655-4923-aeaf-697bba59c1a7" providerId="ADAL" clId="{975986B3-56B8-41A0-92EE-231FC3A564EC}" dt="2020-05-19T19:56:16.682" v="59" actId="478"/>
          <ac:spMkLst>
            <pc:docMk/>
            <pc:sldMk cId="3664982634" sldId="587"/>
            <ac:spMk id="132" creationId="{F33BF5AB-9ACF-4832-84FE-8AC2C5A275C2}"/>
          </ac:spMkLst>
        </pc:spChg>
        <pc:spChg chg="del">
          <ac:chgData name="Batuhan Yildiz" userId="90f344fc-4655-4923-aeaf-697bba59c1a7" providerId="ADAL" clId="{975986B3-56B8-41A0-92EE-231FC3A564EC}" dt="2020-05-19T19:56:16.682" v="59" actId="478"/>
          <ac:spMkLst>
            <pc:docMk/>
            <pc:sldMk cId="3664982634" sldId="587"/>
            <ac:spMk id="134" creationId="{BB5BA243-7B05-4AD9-B7C5-624DFA363312}"/>
          </ac:spMkLst>
        </pc:spChg>
        <pc:spChg chg="del">
          <ac:chgData name="Batuhan Yildiz" userId="90f344fc-4655-4923-aeaf-697bba59c1a7" providerId="ADAL" clId="{975986B3-56B8-41A0-92EE-231FC3A564EC}" dt="2020-05-19T19:56:16.682" v="59" actId="478"/>
          <ac:spMkLst>
            <pc:docMk/>
            <pc:sldMk cId="3664982634" sldId="587"/>
            <ac:spMk id="135" creationId="{56723907-55DE-4FCB-9E2D-6A11085C0123}"/>
          </ac:spMkLst>
        </pc:spChg>
        <pc:spChg chg="del">
          <ac:chgData name="Batuhan Yildiz" userId="90f344fc-4655-4923-aeaf-697bba59c1a7" providerId="ADAL" clId="{975986B3-56B8-41A0-92EE-231FC3A564EC}" dt="2020-05-19T19:56:16.682" v="59" actId="478"/>
          <ac:spMkLst>
            <pc:docMk/>
            <pc:sldMk cId="3664982634" sldId="587"/>
            <ac:spMk id="136" creationId="{686139E6-FA5D-49E0-9D53-D218207D2F21}"/>
          </ac:spMkLst>
        </pc:spChg>
        <pc:spChg chg="del">
          <ac:chgData name="Batuhan Yildiz" userId="90f344fc-4655-4923-aeaf-697bba59c1a7" providerId="ADAL" clId="{975986B3-56B8-41A0-92EE-231FC3A564EC}" dt="2020-05-19T19:56:16.682" v="59" actId="478"/>
          <ac:spMkLst>
            <pc:docMk/>
            <pc:sldMk cId="3664982634" sldId="587"/>
            <ac:spMk id="137" creationId="{2E5A41F7-4B98-47AC-84E1-408EFD69D008}"/>
          </ac:spMkLst>
        </pc:spChg>
        <pc:spChg chg="del">
          <ac:chgData name="Batuhan Yildiz" userId="90f344fc-4655-4923-aeaf-697bba59c1a7" providerId="ADAL" clId="{975986B3-56B8-41A0-92EE-231FC3A564EC}" dt="2020-05-19T19:56:16.682" v="59" actId="478"/>
          <ac:spMkLst>
            <pc:docMk/>
            <pc:sldMk cId="3664982634" sldId="587"/>
            <ac:spMk id="148" creationId="{B8A7F043-CE89-410A-90BF-CEE4BB2CCC93}"/>
          </ac:spMkLst>
        </pc:spChg>
        <pc:spChg chg="del">
          <ac:chgData name="Batuhan Yildiz" userId="90f344fc-4655-4923-aeaf-697bba59c1a7" providerId="ADAL" clId="{975986B3-56B8-41A0-92EE-231FC3A564EC}" dt="2020-05-19T19:56:16.682" v="59" actId="478"/>
          <ac:spMkLst>
            <pc:docMk/>
            <pc:sldMk cId="3664982634" sldId="587"/>
            <ac:spMk id="149" creationId="{15F6E2C9-111D-491D-B2AA-0CE0099A76A8}"/>
          </ac:spMkLst>
        </pc:spChg>
        <pc:spChg chg="del">
          <ac:chgData name="Batuhan Yildiz" userId="90f344fc-4655-4923-aeaf-697bba59c1a7" providerId="ADAL" clId="{975986B3-56B8-41A0-92EE-231FC3A564EC}" dt="2020-05-19T19:56:16.682" v="59" actId="478"/>
          <ac:spMkLst>
            <pc:docMk/>
            <pc:sldMk cId="3664982634" sldId="587"/>
            <ac:spMk id="150" creationId="{29784AB6-1F71-4F91-89C2-D0072FD626A8}"/>
          </ac:spMkLst>
        </pc:spChg>
        <pc:spChg chg="del">
          <ac:chgData name="Batuhan Yildiz" userId="90f344fc-4655-4923-aeaf-697bba59c1a7" providerId="ADAL" clId="{975986B3-56B8-41A0-92EE-231FC3A564EC}" dt="2020-05-19T19:56:16.682" v="59" actId="478"/>
          <ac:spMkLst>
            <pc:docMk/>
            <pc:sldMk cId="3664982634" sldId="587"/>
            <ac:spMk id="151" creationId="{2D48B18D-25C9-46A9-B36B-F93C57DE7B34}"/>
          </ac:spMkLst>
        </pc:spChg>
        <pc:spChg chg="del">
          <ac:chgData name="Batuhan Yildiz" userId="90f344fc-4655-4923-aeaf-697bba59c1a7" providerId="ADAL" clId="{975986B3-56B8-41A0-92EE-231FC3A564EC}" dt="2020-05-19T19:56:16.682" v="59" actId="478"/>
          <ac:spMkLst>
            <pc:docMk/>
            <pc:sldMk cId="3664982634" sldId="587"/>
            <ac:spMk id="165" creationId="{1B18E455-D2D3-4F67-871F-CDD2B5B3C341}"/>
          </ac:spMkLst>
        </pc:spChg>
        <pc:spChg chg="del">
          <ac:chgData name="Batuhan Yildiz" userId="90f344fc-4655-4923-aeaf-697bba59c1a7" providerId="ADAL" clId="{975986B3-56B8-41A0-92EE-231FC3A564EC}" dt="2020-05-19T19:56:16.682" v="59" actId="478"/>
          <ac:spMkLst>
            <pc:docMk/>
            <pc:sldMk cId="3664982634" sldId="587"/>
            <ac:spMk id="168" creationId="{B6243862-F33E-4636-8F8B-918974129A9B}"/>
          </ac:spMkLst>
        </pc:spChg>
        <pc:spChg chg="del">
          <ac:chgData name="Batuhan Yildiz" userId="90f344fc-4655-4923-aeaf-697bba59c1a7" providerId="ADAL" clId="{975986B3-56B8-41A0-92EE-231FC3A564EC}" dt="2020-05-19T19:56:16.682" v="59" actId="478"/>
          <ac:spMkLst>
            <pc:docMk/>
            <pc:sldMk cId="3664982634" sldId="587"/>
            <ac:spMk id="169" creationId="{AC032673-28F8-485F-BAC6-64340EA6E775}"/>
          </ac:spMkLst>
        </pc:spChg>
        <pc:spChg chg="del">
          <ac:chgData name="Batuhan Yildiz" userId="90f344fc-4655-4923-aeaf-697bba59c1a7" providerId="ADAL" clId="{975986B3-56B8-41A0-92EE-231FC3A564EC}" dt="2020-05-19T19:56:16.682" v="59" actId="478"/>
          <ac:spMkLst>
            <pc:docMk/>
            <pc:sldMk cId="3664982634" sldId="587"/>
            <ac:spMk id="170" creationId="{CEA5D5A3-05CA-48A8-B6E1-702C33FD7370}"/>
          </ac:spMkLst>
        </pc:spChg>
        <pc:grpChg chg="del">
          <ac:chgData name="Batuhan Yildiz" userId="90f344fc-4655-4923-aeaf-697bba59c1a7" providerId="ADAL" clId="{975986B3-56B8-41A0-92EE-231FC3A564EC}" dt="2020-05-19T19:56:16.682" v="59" actId="478"/>
          <ac:grpSpMkLst>
            <pc:docMk/>
            <pc:sldMk cId="3664982634" sldId="587"/>
            <ac:grpSpMk id="99" creationId="{CF7A3DE8-9171-4270-AD46-E89524F4CFAF}"/>
          </ac:grpSpMkLst>
        </pc:grpChg>
        <pc:grpChg chg="del">
          <ac:chgData name="Batuhan Yildiz" userId="90f344fc-4655-4923-aeaf-697bba59c1a7" providerId="ADAL" clId="{975986B3-56B8-41A0-92EE-231FC3A564EC}" dt="2020-05-19T19:56:16.682" v="59" actId="478"/>
          <ac:grpSpMkLst>
            <pc:docMk/>
            <pc:sldMk cId="3664982634" sldId="587"/>
            <ac:grpSpMk id="109" creationId="{373CE423-7255-40AE-B9CB-D0BCD33708FF}"/>
          </ac:grpSpMkLst>
        </pc:grpChg>
        <pc:grpChg chg="del">
          <ac:chgData name="Batuhan Yildiz" userId="90f344fc-4655-4923-aeaf-697bba59c1a7" providerId="ADAL" clId="{975986B3-56B8-41A0-92EE-231FC3A564EC}" dt="2020-05-19T19:56:16.682" v="59" actId="478"/>
          <ac:grpSpMkLst>
            <pc:docMk/>
            <pc:sldMk cId="3664982634" sldId="587"/>
            <ac:grpSpMk id="119" creationId="{B940804E-E148-4736-ACA4-1F59E7A3162C}"/>
          </ac:grpSpMkLst>
        </pc:grpChg>
        <pc:grpChg chg="del">
          <ac:chgData name="Batuhan Yildiz" userId="90f344fc-4655-4923-aeaf-697bba59c1a7" providerId="ADAL" clId="{975986B3-56B8-41A0-92EE-231FC3A564EC}" dt="2020-05-19T19:56:16.682" v="59" actId="478"/>
          <ac:grpSpMkLst>
            <pc:docMk/>
            <pc:sldMk cId="3664982634" sldId="587"/>
            <ac:grpSpMk id="138" creationId="{8AF7879B-6453-4BD3-BDCC-DCCE002AB0AE}"/>
          </ac:grpSpMkLst>
        </pc:grpChg>
        <pc:grpChg chg="del">
          <ac:chgData name="Batuhan Yildiz" userId="90f344fc-4655-4923-aeaf-697bba59c1a7" providerId="ADAL" clId="{975986B3-56B8-41A0-92EE-231FC3A564EC}" dt="2020-05-19T19:56:16.682" v="59" actId="478"/>
          <ac:grpSpMkLst>
            <pc:docMk/>
            <pc:sldMk cId="3664982634" sldId="587"/>
            <ac:grpSpMk id="154" creationId="{CADF86B5-39AF-47D2-A6F4-E780B96DD629}"/>
          </ac:grpSpMkLst>
        </pc:grpChg>
        <pc:graphicFrameChg chg="mod ord">
          <ac:chgData name="Batuhan Yildiz" userId="90f344fc-4655-4923-aeaf-697bba59c1a7" providerId="ADAL" clId="{975986B3-56B8-41A0-92EE-231FC3A564EC}" dt="2020-05-19T19:57:14.767" v="67" actId="255"/>
          <ac:graphicFrameMkLst>
            <pc:docMk/>
            <pc:sldMk cId="3664982634" sldId="587"/>
            <ac:graphicFrameMk id="2" creationId="{C90ECA4A-BE6C-46B4-BAE1-F4A3B84338BC}"/>
          </ac:graphicFrameMkLst>
        </pc:graphicFrameChg>
        <pc:picChg chg="add mod">
          <ac:chgData name="Batuhan Yildiz" userId="90f344fc-4655-4923-aeaf-697bba59c1a7" providerId="ADAL" clId="{975986B3-56B8-41A0-92EE-231FC3A564EC}" dt="2020-05-19T19:57:00.932" v="65" actId="1076"/>
          <ac:picMkLst>
            <pc:docMk/>
            <pc:sldMk cId="3664982634" sldId="587"/>
            <ac:picMk id="4" creationId="{F97D9A63-2DBC-4F73-BFCF-9F5850F30CAD}"/>
          </ac:picMkLst>
        </pc:picChg>
        <pc:cxnChg chg="del">
          <ac:chgData name="Batuhan Yildiz" userId="90f344fc-4655-4923-aeaf-697bba59c1a7" providerId="ADAL" clId="{975986B3-56B8-41A0-92EE-231FC3A564EC}" dt="2020-05-19T19:56:16.682" v="59" actId="478"/>
          <ac:cxnSpMkLst>
            <pc:docMk/>
            <pc:sldMk cId="3664982634" sldId="587"/>
            <ac:cxnSpMk id="133" creationId="{E94260BF-69B2-45C3-8B24-51FCCBE62841}"/>
          </ac:cxnSpMkLst>
        </pc:cxnChg>
        <pc:cxnChg chg="del">
          <ac:chgData name="Batuhan Yildiz" userId="90f344fc-4655-4923-aeaf-697bba59c1a7" providerId="ADAL" clId="{975986B3-56B8-41A0-92EE-231FC3A564EC}" dt="2020-05-19T19:56:16.682" v="59" actId="478"/>
          <ac:cxnSpMkLst>
            <pc:docMk/>
            <pc:sldMk cId="3664982634" sldId="587"/>
            <ac:cxnSpMk id="152" creationId="{9CDD9F61-EAA0-4DDB-8EFF-D31E0ABC4F29}"/>
          </ac:cxnSpMkLst>
        </pc:cxnChg>
        <pc:cxnChg chg="del">
          <ac:chgData name="Batuhan Yildiz" userId="90f344fc-4655-4923-aeaf-697bba59c1a7" providerId="ADAL" clId="{975986B3-56B8-41A0-92EE-231FC3A564EC}" dt="2020-05-19T19:56:16.682" v="59" actId="478"/>
          <ac:cxnSpMkLst>
            <pc:docMk/>
            <pc:sldMk cId="3664982634" sldId="587"/>
            <ac:cxnSpMk id="153" creationId="{E302FAD3-A2D1-4FB6-B88A-F917AEF68CF9}"/>
          </ac:cxnSpMkLst>
        </pc:cxnChg>
        <pc:cxnChg chg="del">
          <ac:chgData name="Batuhan Yildiz" userId="90f344fc-4655-4923-aeaf-697bba59c1a7" providerId="ADAL" clId="{975986B3-56B8-41A0-92EE-231FC3A564EC}" dt="2020-05-19T19:56:16.682" v="59" actId="478"/>
          <ac:cxnSpMkLst>
            <pc:docMk/>
            <pc:sldMk cId="3664982634" sldId="587"/>
            <ac:cxnSpMk id="166" creationId="{23BB9D3F-9C19-4B55-9A8A-948F225D61E1}"/>
          </ac:cxnSpMkLst>
        </pc:cxnChg>
        <pc:cxnChg chg="del">
          <ac:chgData name="Batuhan Yildiz" userId="90f344fc-4655-4923-aeaf-697bba59c1a7" providerId="ADAL" clId="{975986B3-56B8-41A0-92EE-231FC3A564EC}" dt="2020-05-19T19:56:16.682" v="59" actId="478"/>
          <ac:cxnSpMkLst>
            <pc:docMk/>
            <pc:sldMk cId="3664982634" sldId="587"/>
            <ac:cxnSpMk id="167" creationId="{68A0BFC2-4A20-4154-BB4B-AC3D796C8017}"/>
          </ac:cxnSpMkLst>
        </pc:cxnChg>
        <pc:cxnChg chg="del">
          <ac:chgData name="Batuhan Yildiz" userId="90f344fc-4655-4923-aeaf-697bba59c1a7" providerId="ADAL" clId="{975986B3-56B8-41A0-92EE-231FC3A564EC}" dt="2020-05-19T19:56:16.682" v="59" actId="478"/>
          <ac:cxnSpMkLst>
            <pc:docMk/>
            <pc:sldMk cId="3664982634" sldId="587"/>
            <ac:cxnSpMk id="171" creationId="{3F9C0023-18B4-4504-8273-987BF4B6C92E}"/>
          </ac:cxnSpMkLst>
        </pc:cxnChg>
      </pc:sldChg>
      <pc:sldChg chg="modSp del mod">
        <pc:chgData name="Batuhan Yildiz" userId="90f344fc-4655-4923-aeaf-697bba59c1a7" providerId="ADAL" clId="{975986B3-56B8-41A0-92EE-231FC3A564EC}" dt="2020-05-19T20:06:01.336" v="113" actId="47"/>
        <pc:sldMkLst>
          <pc:docMk/>
          <pc:sldMk cId="1232747909" sldId="588"/>
        </pc:sldMkLst>
        <pc:spChg chg="mod">
          <ac:chgData name="Batuhan Yildiz" userId="90f344fc-4655-4923-aeaf-697bba59c1a7" providerId="ADAL" clId="{975986B3-56B8-41A0-92EE-231FC3A564EC}" dt="2020-05-19T19:58:12.930" v="71"/>
          <ac:spMkLst>
            <pc:docMk/>
            <pc:sldMk cId="1232747909" sldId="588"/>
            <ac:spMk id="5" creationId="{EE1AC3C7-034D-4D76-8A4B-7B32534D1BDE}"/>
          </ac:spMkLst>
        </pc:spChg>
      </pc:sldChg>
      <pc:sldChg chg="addSp delSp modSp add del mod modClrScheme chgLayout">
        <pc:chgData name="Batuhan Yildiz" userId="90f344fc-4655-4923-aeaf-697bba59c1a7" providerId="ADAL" clId="{975986B3-56B8-41A0-92EE-231FC3A564EC}" dt="2020-05-19T22:00:44.848" v="164" actId="478"/>
        <pc:sldMkLst>
          <pc:docMk/>
          <pc:sldMk cId="775669388" sldId="589"/>
        </pc:sldMkLst>
        <pc:spChg chg="add del mod ord">
          <ac:chgData name="Batuhan Yildiz" userId="90f344fc-4655-4923-aeaf-697bba59c1a7" providerId="ADAL" clId="{975986B3-56B8-41A0-92EE-231FC3A564EC}" dt="2020-05-19T22:00:44.848" v="164" actId="478"/>
          <ac:spMkLst>
            <pc:docMk/>
            <pc:sldMk cId="775669388" sldId="589"/>
            <ac:spMk id="2" creationId="{573ECAA9-301C-4F7D-BEA5-8BA8FD30AD08}"/>
          </ac:spMkLst>
        </pc:spChg>
        <pc:spChg chg="del">
          <ac:chgData name="Batuhan Yildiz" userId="90f344fc-4655-4923-aeaf-697bba59c1a7" providerId="ADAL" clId="{975986B3-56B8-41A0-92EE-231FC3A564EC}" dt="2020-05-19T20:08:41.571" v="116" actId="478"/>
          <ac:spMkLst>
            <pc:docMk/>
            <pc:sldMk cId="775669388" sldId="589"/>
            <ac:spMk id="4" creationId="{ECDFD9BC-C30C-403B-ACA7-188DCDE60779}"/>
          </ac:spMkLst>
        </pc:spChg>
        <pc:spChg chg="mod ord">
          <ac:chgData name="Batuhan Yildiz" userId="90f344fc-4655-4923-aeaf-697bba59c1a7" providerId="ADAL" clId="{975986B3-56B8-41A0-92EE-231FC3A564EC}" dt="2020-05-19T20:08:47.734" v="117" actId="700"/>
          <ac:spMkLst>
            <pc:docMk/>
            <pc:sldMk cId="775669388" sldId="589"/>
            <ac:spMk id="5" creationId="{EE1AC3C7-034D-4D76-8A4B-7B32534D1BDE}"/>
          </ac:spMkLst>
        </pc:spChg>
        <pc:spChg chg="del">
          <ac:chgData name="Batuhan Yildiz" userId="90f344fc-4655-4923-aeaf-697bba59c1a7" providerId="ADAL" clId="{975986B3-56B8-41A0-92EE-231FC3A564EC}" dt="2020-05-19T20:08:41.571" v="116" actId="478"/>
          <ac:spMkLst>
            <pc:docMk/>
            <pc:sldMk cId="775669388" sldId="589"/>
            <ac:spMk id="7" creationId="{9163D698-13C0-45BA-BD50-53F89D7A8AB0}"/>
          </ac:spMkLst>
        </pc:spChg>
        <pc:spChg chg="del">
          <ac:chgData name="Batuhan Yildiz" userId="90f344fc-4655-4923-aeaf-697bba59c1a7" providerId="ADAL" clId="{975986B3-56B8-41A0-92EE-231FC3A564EC}" dt="2020-05-19T20:08:41.571" v="116" actId="478"/>
          <ac:spMkLst>
            <pc:docMk/>
            <pc:sldMk cId="775669388" sldId="589"/>
            <ac:spMk id="8" creationId="{6C964A56-5603-42E5-8D77-4504E1507BC5}"/>
          </ac:spMkLst>
        </pc:spChg>
        <pc:spChg chg="del">
          <ac:chgData name="Batuhan Yildiz" userId="90f344fc-4655-4923-aeaf-697bba59c1a7" providerId="ADAL" clId="{975986B3-56B8-41A0-92EE-231FC3A564EC}" dt="2020-05-19T20:08:41.571" v="116" actId="478"/>
          <ac:spMkLst>
            <pc:docMk/>
            <pc:sldMk cId="775669388" sldId="589"/>
            <ac:spMk id="9" creationId="{69BF8CFD-CB4B-4C41-809E-8C34F9AA648E}"/>
          </ac:spMkLst>
        </pc:spChg>
        <pc:spChg chg="del">
          <ac:chgData name="Batuhan Yildiz" userId="90f344fc-4655-4923-aeaf-697bba59c1a7" providerId="ADAL" clId="{975986B3-56B8-41A0-92EE-231FC3A564EC}" dt="2020-05-19T20:08:41.571" v="116" actId="478"/>
          <ac:spMkLst>
            <pc:docMk/>
            <pc:sldMk cId="775669388" sldId="589"/>
            <ac:spMk id="12" creationId="{8AB45393-67D9-4724-A204-1C9BAA058EF2}"/>
          </ac:spMkLst>
        </pc:spChg>
        <pc:spChg chg="del">
          <ac:chgData name="Batuhan Yildiz" userId="90f344fc-4655-4923-aeaf-697bba59c1a7" providerId="ADAL" clId="{975986B3-56B8-41A0-92EE-231FC3A564EC}" dt="2020-05-19T20:08:41.571" v="116" actId="478"/>
          <ac:spMkLst>
            <pc:docMk/>
            <pc:sldMk cId="775669388" sldId="589"/>
            <ac:spMk id="13" creationId="{F5B8035B-7055-4468-975E-AF2CB5BC0489}"/>
          </ac:spMkLst>
        </pc:spChg>
        <pc:spChg chg="del">
          <ac:chgData name="Batuhan Yildiz" userId="90f344fc-4655-4923-aeaf-697bba59c1a7" providerId="ADAL" clId="{975986B3-56B8-41A0-92EE-231FC3A564EC}" dt="2020-05-19T20:08:41.571" v="116" actId="478"/>
          <ac:spMkLst>
            <pc:docMk/>
            <pc:sldMk cId="775669388" sldId="589"/>
            <ac:spMk id="14" creationId="{42AF7D9D-B03D-477E-A3F7-6288CC2DB99B}"/>
          </ac:spMkLst>
        </pc:spChg>
        <pc:spChg chg="del">
          <ac:chgData name="Batuhan Yildiz" userId="90f344fc-4655-4923-aeaf-697bba59c1a7" providerId="ADAL" clId="{975986B3-56B8-41A0-92EE-231FC3A564EC}" dt="2020-05-19T20:08:41.571" v="116" actId="478"/>
          <ac:spMkLst>
            <pc:docMk/>
            <pc:sldMk cId="775669388" sldId="589"/>
            <ac:spMk id="15" creationId="{56BE67C0-C1AD-4089-BACC-AD004B0F04CB}"/>
          </ac:spMkLst>
        </pc:spChg>
        <pc:spChg chg="del">
          <ac:chgData name="Batuhan Yildiz" userId="90f344fc-4655-4923-aeaf-697bba59c1a7" providerId="ADAL" clId="{975986B3-56B8-41A0-92EE-231FC3A564EC}" dt="2020-05-19T20:08:41.571" v="116" actId="478"/>
          <ac:spMkLst>
            <pc:docMk/>
            <pc:sldMk cId="775669388" sldId="589"/>
            <ac:spMk id="16" creationId="{9002EBF0-50F3-43CF-B9A9-F88562903808}"/>
          </ac:spMkLst>
        </pc:spChg>
        <pc:spChg chg="del">
          <ac:chgData name="Batuhan Yildiz" userId="90f344fc-4655-4923-aeaf-697bba59c1a7" providerId="ADAL" clId="{975986B3-56B8-41A0-92EE-231FC3A564EC}" dt="2020-05-19T20:08:41.571" v="116" actId="478"/>
          <ac:spMkLst>
            <pc:docMk/>
            <pc:sldMk cId="775669388" sldId="589"/>
            <ac:spMk id="17" creationId="{2B645F49-15BD-44BB-B0CB-9D7EADD01300}"/>
          </ac:spMkLst>
        </pc:spChg>
        <pc:spChg chg="del">
          <ac:chgData name="Batuhan Yildiz" userId="90f344fc-4655-4923-aeaf-697bba59c1a7" providerId="ADAL" clId="{975986B3-56B8-41A0-92EE-231FC3A564EC}" dt="2020-05-19T20:08:41.571" v="116" actId="478"/>
          <ac:spMkLst>
            <pc:docMk/>
            <pc:sldMk cId="775669388" sldId="589"/>
            <ac:spMk id="18" creationId="{C68F558F-266E-402D-A223-1CBF53A6F373}"/>
          </ac:spMkLst>
        </pc:spChg>
        <pc:spChg chg="del">
          <ac:chgData name="Batuhan Yildiz" userId="90f344fc-4655-4923-aeaf-697bba59c1a7" providerId="ADAL" clId="{975986B3-56B8-41A0-92EE-231FC3A564EC}" dt="2020-05-19T20:08:41.571" v="116" actId="478"/>
          <ac:spMkLst>
            <pc:docMk/>
            <pc:sldMk cId="775669388" sldId="589"/>
            <ac:spMk id="19" creationId="{B8CE2BBC-F947-49CC-806F-477A0A01A2CD}"/>
          </ac:spMkLst>
        </pc:spChg>
        <pc:spChg chg="del">
          <ac:chgData name="Batuhan Yildiz" userId="90f344fc-4655-4923-aeaf-697bba59c1a7" providerId="ADAL" clId="{975986B3-56B8-41A0-92EE-231FC3A564EC}" dt="2020-05-19T20:08:41.571" v="116" actId="478"/>
          <ac:spMkLst>
            <pc:docMk/>
            <pc:sldMk cId="775669388" sldId="589"/>
            <ac:spMk id="20" creationId="{CE2A3F43-BA06-4546-989A-1A9367C89382}"/>
          </ac:spMkLst>
        </pc:spChg>
        <pc:spChg chg="del">
          <ac:chgData name="Batuhan Yildiz" userId="90f344fc-4655-4923-aeaf-697bba59c1a7" providerId="ADAL" clId="{975986B3-56B8-41A0-92EE-231FC3A564EC}" dt="2020-05-19T20:08:41.571" v="116" actId="478"/>
          <ac:spMkLst>
            <pc:docMk/>
            <pc:sldMk cId="775669388" sldId="589"/>
            <ac:spMk id="21" creationId="{461172A3-4E8D-48F8-858F-B8DE5C3A43F6}"/>
          </ac:spMkLst>
        </pc:spChg>
        <pc:spChg chg="del">
          <ac:chgData name="Batuhan Yildiz" userId="90f344fc-4655-4923-aeaf-697bba59c1a7" providerId="ADAL" clId="{975986B3-56B8-41A0-92EE-231FC3A564EC}" dt="2020-05-19T20:08:41.571" v="116" actId="478"/>
          <ac:spMkLst>
            <pc:docMk/>
            <pc:sldMk cId="775669388" sldId="589"/>
            <ac:spMk id="22" creationId="{7AAFE143-7A57-4EC0-8055-D7EC74699D14}"/>
          </ac:spMkLst>
        </pc:spChg>
        <pc:spChg chg="del">
          <ac:chgData name="Batuhan Yildiz" userId="90f344fc-4655-4923-aeaf-697bba59c1a7" providerId="ADAL" clId="{975986B3-56B8-41A0-92EE-231FC3A564EC}" dt="2020-05-19T20:08:41.571" v="116" actId="478"/>
          <ac:spMkLst>
            <pc:docMk/>
            <pc:sldMk cId="775669388" sldId="589"/>
            <ac:spMk id="23" creationId="{E8B14111-9759-4699-BF6C-8A3478B05C6B}"/>
          </ac:spMkLst>
        </pc:spChg>
        <pc:spChg chg="del">
          <ac:chgData name="Batuhan Yildiz" userId="90f344fc-4655-4923-aeaf-697bba59c1a7" providerId="ADAL" clId="{975986B3-56B8-41A0-92EE-231FC3A564EC}" dt="2020-05-19T20:08:41.571" v="116" actId="478"/>
          <ac:spMkLst>
            <pc:docMk/>
            <pc:sldMk cId="775669388" sldId="589"/>
            <ac:spMk id="24" creationId="{7704C2A4-D1C8-4146-8C55-23FB053D8016}"/>
          </ac:spMkLst>
        </pc:spChg>
        <pc:spChg chg="del">
          <ac:chgData name="Batuhan Yildiz" userId="90f344fc-4655-4923-aeaf-697bba59c1a7" providerId="ADAL" clId="{975986B3-56B8-41A0-92EE-231FC3A564EC}" dt="2020-05-19T20:08:41.571" v="116" actId="478"/>
          <ac:spMkLst>
            <pc:docMk/>
            <pc:sldMk cId="775669388" sldId="589"/>
            <ac:spMk id="25" creationId="{4159CED3-EAF3-4344-8D97-E802BF543644}"/>
          </ac:spMkLst>
        </pc:spChg>
        <pc:spChg chg="del">
          <ac:chgData name="Batuhan Yildiz" userId="90f344fc-4655-4923-aeaf-697bba59c1a7" providerId="ADAL" clId="{975986B3-56B8-41A0-92EE-231FC3A564EC}" dt="2020-05-19T20:08:41.571" v="116" actId="478"/>
          <ac:spMkLst>
            <pc:docMk/>
            <pc:sldMk cId="775669388" sldId="589"/>
            <ac:spMk id="26" creationId="{17399C14-B26D-454D-9763-5FDFA1F7C5F3}"/>
          </ac:spMkLst>
        </pc:spChg>
        <pc:spChg chg="del">
          <ac:chgData name="Batuhan Yildiz" userId="90f344fc-4655-4923-aeaf-697bba59c1a7" providerId="ADAL" clId="{975986B3-56B8-41A0-92EE-231FC3A564EC}" dt="2020-05-19T20:08:41.571" v="116" actId="478"/>
          <ac:spMkLst>
            <pc:docMk/>
            <pc:sldMk cId="775669388" sldId="589"/>
            <ac:spMk id="28" creationId="{69EDFDA9-C0F3-479B-B9C3-64D85338D667}"/>
          </ac:spMkLst>
        </pc:spChg>
        <pc:spChg chg="del">
          <ac:chgData name="Batuhan Yildiz" userId="90f344fc-4655-4923-aeaf-697bba59c1a7" providerId="ADAL" clId="{975986B3-56B8-41A0-92EE-231FC3A564EC}" dt="2020-05-19T20:08:41.571" v="116" actId="478"/>
          <ac:spMkLst>
            <pc:docMk/>
            <pc:sldMk cId="775669388" sldId="589"/>
            <ac:spMk id="29" creationId="{5C7FE154-D71A-4D2F-87CD-5BF0E943D9BD}"/>
          </ac:spMkLst>
        </pc:spChg>
        <pc:spChg chg="del">
          <ac:chgData name="Batuhan Yildiz" userId="90f344fc-4655-4923-aeaf-697bba59c1a7" providerId="ADAL" clId="{975986B3-56B8-41A0-92EE-231FC3A564EC}" dt="2020-05-19T20:08:41.571" v="116" actId="478"/>
          <ac:spMkLst>
            <pc:docMk/>
            <pc:sldMk cId="775669388" sldId="589"/>
            <ac:spMk id="30" creationId="{AFA6507E-5C9C-4A27-8066-1DFC95CAA3AD}"/>
          </ac:spMkLst>
        </pc:spChg>
        <pc:spChg chg="del">
          <ac:chgData name="Batuhan Yildiz" userId="90f344fc-4655-4923-aeaf-697bba59c1a7" providerId="ADAL" clId="{975986B3-56B8-41A0-92EE-231FC3A564EC}" dt="2020-05-19T20:08:41.571" v="116" actId="478"/>
          <ac:spMkLst>
            <pc:docMk/>
            <pc:sldMk cId="775669388" sldId="589"/>
            <ac:spMk id="31" creationId="{0B154D3D-5895-4EDA-A455-CF9D891DC0F0}"/>
          </ac:spMkLst>
        </pc:spChg>
        <pc:spChg chg="del">
          <ac:chgData name="Batuhan Yildiz" userId="90f344fc-4655-4923-aeaf-697bba59c1a7" providerId="ADAL" clId="{975986B3-56B8-41A0-92EE-231FC3A564EC}" dt="2020-05-19T20:08:41.571" v="116" actId="478"/>
          <ac:spMkLst>
            <pc:docMk/>
            <pc:sldMk cId="775669388" sldId="589"/>
            <ac:spMk id="33" creationId="{F4F423DF-1819-452E-A609-A9C8D3568E4D}"/>
          </ac:spMkLst>
        </pc:spChg>
        <pc:spChg chg="del">
          <ac:chgData name="Batuhan Yildiz" userId="90f344fc-4655-4923-aeaf-697bba59c1a7" providerId="ADAL" clId="{975986B3-56B8-41A0-92EE-231FC3A564EC}" dt="2020-05-19T20:08:41.571" v="116" actId="478"/>
          <ac:spMkLst>
            <pc:docMk/>
            <pc:sldMk cId="775669388" sldId="589"/>
            <ac:spMk id="34" creationId="{51091E3D-730C-4BC4-9754-225D1216BDE9}"/>
          </ac:spMkLst>
        </pc:spChg>
        <pc:spChg chg="del">
          <ac:chgData name="Batuhan Yildiz" userId="90f344fc-4655-4923-aeaf-697bba59c1a7" providerId="ADAL" clId="{975986B3-56B8-41A0-92EE-231FC3A564EC}" dt="2020-05-19T20:08:41.571" v="116" actId="478"/>
          <ac:spMkLst>
            <pc:docMk/>
            <pc:sldMk cId="775669388" sldId="589"/>
            <ac:spMk id="38" creationId="{06ABC455-3FA8-4E03-AF98-3B6ED8A15892}"/>
          </ac:spMkLst>
        </pc:spChg>
        <pc:spChg chg="del">
          <ac:chgData name="Batuhan Yildiz" userId="90f344fc-4655-4923-aeaf-697bba59c1a7" providerId="ADAL" clId="{975986B3-56B8-41A0-92EE-231FC3A564EC}" dt="2020-05-19T20:08:41.571" v="116" actId="478"/>
          <ac:spMkLst>
            <pc:docMk/>
            <pc:sldMk cId="775669388" sldId="589"/>
            <ac:spMk id="40" creationId="{9AF43908-4BE0-487C-A2DE-2DA289C99088}"/>
          </ac:spMkLst>
        </pc:spChg>
        <pc:spChg chg="del">
          <ac:chgData name="Batuhan Yildiz" userId="90f344fc-4655-4923-aeaf-697bba59c1a7" providerId="ADAL" clId="{975986B3-56B8-41A0-92EE-231FC3A564EC}" dt="2020-05-19T20:08:41.571" v="116" actId="478"/>
          <ac:spMkLst>
            <pc:docMk/>
            <pc:sldMk cId="775669388" sldId="589"/>
            <ac:spMk id="53" creationId="{3183B88D-9C75-4DFB-B6D7-241E93EC8729}"/>
          </ac:spMkLst>
        </pc:spChg>
        <pc:spChg chg="del">
          <ac:chgData name="Batuhan Yildiz" userId="90f344fc-4655-4923-aeaf-697bba59c1a7" providerId="ADAL" clId="{975986B3-56B8-41A0-92EE-231FC3A564EC}" dt="2020-05-19T20:08:41.571" v="116" actId="478"/>
          <ac:spMkLst>
            <pc:docMk/>
            <pc:sldMk cId="775669388" sldId="589"/>
            <ac:spMk id="54" creationId="{1D0C9650-F6E7-4FD3-BD80-7B42C9D34B39}"/>
          </ac:spMkLst>
        </pc:spChg>
        <pc:spChg chg="del">
          <ac:chgData name="Batuhan Yildiz" userId="90f344fc-4655-4923-aeaf-697bba59c1a7" providerId="ADAL" clId="{975986B3-56B8-41A0-92EE-231FC3A564EC}" dt="2020-05-19T20:08:41.571" v="116" actId="478"/>
          <ac:spMkLst>
            <pc:docMk/>
            <pc:sldMk cId="775669388" sldId="589"/>
            <ac:spMk id="86" creationId="{FBA64340-CA84-43E0-82FC-DA8AAE4D2D02}"/>
          </ac:spMkLst>
        </pc:spChg>
        <pc:spChg chg="del">
          <ac:chgData name="Batuhan Yildiz" userId="90f344fc-4655-4923-aeaf-697bba59c1a7" providerId="ADAL" clId="{975986B3-56B8-41A0-92EE-231FC3A564EC}" dt="2020-05-19T20:08:41.571" v="116" actId="478"/>
          <ac:spMkLst>
            <pc:docMk/>
            <pc:sldMk cId="775669388" sldId="589"/>
            <ac:spMk id="87" creationId="{D1CC5E85-0F73-4782-B6D5-904547EB40F8}"/>
          </ac:spMkLst>
        </pc:spChg>
        <pc:spChg chg="del">
          <ac:chgData name="Batuhan Yildiz" userId="90f344fc-4655-4923-aeaf-697bba59c1a7" providerId="ADAL" clId="{975986B3-56B8-41A0-92EE-231FC3A564EC}" dt="2020-05-19T20:08:41.571" v="116" actId="478"/>
          <ac:spMkLst>
            <pc:docMk/>
            <pc:sldMk cId="775669388" sldId="589"/>
            <ac:spMk id="118" creationId="{D7FB15BA-074F-4863-8BB9-696F27E00EBF}"/>
          </ac:spMkLst>
        </pc:spChg>
        <pc:spChg chg="del">
          <ac:chgData name="Batuhan Yildiz" userId="90f344fc-4655-4923-aeaf-697bba59c1a7" providerId="ADAL" clId="{975986B3-56B8-41A0-92EE-231FC3A564EC}" dt="2020-05-19T20:08:41.571" v="116" actId="478"/>
          <ac:spMkLst>
            <pc:docMk/>
            <pc:sldMk cId="775669388" sldId="589"/>
            <ac:spMk id="119" creationId="{E89AB7B9-9FBA-4CC0-A85F-DB69DB230C94}"/>
          </ac:spMkLst>
        </pc:spChg>
        <pc:spChg chg="del">
          <ac:chgData name="Batuhan Yildiz" userId="90f344fc-4655-4923-aeaf-697bba59c1a7" providerId="ADAL" clId="{975986B3-56B8-41A0-92EE-231FC3A564EC}" dt="2020-05-19T20:08:41.571" v="116" actId="478"/>
          <ac:spMkLst>
            <pc:docMk/>
            <pc:sldMk cId="775669388" sldId="589"/>
            <ac:spMk id="120" creationId="{092E23EB-54C9-43BE-AB6C-B5D9909923F0}"/>
          </ac:spMkLst>
        </pc:spChg>
        <pc:spChg chg="del">
          <ac:chgData name="Batuhan Yildiz" userId="90f344fc-4655-4923-aeaf-697bba59c1a7" providerId="ADAL" clId="{975986B3-56B8-41A0-92EE-231FC3A564EC}" dt="2020-05-19T20:08:41.571" v="116" actId="478"/>
          <ac:spMkLst>
            <pc:docMk/>
            <pc:sldMk cId="775669388" sldId="589"/>
            <ac:spMk id="121" creationId="{C78687CC-F6CB-448C-A4B1-85E9443E735B}"/>
          </ac:spMkLst>
        </pc:spChg>
        <pc:spChg chg="mod ord">
          <ac:chgData name="Batuhan Yildiz" userId="90f344fc-4655-4923-aeaf-697bba59c1a7" providerId="ADAL" clId="{975986B3-56B8-41A0-92EE-231FC3A564EC}" dt="2020-05-19T20:10:35.103" v="128" actId="167"/>
          <ac:spMkLst>
            <pc:docMk/>
            <pc:sldMk cId="775669388" sldId="589"/>
            <ac:spMk id="122" creationId="{B2C7901B-6B75-42BF-877C-4E603C76587E}"/>
          </ac:spMkLst>
        </pc:spChg>
        <pc:spChg chg="mod">
          <ac:chgData name="Batuhan Yildiz" userId="90f344fc-4655-4923-aeaf-697bba59c1a7" providerId="ADAL" clId="{975986B3-56B8-41A0-92EE-231FC3A564EC}" dt="2020-05-19T20:10:50.872" v="131" actId="1076"/>
          <ac:spMkLst>
            <pc:docMk/>
            <pc:sldMk cId="775669388" sldId="589"/>
            <ac:spMk id="123" creationId="{4F8F6952-11A9-4B23-AAE4-50DF063546AB}"/>
          </ac:spMkLst>
        </pc:spChg>
        <pc:grpChg chg="del">
          <ac:chgData name="Batuhan Yildiz" userId="90f344fc-4655-4923-aeaf-697bba59c1a7" providerId="ADAL" clId="{975986B3-56B8-41A0-92EE-231FC3A564EC}" dt="2020-05-19T20:08:41.571" v="116" actId="478"/>
          <ac:grpSpMkLst>
            <pc:docMk/>
            <pc:sldMk cId="775669388" sldId="589"/>
            <ac:grpSpMk id="41" creationId="{D39CB476-C862-47FE-9242-852932AAD96D}"/>
          </ac:grpSpMkLst>
        </pc:grpChg>
        <pc:grpChg chg="del">
          <ac:chgData name="Batuhan Yildiz" userId="90f344fc-4655-4923-aeaf-697bba59c1a7" providerId="ADAL" clId="{975986B3-56B8-41A0-92EE-231FC3A564EC}" dt="2020-05-19T20:08:41.571" v="116" actId="478"/>
          <ac:grpSpMkLst>
            <pc:docMk/>
            <pc:sldMk cId="775669388" sldId="589"/>
            <ac:grpSpMk id="55" creationId="{20701D64-611D-4666-AC34-3008B5A348C8}"/>
          </ac:grpSpMkLst>
        </pc:grpChg>
        <pc:grpChg chg="del">
          <ac:chgData name="Batuhan Yildiz" userId="90f344fc-4655-4923-aeaf-697bba59c1a7" providerId="ADAL" clId="{975986B3-56B8-41A0-92EE-231FC3A564EC}" dt="2020-05-19T20:08:41.571" v="116" actId="478"/>
          <ac:grpSpMkLst>
            <pc:docMk/>
            <pc:sldMk cId="775669388" sldId="589"/>
            <ac:grpSpMk id="70" creationId="{23BFEA6A-8798-4137-B537-5C8B854E8695}"/>
          </ac:grpSpMkLst>
        </pc:grpChg>
        <pc:grpChg chg="del">
          <ac:chgData name="Batuhan Yildiz" userId="90f344fc-4655-4923-aeaf-697bba59c1a7" providerId="ADAL" clId="{975986B3-56B8-41A0-92EE-231FC3A564EC}" dt="2020-05-19T20:08:41.571" v="116" actId="478"/>
          <ac:grpSpMkLst>
            <pc:docMk/>
            <pc:sldMk cId="775669388" sldId="589"/>
            <ac:grpSpMk id="88" creationId="{6E546D60-37D1-45F8-A845-62D7976E6A98}"/>
          </ac:grpSpMkLst>
        </pc:grpChg>
        <pc:grpChg chg="del">
          <ac:chgData name="Batuhan Yildiz" userId="90f344fc-4655-4923-aeaf-697bba59c1a7" providerId="ADAL" clId="{975986B3-56B8-41A0-92EE-231FC3A564EC}" dt="2020-05-19T20:08:41.571" v="116" actId="478"/>
          <ac:grpSpMkLst>
            <pc:docMk/>
            <pc:sldMk cId="775669388" sldId="589"/>
            <ac:grpSpMk id="94" creationId="{745EB03E-8666-4423-8295-6C383E613CF4}"/>
          </ac:grpSpMkLst>
        </pc:grpChg>
        <pc:grpChg chg="del">
          <ac:chgData name="Batuhan Yildiz" userId="90f344fc-4655-4923-aeaf-697bba59c1a7" providerId="ADAL" clId="{975986B3-56B8-41A0-92EE-231FC3A564EC}" dt="2020-05-19T20:08:41.571" v="116" actId="478"/>
          <ac:grpSpMkLst>
            <pc:docMk/>
            <pc:sldMk cId="775669388" sldId="589"/>
            <ac:grpSpMk id="100" creationId="{EFCEDE62-49BC-4EB8-AD31-F05556E07C50}"/>
          </ac:grpSpMkLst>
        </pc:grpChg>
        <pc:grpChg chg="del">
          <ac:chgData name="Batuhan Yildiz" userId="90f344fc-4655-4923-aeaf-697bba59c1a7" providerId="ADAL" clId="{975986B3-56B8-41A0-92EE-231FC3A564EC}" dt="2020-05-19T20:08:41.571" v="116" actId="478"/>
          <ac:grpSpMkLst>
            <pc:docMk/>
            <pc:sldMk cId="775669388" sldId="589"/>
            <ac:grpSpMk id="106" creationId="{11D717B3-3D7E-4B8D-A57C-291BFEBC1B3F}"/>
          </ac:grpSpMkLst>
        </pc:grpChg>
        <pc:grpChg chg="del">
          <ac:chgData name="Batuhan Yildiz" userId="90f344fc-4655-4923-aeaf-697bba59c1a7" providerId="ADAL" clId="{975986B3-56B8-41A0-92EE-231FC3A564EC}" dt="2020-05-19T20:08:41.571" v="116" actId="478"/>
          <ac:grpSpMkLst>
            <pc:docMk/>
            <pc:sldMk cId="775669388" sldId="589"/>
            <ac:grpSpMk id="112" creationId="{B93DF57A-C181-49E7-B9E3-F8442FD8916D}"/>
          </ac:grpSpMkLst>
        </pc:grpChg>
        <pc:picChg chg="add mod">
          <ac:chgData name="Batuhan Yildiz" userId="90f344fc-4655-4923-aeaf-697bba59c1a7" providerId="ADAL" clId="{975986B3-56B8-41A0-92EE-231FC3A564EC}" dt="2020-05-19T20:09:15.971" v="119" actId="1076"/>
          <ac:picMkLst>
            <pc:docMk/>
            <pc:sldMk cId="775669388" sldId="589"/>
            <ac:picMk id="6" creationId="{A44A5ECC-13D3-4F0A-9896-EB47436A376B}"/>
          </ac:picMkLst>
        </pc:picChg>
        <pc:cxnChg chg="del">
          <ac:chgData name="Batuhan Yildiz" userId="90f344fc-4655-4923-aeaf-697bba59c1a7" providerId="ADAL" clId="{975986B3-56B8-41A0-92EE-231FC3A564EC}" dt="2020-05-19T20:08:41.571" v="116" actId="478"/>
          <ac:cxnSpMkLst>
            <pc:docMk/>
            <pc:sldMk cId="775669388" sldId="589"/>
            <ac:cxnSpMk id="10" creationId="{55231E28-18A8-4FCD-95A7-952B8F19ACDD}"/>
          </ac:cxnSpMkLst>
        </pc:cxnChg>
        <pc:cxnChg chg="del">
          <ac:chgData name="Batuhan Yildiz" userId="90f344fc-4655-4923-aeaf-697bba59c1a7" providerId="ADAL" clId="{975986B3-56B8-41A0-92EE-231FC3A564EC}" dt="2020-05-19T20:08:41.571" v="116" actId="478"/>
          <ac:cxnSpMkLst>
            <pc:docMk/>
            <pc:sldMk cId="775669388" sldId="589"/>
            <ac:cxnSpMk id="11" creationId="{8D279833-343A-443F-985A-909ED5DAEA8D}"/>
          </ac:cxnSpMkLst>
        </pc:cxnChg>
        <pc:cxnChg chg="del">
          <ac:chgData name="Batuhan Yildiz" userId="90f344fc-4655-4923-aeaf-697bba59c1a7" providerId="ADAL" clId="{975986B3-56B8-41A0-92EE-231FC3A564EC}" dt="2020-05-19T20:08:41.571" v="116" actId="478"/>
          <ac:cxnSpMkLst>
            <pc:docMk/>
            <pc:sldMk cId="775669388" sldId="589"/>
            <ac:cxnSpMk id="27" creationId="{106E2D60-A99C-4AEF-8C69-8E1002E7F7F6}"/>
          </ac:cxnSpMkLst>
        </pc:cxnChg>
        <pc:cxnChg chg="del">
          <ac:chgData name="Batuhan Yildiz" userId="90f344fc-4655-4923-aeaf-697bba59c1a7" providerId="ADAL" clId="{975986B3-56B8-41A0-92EE-231FC3A564EC}" dt="2020-05-19T20:08:41.571" v="116" actId="478"/>
          <ac:cxnSpMkLst>
            <pc:docMk/>
            <pc:sldMk cId="775669388" sldId="589"/>
            <ac:cxnSpMk id="32" creationId="{C372660B-8C75-4261-97BE-907C5082EE3C}"/>
          </ac:cxnSpMkLst>
        </pc:cxnChg>
        <pc:cxnChg chg="del">
          <ac:chgData name="Batuhan Yildiz" userId="90f344fc-4655-4923-aeaf-697bba59c1a7" providerId="ADAL" clId="{975986B3-56B8-41A0-92EE-231FC3A564EC}" dt="2020-05-19T20:08:41.571" v="116" actId="478"/>
          <ac:cxnSpMkLst>
            <pc:docMk/>
            <pc:sldMk cId="775669388" sldId="589"/>
            <ac:cxnSpMk id="35" creationId="{947124B5-FC52-4B8A-90C9-D9B2ED76F7C9}"/>
          </ac:cxnSpMkLst>
        </pc:cxnChg>
        <pc:cxnChg chg="del">
          <ac:chgData name="Batuhan Yildiz" userId="90f344fc-4655-4923-aeaf-697bba59c1a7" providerId="ADAL" clId="{975986B3-56B8-41A0-92EE-231FC3A564EC}" dt="2020-05-19T20:08:41.571" v="116" actId="478"/>
          <ac:cxnSpMkLst>
            <pc:docMk/>
            <pc:sldMk cId="775669388" sldId="589"/>
            <ac:cxnSpMk id="36" creationId="{32198F80-4C04-4BAB-A47A-34B514B05C55}"/>
          </ac:cxnSpMkLst>
        </pc:cxnChg>
        <pc:cxnChg chg="del">
          <ac:chgData name="Batuhan Yildiz" userId="90f344fc-4655-4923-aeaf-697bba59c1a7" providerId="ADAL" clId="{975986B3-56B8-41A0-92EE-231FC3A564EC}" dt="2020-05-19T20:08:41.571" v="116" actId="478"/>
          <ac:cxnSpMkLst>
            <pc:docMk/>
            <pc:sldMk cId="775669388" sldId="589"/>
            <ac:cxnSpMk id="37" creationId="{3B74BDBD-A70D-4B14-BF6D-F28360B1105E}"/>
          </ac:cxnSpMkLst>
        </pc:cxnChg>
        <pc:cxnChg chg="del">
          <ac:chgData name="Batuhan Yildiz" userId="90f344fc-4655-4923-aeaf-697bba59c1a7" providerId="ADAL" clId="{975986B3-56B8-41A0-92EE-231FC3A564EC}" dt="2020-05-19T20:08:41.571" v="116" actId="478"/>
          <ac:cxnSpMkLst>
            <pc:docMk/>
            <pc:sldMk cId="775669388" sldId="589"/>
            <ac:cxnSpMk id="39" creationId="{804534ED-DBF8-42E4-AEF3-0F4A4C08D3DA}"/>
          </ac:cxnSpMkLst>
        </pc:cxnChg>
        <pc:cxnChg chg="del">
          <ac:chgData name="Batuhan Yildiz" userId="90f344fc-4655-4923-aeaf-697bba59c1a7" providerId="ADAL" clId="{975986B3-56B8-41A0-92EE-231FC3A564EC}" dt="2020-05-19T20:08:41.571" v="116" actId="478"/>
          <ac:cxnSpMkLst>
            <pc:docMk/>
            <pc:sldMk cId="775669388" sldId="589"/>
            <ac:cxnSpMk id="85" creationId="{AD736B50-8C12-4855-BEBE-D1657D11F2F1}"/>
          </ac:cxnSpMkLst>
        </pc:cxnChg>
      </pc:sldChg>
      <pc:sldChg chg="addSp delSp modSp mod modClrScheme chgLayout">
        <pc:chgData name="Batuhan Yildiz" userId="90f344fc-4655-4923-aeaf-697bba59c1a7" providerId="ADAL" clId="{975986B3-56B8-41A0-92EE-231FC3A564EC}" dt="2020-05-19T20:17:15.412" v="156" actId="12100"/>
        <pc:sldMkLst>
          <pc:docMk/>
          <pc:sldMk cId="1584017650" sldId="590"/>
        </pc:sldMkLst>
        <pc:spChg chg="del">
          <ac:chgData name="Batuhan Yildiz" userId="90f344fc-4655-4923-aeaf-697bba59c1a7" providerId="ADAL" clId="{975986B3-56B8-41A0-92EE-231FC3A564EC}" dt="2020-05-19T20:16:29.085" v="150" actId="478"/>
          <ac:spMkLst>
            <pc:docMk/>
            <pc:sldMk cId="1584017650" sldId="590"/>
            <ac:spMk id="4" creationId="{D9EEBA85-03CA-42A6-9E33-CFDAB0C3AD47}"/>
          </ac:spMkLst>
        </pc:spChg>
        <pc:spChg chg="mod ord">
          <ac:chgData name="Batuhan Yildiz" userId="90f344fc-4655-4923-aeaf-697bba59c1a7" providerId="ADAL" clId="{975986B3-56B8-41A0-92EE-231FC3A564EC}" dt="2020-05-19T20:16:36.416" v="151" actId="700"/>
          <ac:spMkLst>
            <pc:docMk/>
            <pc:sldMk cId="1584017650" sldId="590"/>
            <ac:spMk id="5" creationId="{EE1AC3C7-034D-4D76-8A4B-7B32534D1BDE}"/>
          </ac:spMkLst>
        </pc:spChg>
        <pc:spChg chg="del">
          <ac:chgData name="Batuhan Yildiz" userId="90f344fc-4655-4923-aeaf-697bba59c1a7" providerId="ADAL" clId="{975986B3-56B8-41A0-92EE-231FC3A564EC}" dt="2020-05-19T20:16:29.085" v="150" actId="478"/>
          <ac:spMkLst>
            <pc:docMk/>
            <pc:sldMk cId="1584017650" sldId="590"/>
            <ac:spMk id="7" creationId="{58C62879-FF1D-4169-BD8B-EA323A74696A}"/>
          </ac:spMkLst>
        </pc:spChg>
        <pc:spChg chg="del">
          <ac:chgData name="Batuhan Yildiz" userId="90f344fc-4655-4923-aeaf-697bba59c1a7" providerId="ADAL" clId="{975986B3-56B8-41A0-92EE-231FC3A564EC}" dt="2020-05-19T20:16:29.085" v="150" actId="478"/>
          <ac:spMkLst>
            <pc:docMk/>
            <pc:sldMk cId="1584017650" sldId="590"/>
            <ac:spMk id="8" creationId="{D80CBE09-3B71-4A37-AF24-24494C79553D}"/>
          </ac:spMkLst>
        </pc:spChg>
        <pc:spChg chg="del">
          <ac:chgData name="Batuhan Yildiz" userId="90f344fc-4655-4923-aeaf-697bba59c1a7" providerId="ADAL" clId="{975986B3-56B8-41A0-92EE-231FC3A564EC}" dt="2020-05-19T20:16:29.085" v="150" actId="478"/>
          <ac:spMkLst>
            <pc:docMk/>
            <pc:sldMk cId="1584017650" sldId="590"/>
            <ac:spMk id="9" creationId="{9400E574-2D28-409D-8677-1BD98BEAED48}"/>
          </ac:spMkLst>
        </pc:spChg>
        <pc:spChg chg="del">
          <ac:chgData name="Batuhan Yildiz" userId="90f344fc-4655-4923-aeaf-697bba59c1a7" providerId="ADAL" clId="{975986B3-56B8-41A0-92EE-231FC3A564EC}" dt="2020-05-19T20:16:29.085" v="150" actId="478"/>
          <ac:spMkLst>
            <pc:docMk/>
            <pc:sldMk cId="1584017650" sldId="590"/>
            <ac:spMk id="10" creationId="{2F4269D5-90A6-4187-BEA4-74FBC2DF75C0}"/>
          </ac:spMkLst>
        </pc:spChg>
        <pc:spChg chg="del">
          <ac:chgData name="Batuhan Yildiz" userId="90f344fc-4655-4923-aeaf-697bba59c1a7" providerId="ADAL" clId="{975986B3-56B8-41A0-92EE-231FC3A564EC}" dt="2020-05-19T20:16:29.085" v="150" actId="478"/>
          <ac:spMkLst>
            <pc:docMk/>
            <pc:sldMk cId="1584017650" sldId="590"/>
            <ac:spMk id="11" creationId="{083B3F44-A591-49C8-947A-456CC626F9A4}"/>
          </ac:spMkLst>
        </pc:spChg>
        <pc:spChg chg="del">
          <ac:chgData name="Batuhan Yildiz" userId="90f344fc-4655-4923-aeaf-697bba59c1a7" providerId="ADAL" clId="{975986B3-56B8-41A0-92EE-231FC3A564EC}" dt="2020-05-19T20:16:29.085" v="150" actId="478"/>
          <ac:spMkLst>
            <pc:docMk/>
            <pc:sldMk cId="1584017650" sldId="590"/>
            <ac:spMk id="12" creationId="{A01D9C4E-F2DA-47A1-BCA5-F9FD114A93D3}"/>
          </ac:spMkLst>
        </pc:spChg>
        <pc:spChg chg="del">
          <ac:chgData name="Batuhan Yildiz" userId="90f344fc-4655-4923-aeaf-697bba59c1a7" providerId="ADAL" clId="{975986B3-56B8-41A0-92EE-231FC3A564EC}" dt="2020-05-19T20:16:29.085" v="150" actId="478"/>
          <ac:spMkLst>
            <pc:docMk/>
            <pc:sldMk cId="1584017650" sldId="590"/>
            <ac:spMk id="13" creationId="{46CC8BB2-F7E5-429D-9F1A-29A4CBC14F33}"/>
          </ac:spMkLst>
        </pc:spChg>
        <pc:spChg chg="del">
          <ac:chgData name="Batuhan Yildiz" userId="90f344fc-4655-4923-aeaf-697bba59c1a7" providerId="ADAL" clId="{975986B3-56B8-41A0-92EE-231FC3A564EC}" dt="2020-05-19T20:16:29.085" v="150" actId="478"/>
          <ac:spMkLst>
            <pc:docMk/>
            <pc:sldMk cId="1584017650" sldId="590"/>
            <ac:spMk id="14" creationId="{38EB3FA2-B598-4381-BDD9-58CF4787D890}"/>
          </ac:spMkLst>
        </pc:spChg>
        <pc:spChg chg="del">
          <ac:chgData name="Batuhan Yildiz" userId="90f344fc-4655-4923-aeaf-697bba59c1a7" providerId="ADAL" clId="{975986B3-56B8-41A0-92EE-231FC3A564EC}" dt="2020-05-19T20:16:29.085" v="150" actId="478"/>
          <ac:spMkLst>
            <pc:docMk/>
            <pc:sldMk cId="1584017650" sldId="590"/>
            <ac:spMk id="15" creationId="{9B209C50-FD75-47A7-9434-6C5403738133}"/>
          </ac:spMkLst>
        </pc:spChg>
        <pc:spChg chg="del">
          <ac:chgData name="Batuhan Yildiz" userId="90f344fc-4655-4923-aeaf-697bba59c1a7" providerId="ADAL" clId="{975986B3-56B8-41A0-92EE-231FC3A564EC}" dt="2020-05-19T20:16:29.085" v="150" actId="478"/>
          <ac:spMkLst>
            <pc:docMk/>
            <pc:sldMk cId="1584017650" sldId="590"/>
            <ac:spMk id="16" creationId="{BEEFF59E-2CA7-49A7-853A-54E24BB0235C}"/>
          </ac:spMkLst>
        </pc:spChg>
        <pc:spChg chg="del">
          <ac:chgData name="Batuhan Yildiz" userId="90f344fc-4655-4923-aeaf-697bba59c1a7" providerId="ADAL" clId="{975986B3-56B8-41A0-92EE-231FC3A564EC}" dt="2020-05-19T20:16:29.085" v="150" actId="478"/>
          <ac:spMkLst>
            <pc:docMk/>
            <pc:sldMk cId="1584017650" sldId="590"/>
            <ac:spMk id="17" creationId="{F60955DF-7A3A-40DB-91F2-A1F39200DABF}"/>
          </ac:spMkLst>
        </pc:spChg>
        <pc:spChg chg="del">
          <ac:chgData name="Batuhan Yildiz" userId="90f344fc-4655-4923-aeaf-697bba59c1a7" providerId="ADAL" clId="{975986B3-56B8-41A0-92EE-231FC3A564EC}" dt="2020-05-19T20:16:29.085" v="150" actId="478"/>
          <ac:spMkLst>
            <pc:docMk/>
            <pc:sldMk cId="1584017650" sldId="590"/>
            <ac:spMk id="30" creationId="{23665BF1-2004-426B-ABEE-A21529C42AB2}"/>
          </ac:spMkLst>
        </pc:spChg>
        <pc:spChg chg="del">
          <ac:chgData name="Batuhan Yildiz" userId="90f344fc-4655-4923-aeaf-697bba59c1a7" providerId="ADAL" clId="{975986B3-56B8-41A0-92EE-231FC3A564EC}" dt="2020-05-19T20:16:29.085" v="150" actId="478"/>
          <ac:spMkLst>
            <pc:docMk/>
            <pc:sldMk cId="1584017650" sldId="590"/>
            <ac:spMk id="31" creationId="{CAD884E2-BD41-47D7-8122-7D2848679D9E}"/>
          </ac:spMkLst>
        </pc:spChg>
        <pc:spChg chg="del">
          <ac:chgData name="Batuhan Yildiz" userId="90f344fc-4655-4923-aeaf-697bba59c1a7" providerId="ADAL" clId="{975986B3-56B8-41A0-92EE-231FC3A564EC}" dt="2020-05-19T20:16:29.085" v="150" actId="478"/>
          <ac:spMkLst>
            <pc:docMk/>
            <pc:sldMk cId="1584017650" sldId="590"/>
            <ac:spMk id="32" creationId="{2AE48E2D-C0B5-4E6B-8128-69F8154E5DCB}"/>
          </ac:spMkLst>
        </pc:spChg>
        <pc:spChg chg="del">
          <ac:chgData name="Batuhan Yildiz" userId="90f344fc-4655-4923-aeaf-697bba59c1a7" providerId="ADAL" clId="{975986B3-56B8-41A0-92EE-231FC3A564EC}" dt="2020-05-19T20:16:29.085" v="150" actId="478"/>
          <ac:spMkLst>
            <pc:docMk/>
            <pc:sldMk cId="1584017650" sldId="590"/>
            <ac:spMk id="33" creationId="{BA6DAE92-693E-4DAA-992B-DBE644E3E533}"/>
          </ac:spMkLst>
        </pc:spChg>
        <pc:spChg chg="del">
          <ac:chgData name="Batuhan Yildiz" userId="90f344fc-4655-4923-aeaf-697bba59c1a7" providerId="ADAL" clId="{975986B3-56B8-41A0-92EE-231FC3A564EC}" dt="2020-05-19T20:16:29.085" v="150" actId="478"/>
          <ac:spMkLst>
            <pc:docMk/>
            <pc:sldMk cId="1584017650" sldId="590"/>
            <ac:spMk id="34" creationId="{CEC60D55-3753-4C8A-8778-6E52393374D3}"/>
          </ac:spMkLst>
        </pc:spChg>
        <pc:spChg chg="del">
          <ac:chgData name="Batuhan Yildiz" userId="90f344fc-4655-4923-aeaf-697bba59c1a7" providerId="ADAL" clId="{975986B3-56B8-41A0-92EE-231FC3A564EC}" dt="2020-05-19T20:16:29.085" v="150" actId="478"/>
          <ac:spMkLst>
            <pc:docMk/>
            <pc:sldMk cId="1584017650" sldId="590"/>
            <ac:spMk id="35" creationId="{DA295EEA-9EAD-4322-B353-37E51AC4F5F4}"/>
          </ac:spMkLst>
        </pc:spChg>
        <pc:spChg chg="del">
          <ac:chgData name="Batuhan Yildiz" userId="90f344fc-4655-4923-aeaf-697bba59c1a7" providerId="ADAL" clId="{975986B3-56B8-41A0-92EE-231FC3A564EC}" dt="2020-05-19T20:16:29.085" v="150" actId="478"/>
          <ac:spMkLst>
            <pc:docMk/>
            <pc:sldMk cId="1584017650" sldId="590"/>
            <ac:spMk id="36" creationId="{9489101B-E8ED-46EE-B5DF-44B7E54A0125}"/>
          </ac:spMkLst>
        </pc:spChg>
        <pc:spChg chg="del">
          <ac:chgData name="Batuhan Yildiz" userId="90f344fc-4655-4923-aeaf-697bba59c1a7" providerId="ADAL" clId="{975986B3-56B8-41A0-92EE-231FC3A564EC}" dt="2020-05-19T20:16:29.085" v="150" actId="478"/>
          <ac:spMkLst>
            <pc:docMk/>
            <pc:sldMk cId="1584017650" sldId="590"/>
            <ac:spMk id="37" creationId="{8DB2D4DC-59F8-4647-B942-C426BEFE3246}"/>
          </ac:spMkLst>
        </pc:spChg>
        <pc:spChg chg="del">
          <ac:chgData name="Batuhan Yildiz" userId="90f344fc-4655-4923-aeaf-697bba59c1a7" providerId="ADAL" clId="{975986B3-56B8-41A0-92EE-231FC3A564EC}" dt="2020-05-19T20:16:29.085" v="150" actId="478"/>
          <ac:spMkLst>
            <pc:docMk/>
            <pc:sldMk cId="1584017650" sldId="590"/>
            <ac:spMk id="38" creationId="{5677D566-4269-4736-BDEB-F7401C3D3190}"/>
          </ac:spMkLst>
        </pc:spChg>
        <pc:spChg chg="del">
          <ac:chgData name="Batuhan Yildiz" userId="90f344fc-4655-4923-aeaf-697bba59c1a7" providerId="ADAL" clId="{975986B3-56B8-41A0-92EE-231FC3A564EC}" dt="2020-05-19T20:16:29.085" v="150" actId="478"/>
          <ac:spMkLst>
            <pc:docMk/>
            <pc:sldMk cId="1584017650" sldId="590"/>
            <ac:spMk id="41" creationId="{26C0D77F-A57F-4051-82B0-704EB7FFDE38}"/>
          </ac:spMkLst>
        </pc:spChg>
        <pc:spChg chg="del">
          <ac:chgData name="Batuhan Yildiz" userId="90f344fc-4655-4923-aeaf-697bba59c1a7" providerId="ADAL" clId="{975986B3-56B8-41A0-92EE-231FC3A564EC}" dt="2020-05-19T20:16:29.085" v="150" actId="478"/>
          <ac:spMkLst>
            <pc:docMk/>
            <pc:sldMk cId="1584017650" sldId="590"/>
            <ac:spMk id="42" creationId="{EC56E932-B5B8-4229-9811-F354F5A2BAD9}"/>
          </ac:spMkLst>
        </pc:spChg>
        <pc:spChg chg="del">
          <ac:chgData name="Batuhan Yildiz" userId="90f344fc-4655-4923-aeaf-697bba59c1a7" providerId="ADAL" clId="{975986B3-56B8-41A0-92EE-231FC3A564EC}" dt="2020-05-19T20:16:29.085" v="150" actId="478"/>
          <ac:spMkLst>
            <pc:docMk/>
            <pc:sldMk cId="1584017650" sldId="590"/>
            <ac:spMk id="47" creationId="{D2DCB27E-D9EA-4D55-ACEC-2F3CB13DE87A}"/>
          </ac:spMkLst>
        </pc:spChg>
        <pc:spChg chg="del">
          <ac:chgData name="Batuhan Yildiz" userId="90f344fc-4655-4923-aeaf-697bba59c1a7" providerId="ADAL" clId="{975986B3-56B8-41A0-92EE-231FC3A564EC}" dt="2020-05-19T20:16:29.085" v="150" actId="478"/>
          <ac:spMkLst>
            <pc:docMk/>
            <pc:sldMk cId="1584017650" sldId="590"/>
            <ac:spMk id="51" creationId="{07F7B741-28B7-4FF4-8A1C-C1BCF720DE20}"/>
          </ac:spMkLst>
        </pc:spChg>
        <pc:spChg chg="del">
          <ac:chgData name="Batuhan Yildiz" userId="90f344fc-4655-4923-aeaf-697bba59c1a7" providerId="ADAL" clId="{975986B3-56B8-41A0-92EE-231FC3A564EC}" dt="2020-05-19T20:16:29.085" v="150" actId="478"/>
          <ac:spMkLst>
            <pc:docMk/>
            <pc:sldMk cId="1584017650" sldId="590"/>
            <ac:spMk id="52" creationId="{585F3BA6-0A6A-419E-BBDA-5F756BC24775}"/>
          </ac:spMkLst>
        </pc:spChg>
        <pc:spChg chg="del">
          <ac:chgData name="Batuhan Yildiz" userId="90f344fc-4655-4923-aeaf-697bba59c1a7" providerId="ADAL" clId="{975986B3-56B8-41A0-92EE-231FC3A564EC}" dt="2020-05-19T20:16:29.085" v="150" actId="478"/>
          <ac:spMkLst>
            <pc:docMk/>
            <pc:sldMk cId="1584017650" sldId="590"/>
            <ac:spMk id="53" creationId="{5CB4F544-0153-4EE3-926F-E8C408AD7F8B}"/>
          </ac:spMkLst>
        </pc:spChg>
        <pc:spChg chg="del">
          <ac:chgData name="Batuhan Yildiz" userId="90f344fc-4655-4923-aeaf-697bba59c1a7" providerId="ADAL" clId="{975986B3-56B8-41A0-92EE-231FC3A564EC}" dt="2020-05-19T20:16:29.085" v="150" actId="478"/>
          <ac:spMkLst>
            <pc:docMk/>
            <pc:sldMk cId="1584017650" sldId="590"/>
            <ac:spMk id="54" creationId="{67665782-5EE6-4C8D-A90F-CAC9C532DC01}"/>
          </ac:spMkLst>
        </pc:spChg>
        <pc:spChg chg="del">
          <ac:chgData name="Batuhan Yildiz" userId="90f344fc-4655-4923-aeaf-697bba59c1a7" providerId="ADAL" clId="{975986B3-56B8-41A0-92EE-231FC3A564EC}" dt="2020-05-19T20:16:29.085" v="150" actId="478"/>
          <ac:spMkLst>
            <pc:docMk/>
            <pc:sldMk cId="1584017650" sldId="590"/>
            <ac:spMk id="55" creationId="{AF37FAD9-F37E-4606-A8FA-FF72D3CB0A6C}"/>
          </ac:spMkLst>
        </pc:spChg>
        <pc:spChg chg="del">
          <ac:chgData name="Batuhan Yildiz" userId="90f344fc-4655-4923-aeaf-697bba59c1a7" providerId="ADAL" clId="{975986B3-56B8-41A0-92EE-231FC3A564EC}" dt="2020-05-19T20:16:29.085" v="150" actId="478"/>
          <ac:spMkLst>
            <pc:docMk/>
            <pc:sldMk cId="1584017650" sldId="590"/>
            <ac:spMk id="66" creationId="{96EAD4A7-8FCB-4E16-8CD6-0230DFBB5493}"/>
          </ac:spMkLst>
        </pc:spChg>
        <pc:spChg chg="del">
          <ac:chgData name="Batuhan Yildiz" userId="90f344fc-4655-4923-aeaf-697bba59c1a7" providerId="ADAL" clId="{975986B3-56B8-41A0-92EE-231FC3A564EC}" dt="2020-05-19T20:16:29.085" v="150" actId="478"/>
          <ac:spMkLst>
            <pc:docMk/>
            <pc:sldMk cId="1584017650" sldId="590"/>
            <ac:spMk id="77" creationId="{14242410-057C-419B-9189-30EFABD50385}"/>
          </ac:spMkLst>
        </pc:spChg>
        <pc:spChg chg="del">
          <ac:chgData name="Batuhan Yildiz" userId="90f344fc-4655-4923-aeaf-697bba59c1a7" providerId="ADAL" clId="{975986B3-56B8-41A0-92EE-231FC3A564EC}" dt="2020-05-19T20:16:29.085" v="150" actId="478"/>
          <ac:spMkLst>
            <pc:docMk/>
            <pc:sldMk cId="1584017650" sldId="590"/>
            <ac:spMk id="88" creationId="{67AB01F1-4E16-408C-A8AE-4EC51438261C}"/>
          </ac:spMkLst>
        </pc:spChg>
        <pc:spChg chg="del">
          <ac:chgData name="Batuhan Yildiz" userId="90f344fc-4655-4923-aeaf-697bba59c1a7" providerId="ADAL" clId="{975986B3-56B8-41A0-92EE-231FC3A564EC}" dt="2020-05-19T20:16:29.085" v="150" actId="478"/>
          <ac:spMkLst>
            <pc:docMk/>
            <pc:sldMk cId="1584017650" sldId="590"/>
            <ac:spMk id="89" creationId="{F8DFE981-2139-4394-9E07-CC49D097798D}"/>
          </ac:spMkLst>
        </pc:spChg>
        <pc:spChg chg="del">
          <ac:chgData name="Batuhan Yildiz" userId="90f344fc-4655-4923-aeaf-697bba59c1a7" providerId="ADAL" clId="{975986B3-56B8-41A0-92EE-231FC3A564EC}" dt="2020-05-19T20:16:29.085" v="150" actId="478"/>
          <ac:spMkLst>
            <pc:docMk/>
            <pc:sldMk cId="1584017650" sldId="590"/>
            <ac:spMk id="90" creationId="{9A9A804F-3D0C-42C0-BA24-137F715C495C}"/>
          </ac:spMkLst>
        </pc:spChg>
        <pc:spChg chg="del">
          <ac:chgData name="Batuhan Yildiz" userId="90f344fc-4655-4923-aeaf-697bba59c1a7" providerId="ADAL" clId="{975986B3-56B8-41A0-92EE-231FC3A564EC}" dt="2020-05-19T20:16:29.085" v="150" actId="478"/>
          <ac:spMkLst>
            <pc:docMk/>
            <pc:sldMk cId="1584017650" sldId="590"/>
            <ac:spMk id="91" creationId="{F480B291-51D2-486B-B75A-0E1B7981FF65}"/>
          </ac:spMkLst>
        </pc:spChg>
        <pc:spChg chg="del">
          <ac:chgData name="Batuhan Yildiz" userId="90f344fc-4655-4923-aeaf-697bba59c1a7" providerId="ADAL" clId="{975986B3-56B8-41A0-92EE-231FC3A564EC}" dt="2020-05-19T20:16:29.085" v="150" actId="478"/>
          <ac:spMkLst>
            <pc:docMk/>
            <pc:sldMk cId="1584017650" sldId="590"/>
            <ac:spMk id="102" creationId="{D3D6545B-03D7-43F5-8AA8-F8755D0529D4}"/>
          </ac:spMkLst>
        </pc:spChg>
        <pc:spChg chg="del">
          <ac:chgData name="Batuhan Yildiz" userId="90f344fc-4655-4923-aeaf-697bba59c1a7" providerId="ADAL" clId="{975986B3-56B8-41A0-92EE-231FC3A564EC}" dt="2020-05-19T20:16:29.085" v="150" actId="478"/>
          <ac:spMkLst>
            <pc:docMk/>
            <pc:sldMk cId="1584017650" sldId="590"/>
            <ac:spMk id="105" creationId="{E430DE63-4233-4A1F-ACC7-C41216F09FD3}"/>
          </ac:spMkLst>
        </pc:spChg>
        <pc:spChg chg="del">
          <ac:chgData name="Batuhan Yildiz" userId="90f344fc-4655-4923-aeaf-697bba59c1a7" providerId="ADAL" clId="{975986B3-56B8-41A0-92EE-231FC3A564EC}" dt="2020-05-19T20:16:29.085" v="150" actId="478"/>
          <ac:spMkLst>
            <pc:docMk/>
            <pc:sldMk cId="1584017650" sldId="590"/>
            <ac:spMk id="109" creationId="{D0E5A917-7F01-4328-A1E2-9A1041F7A31B}"/>
          </ac:spMkLst>
        </pc:spChg>
        <pc:grpChg chg="del">
          <ac:chgData name="Batuhan Yildiz" userId="90f344fc-4655-4923-aeaf-697bba59c1a7" providerId="ADAL" clId="{975986B3-56B8-41A0-92EE-231FC3A564EC}" dt="2020-05-19T20:16:29.085" v="150" actId="478"/>
          <ac:grpSpMkLst>
            <pc:docMk/>
            <pc:sldMk cId="1584017650" sldId="590"/>
            <ac:grpSpMk id="19" creationId="{A1E46452-18CB-4645-BAD9-46069C71CF50}"/>
          </ac:grpSpMkLst>
        </pc:grpChg>
        <pc:grpChg chg="del">
          <ac:chgData name="Batuhan Yildiz" userId="90f344fc-4655-4923-aeaf-697bba59c1a7" providerId="ADAL" clId="{975986B3-56B8-41A0-92EE-231FC3A564EC}" dt="2020-05-19T20:16:29.085" v="150" actId="478"/>
          <ac:grpSpMkLst>
            <pc:docMk/>
            <pc:sldMk cId="1584017650" sldId="590"/>
            <ac:grpSpMk id="56" creationId="{4AB6B8B0-C299-4023-BB69-80078B7A651C}"/>
          </ac:grpSpMkLst>
        </pc:grpChg>
        <pc:grpChg chg="del">
          <ac:chgData name="Batuhan Yildiz" userId="90f344fc-4655-4923-aeaf-697bba59c1a7" providerId="ADAL" clId="{975986B3-56B8-41A0-92EE-231FC3A564EC}" dt="2020-05-19T20:16:29.085" v="150" actId="478"/>
          <ac:grpSpMkLst>
            <pc:docMk/>
            <pc:sldMk cId="1584017650" sldId="590"/>
            <ac:grpSpMk id="67" creationId="{ED34092F-3FCA-49CD-815A-2ACD8DB5E6DD}"/>
          </ac:grpSpMkLst>
        </pc:grpChg>
        <pc:grpChg chg="del">
          <ac:chgData name="Batuhan Yildiz" userId="90f344fc-4655-4923-aeaf-697bba59c1a7" providerId="ADAL" clId="{975986B3-56B8-41A0-92EE-231FC3A564EC}" dt="2020-05-19T20:16:29.085" v="150" actId="478"/>
          <ac:grpSpMkLst>
            <pc:docMk/>
            <pc:sldMk cId="1584017650" sldId="590"/>
            <ac:grpSpMk id="78" creationId="{775FD1E1-3E46-464A-8165-32185851F9F7}"/>
          </ac:grpSpMkLst>
        </pc:grpChg>
        <pc:grpChg chg="del">
          <ac:chgData name="Batuhan Yildiz" userId="90f344fc-4655-4923-aeaf-697bba59c1a7" providerId="ADAL" clId="{975986B3-56B8-41A0-92EE-231FC3A564EC}" dt="2020-05-19T20:16:29.085" v="150" actId="478"/>
          <ac:grpSpMkLst>
            <pc:docMk/>
            <pc:sldMk cId="1584017650" sldId="590"/>
            <ac:grpSpMk id="92" creationId="{1EE38260-F8B8-4DAC-9C5D-9149DB2D7082}"/>
          </ac:grpSpMkLst>
        </pc:grpChg>
        <pc:graphicFrameChg chg="mod ord">
          <ac:chgData name="Batuhan Yildiz" userId="90f344fc-4655-4923-aeaf-697bba59c1a7" providerId="ADAL" clId="{975986B3-56B8-41A0-92EE-231FC3A564EC}" dt="2020-05-19T20:17:15.412" v="156" actId="12100"/>
          <ac:graphicFrameMkLst>
            <pc:docMk/>
            <pc:sldMk cId="1584017650" sldId="590"/>
            <ac:graphicFrameMk id="2" creationId="{379A31AE-F22F-4235-8226-276E242C2A3B}"/>
          </ac:graphicFrameMkLst>
        </pc:graphicFrameChg>
        <pc:picChg chg="add mod">
          <ac:chgData name="Batuhan Yildiz" userId="90f344fc-4655-4923-aeaf-697bba59c1a7" providerId="ADAL" clId="{975986B3-56B8-41A0-92EE-231FC3A564EC}" dt="2020-05-19T20:16:57.724" v="153" actId="1076"/>
          <ac:picMkLst>
            <pc:docMk/>
            <pc:sldMk cId="1584017650" sldId="590"/>
            <ac:picMk id="6" creationId="{A4EAD1F4-1EB8-45BF-992F-7F8DF18ECCE4}"/>
          </ac:picMkLst>
        </pc:picChg>
        <pc:cxnChg chg="del">
          <ac:chgData name="Batuhan Yildiz" userId="90f344fc-4655-4923-aeaf-697bba59c1a7" providerId="ADAL" clId="{975986B3-56B8-41A0-92EE-231FC3A564EC}" dt="2020-05-19T20:16:29.085" v="150" actId="478"/>
          <ac:cxnSpMkLst>
            <pc:docMk/>
            <pc:sldMk cId="1584017650" sldId="590"/>
            <ac:cxnSpMk id="18" creationId="{D6B56865-60B0-40BD-B158-76626342587E}"/>
          </ac:cxnSpMkLst>
        </pc:cxnChg>
        <pc:cxnChg chg="del">
          <ac:chgData name="Batuhan Yildiz" userId="90f344fc-4655-4923-aeaf-697bba59c1a7" providerId="ADAL" clId="{975986B3-56B8-41A0-92EE-231FC3A564EC}" dt="2020-05-19T20:16:29.085" v="150" actId="478"/>
          <ac:cxnSpMkLst>
            <pc:docMk/>
            <pc:sldMk cId="1584017650" sldId="590"/>
            <ac:cxnSpMk id="39" creationId="{D43EF267-5AFA-41F6-B24F-49DD2C610120}"/>
          </ac:cxnSpMkLst>
        </pc:cxnChg>
        <pc:cxnChg chg="del">
          <ac:chgData name="Batuhan Yildiz" userId="90f344fc-4655-4923-aeaf-697bba59c1a7" providerId="ADAL" clId="{975986B3-56B8-41A0-92EE-231FC3A564EC}" dt="2020-05-19T20:16:29.085" v="150" actId="478"/>
          <ac:cxnSpMkLst>
            <pc:docMk/>
            <pc:sldMk cId="1584017650" sldId="590"/>
            <ac:cxnSpMk id="40" creationId="{A6EC25D2-9A12-47B0-8EFF-7FE280948152}"/>
          </ac:cxnSpMkLst>
        </pc:cxnChg>
        <pc:cxnChg chg="del">
          <ac:chgData name="Batuhan Yildiz" userId="90f344fc-4655-4923-aeaf-697bba59c1a7" providerId="ADAL" clId="{975986B3-56B8-41A0-92EE-231FC3A564EC}" dt="2020-05-19T20:16:29.085" v="150" actId="478"/>
          <ac:cxnSpMkLst>
            <pc:docMk/>
            <pc:sldMk cId="1584017650" sldId="590"/>
            <ac:cxnSpMk id="43" creationId="{33AE2D92-14BF-4526-939C-B2920A612D0A}"/>
          </ac:cxnSpMkLst>
        </pc:cxnChg>
        <pc:cxnChg chg="del">
          <ac:chgData name="Batuhan Yildiz" userId="90f344fc-4655-4923-aeaf-697bba59c1a7" providerId="ADAL" clId="{975986B3-56B8-41A0-92EE-231FC3A564EC}" dt="2020-05-19T20:16:29.085" v="150" actId="478"/>
          <ac:cxnSpMkLst>
            <pc:docMk/>
            <pc:sldMk cId="1584017650" sldId="590"/>
            <ac:cxnSpMk id="44" creationId="{00DD597F-C702-4190-9F04-3257FFDDF0BB}"/>
          </ac:cxnSpMkLst>
        </pc:cxnChg>
        <pc:cxnChg chg="del">
          <ac:chgData name="Batuhan Yildiz" userId="90f344fc-4655-4923-aeaf-697bba59c1a7" providerId="ADAL" clId="{975986B3-56B8-41A0-92EE-231FC3A564EC}" dt="2020-05-19T20:16:29.085" v="150" actId="478"/>
          <ac:cxnSpMkLst>
            <pc:docMk/>
            <pc:sldMk cId="1584017650" sldId="590"/>
            <ac:cxnSpMk id="45" creationId="{838AABFA-E063-442D-A74E-DEA40DFC8DE8}"/>
          </ac:cxnSpMkLst>
        </pc:cxnChg>
        <pc:cxnChg chg="del">
          <ac:chgData name="Batuhan Yildiz" userId="90f344fc-4655-4923-aeaf-697bba59c1a7" providerId="ADAL" clId="{975986B3-56B8-41A0-92EE-231FC3A564EC}" dt="2020-05-19T20:16:29.085" v="150" actId="478"/>
          <ac:cxnSpMkLst>
            <pc:docMk/>
            <pc:sldMk cId="1584017650" sldId="590"/>
            <ac:cxnSpMk id="46" creationId="{6B919A00-C1B4-461B-82DB-2A021DBF30D7}"/>
          </ac:cxnSpMkLst>
        </pc:cxnChg>
        <pc:cxnChg chg="del">
          <ac:chgData name="Batuhan Yildiz" userId="90f344fc-4655-4923-aeaf-697bba59c1a7" providerId="ADAL" clId="{975986B3-56B8-41A0-92EE-231FC3A564EC}" dt="2020-05-19T20:16:29.085" v="150" actId="478"/>
          <ac:cxnSpMkLst>
            <pc:docMk/>
            <pc:sldMk cId="1584017650" sldId="590"/>
            <ac:cxnSpMk id="48" creationId="{71CDDB9B-131C-443D-81B6-19265DAD3DA6}"/>
          </ac:cxnSpMkLst>
        </pc:cxnChg>
        <pc:cxnChg chg="del">
          <ac:chgData name="Batuhan Yildiz" userId="90f344fc-4655-4923-aeaf-697bba59c1a7" providerId="ADAL" clId="{975986B3-56B8-41A0-92EE-231FC3A564EC}" dt="2020-05-19T20:16:29.085" v="150" actId="478"/>
          <ac:cxnSpMkLst>
            <pc:docMk/>
            <pc:sldMk cId="1584017650" sldId="590"/>
            <ac:cxnSpMk id="49" creationId="{F7F1ABBB-A1A7-4D0A-9B8A-E5C5C7056BF6}"/>
          </ac:cxnSpMkLst>
        </pc:cxnChg>
        <pc:cxnChg chg="del">
          <ac:chgData name="Batuhan Yildiz" userId="90f344fc-4655-4923-aeaf-697bba59c1a7" providerId="ADAL" clId="{975986B3-56B8-41A0-92EE-231FC3A564EC}" dt="2020-05-19T20:16:29.085" v="150" actId="478"/>
          <ac:cxnSpMkLst>
            <pc:docMk/>
            <pc:sldMk cId="1584017650" sldId="590"/>
            <ac:cxnSpMk id="50" creationId="{6450D365-4BF1-4F01-83B5-D3607826FFA8}"/>
          </ac:cxnSpMkLst>
        </pc:cxnChg>
        <pc:cxnChg chg="del">
          <ac:chgData name="Batuhan Yildiz" userId="90f344fc-4655-4923-aeaf-697bba59c1a7" providerId="ADAL" clId="{975986B3-56B8-41A0-92EE-231FC3A564EC}" dt="2020-05-19T20:16:29.085" v="150" actId="478"/>
          <ac:cxnSpMkLst>
            <pc:docMk/>
            <pc:sldMk cId="1584017650" sldId="590"/>
            <ac:cxnSpMk id="103" creationId="{A9D71534-D0AC-4180-B9C9-830B0C0A1304}"/>
          </ac:cxnSpMkLst>
        </pc:cxnChg>
        <pc:cxnChg chg="del">
          <ac:chgData name="Batuhan Yildiz" userId="90f344fc-4655-4923-aeaf-697bba59c1a7" providerId="ADAL" clId="{975986B3-56B8-41A0-92EE-231FC3A564EC}" dt="2020-05-19T20:16:29.085" v="150" actId="478"/>
          <ac:cxnSpMkLst>
            <pc:docMk/>
            <pc:sldMk cId="1584017650" sldId="590"/>
            <ac:cxnSpMk id="104" creationId="{51BED08D-CB7E-46F1-8ADF-51B16759422D}"/>
          </ac:cxnSpMkLst>
        </pc:cxnChg>
        <pc:cxnChg chg="del">
          <ac:chgData name="Batuhan Yildiz" userId="90f344fc-4655-4923-aeaf-697bba59c1a7" providerId="ADAL" clId="{975986B3-56B8-41A0-92EE-231FC3A564EC}" dt="2020-05-19T20:16:29.085" v="150" actId="478"/>
          <ac:cxnSpMkLst>
            <pc:docMk/>
            <pc:sldMk cId="1584017650" sldId="590"/>
            <ac:cxnSpMk id="106" creationId="{C662FF37-5936-499D-9310-A81A0C20E281}"/>
          </ac:cxnSpMkLst>
        </pc:cxnChg>
        <pc:cxnChg chg="del">
          <ac:chgData name="Batuhan Yildiz" userId="90f344fc-4655-4923-aeaf-697bba59c1a7" providerId="ADAL" clId="{975986B3-56B8-41A0-92EE-231FC3A564EC}" dt="2020-05-19T20:16:29.085" v="150" actId="478"/>
          <ac:cxnSpMkLst>
            <pc:docMk/>
            <pc:sldMk cId="1584017650" sldId="590"/>
            <ac:cxnSpMk id="107" creationId="{98EB62ED-6F3F-49F2-9BA7-0ED24C9AD705}"/>
          </ac:cxnSpMkLst>
        </pc:cxnChg>
        <pc:cxnChg chg="del">
          <ac:chgData name="Batuhan Yildiz" userId="90f344fc-4655-4923-aeaf-697bba59c1a7" providerId="ADAL" clId="{975986B3-56B8-41A0-92EE-231FC3A564EC}" dt="2020-05-19T20:16:29.085" v="150" actId="478"/>
          <ac:cxnSpMkLst>
            <pc:docMk/>
            <pc:sldMk cId="1584017650" sldId="590"/>
            <ac:cxnSpMk id="108" creationId="{9BCF258D-56C7-4ABF-B227-395D602A8057}"/>
          </ac:cxnSpMkLst>
        </pc:cxnChg>
      </pc:sldChg>
      <pc:sldChg chg="modSp">
        <pc:chgData name="Batuhan Yildiz" userId="90f344fc-4655-4923-aeaf-697bba59c1a7" providerId="ADAL" clId="{975986B3-56B8-41A0-92EE-231FC3A564EC}" dt="2020-05-19T20:18:41.372" v="162" actId="12100"/>
        <pc:sldMkLst>
          <pc:docMk/>
          <pc:sldMk cId="4091036838" sldId="591"/>
        </pc:sldMkLst>
        <pc:graphicFrameChg chg="mod">
          <ac:chgData name="Batuhan Yildiz" userId="90f344fc-4655-4923-aeaf-697bba59c1a7" providerId="ADAL" clId="{975986B3-56B8-41A0-92EE-231FC3A564EC}" dt="2020-05-19T20:18:41.372" v="162" actId="12100"/>
          <ac:graphicFrameMkLst>
            <pc:docMk/>
            <pc:sldMk cId="4091036838" sldId="591"/>
            <ac:graphicFrameMk id="7" creationId="{A2B836F0-4298-4DF0-8696-7D4E92C7FB66}"/>
          </ac:graphicFrameMkLst>
        </pc:graphicFrameChg>
      </pc:sldChg>
      <pc:sldChg chg="modSp">
        <pc:chgData name="Batuhan Yildiz" userId="90f344fc-4655-4923-aeaf-697bba59c1a7" providerId="ADAL" clId="{975986B3-56B8-41A0-92EE-231FC3A564EC}" dt="2020-05-19T20:17:45.684" v="157" actId="12100"/>
        <pc:sldMkLst>
          <pc:docMk/>
          <pc:sldMk cId="1021463189" sldId="593"/>
        </pc:sldMkLst>
        <pc:graphicFrameChg chg="mod">
          <ac:chgData name="Batuhan Yildiz" userId="90f344fc-4655-4923-aeaf-697bba59c1a7" providerId="ADAL" clId="{975986B3-56B8-41A0-92EE-231FC3A564EC}" dt="2020-05-19T20:17:45.684" v="157" actId="12100"/>
          <ac:graphicFrameMkLst>
            <pc:docMk/>
            <pc:sldMk cId="1021463189" sldId="593"/>
            <ac:graphicFrameMk id="4" creationId="{81E203B4-8B06-4228-B371-2015C728D433}"/>
          </ac:graphicFrameMkLst>
        </pc:graphicFrameChg>
      </pc:sldChg>
      <pc:sldChg chg="modSp">
        <pc:chgData name="Batuhan Yildiz" userId="90f344fc-4655-4923-aeaf-697bba59c1a7" providerId="ADAL" clId="{975986B3-56B8-41A0-92EE-231FC3A564EC}" dt="2020-05-19T20:17:57.084" v="158" actId="12100"/>
        <pc:sldMkLst>
          <pc:docMk/>
          <pc:sldMk cId="4037294255" sldId="594"/>
        </pc:sldMkLst>
        <pc:graphicFrameChg chg="mod">
          <ac:chgData name="Batuhan Yildiz" userId="90f344fc-4655-4923-aeaf-697bba59c1a7" providerId="ADAL" clId="{975986B3-56B8-41A0-92EE-231FC3A564EC}" dt="2020-05-19T20:17:57.084" v="158" actId="12100"/>
          <ac:graphicFrameMkLst>
            <pc:docMk/>
            <pc:sldMk cId="4037294255" sldId="594"/>
            <ac:graphicFrameMk id="10" creationId="{39CC9AA5-3B6D-45E2-B80F-55A95E3BC088}"/>
          </ac:graphicFrameMkLst>
        </pc:graphicFrameChg>
      </pc:sldChg>
      <pc:sldChg chg="modSp">
        <pc:chgData name="Batuhan Yildiz" userId="90f344fc-4655-4923-aeaf-697bba59c1a7" providerId="ADAL" clId="{975986B3-56B8-41A0-92EE-231FC3A564EC}" dt="2020-05-19T20:18:13.211" v="159" actId="12100"/>
        <pc:sldMkLst>
          <pc:docMk/>
          <pc:sldMk cId="4157876676" sldId="595"/>
        </pc:sldMkLst>
        <pc:graphicFrameChg chg="mod">
          <ac:chgData name="Batuhan Yildiz" userId="90f344fc-4655-4923-aeaf-697bba59c1a7" providerId="ADAL" clId="{975986B3-56B8-41A0-92EE-231FC3A564EC}" dt="2020-05-19T20:18:13.211" v="159" actId="12100"/>
          <ac:graphicFrameMkLst>
            <pc:docMk/>
            <pc:sldMk cId="4157876676" sldId="595"/>
            <ac:graphicFrameMk id="2" creationId="{4E5B9921-BA6F-425F-9456-DEB6BE36FC01}"/>
          </ac:graphicFrameMkLst>
        </pc:graphicFrameChg>
      </pc:sldChg>
      <pc:sldChg chg="modSp">
        <pc:chgData name="Batuhan Yildiz" userId="90f344fc-4655-4923-aeaf-697bba59c1a7" providerId="ADAL" clId="{975986B3-56B8-41A0-92EE-231FC3A564EC}" dt="2020-05-19T20:18:32.715" v="161" actId="255"/>
        <pc:sldMkLst>
          <pc:docMk/>
          <pc:sldMk cId="1446222115" sldId="596"/>
        </pc:sldMkLst>
        <pc:graphicFrameChg chg="mod">
          <ac:chgData name="Batuhan Yildiz" userId="90f344fc-4655-4923-aeaf-697bba59c1a7" providerId="ADAL" clId="{975986B3-56B8-41A0-92EE-231FC3A564EC}" dt="2020-05-19T20:18:32.715" v="161" actId="255"/>
          <ac:graphicFrameMkLst>
            <pc:docMk/>
            <pc:sldMk cId="1446222115" sldId="596"/>
            <ac:graphicFrameMk id="2" creationId="{D13A9BFA-6359-4899-8FF4-A0A768E3D020}"/>
          </ac:graphicFrameMkLst>
        </pc:graphicFrameChg>
      </pc:sldChg>
      <pc:sldChg chg="modSp">
        <pc:chgData name="Batuhan Yildiz" userId="90f344fc-4655-4923-aeaf-697bba59c1a7" providerId="ADAL" clId="{975986B3-56B8-41A0-92EE-231FC3A564EC}" dt="2020-05-19T22:01:20.630" v="165" actId="14100"/>
        <pc:sldMkLst>
          <pc:docMk/>
          <pc:sldMk cId="634441832" sldId="598"/>
        </pc:sldMkLst>
        <pc:graphicFrameChg chg="mod">
          <ac:chgData name="Batuhan Yildiz" userId="90f344fc-4655-4923-aeaf-697bba59c1a7" providerId="ADAL" clId="{975986B3-56B8-41A0-92EE-231FC3A564EC}" dt="2020-05-19T22:01:20.630" v="165" actId="14100"/>
          <ac:graphicFrameMkLst>
            <pc:docMk/>
            <pc:sldMk cId="634441832" sldId="598"/>
            <ac:graphicFrameMk id="78" creationId="{617BDB3C-9D44-43E1-831E-49CE22C4C6DD}"/>
          </ac:graphicFrameMkLst>
        </pc:graphicFrameChg>
      </pc:sldChg>
      <pc:sldChg chg="modSp">
        <pc:chgData name="Batuhan Yildiz" userId="90f344fc-4655-4923-aeaf-697bba59c1a7" providerId="ADAL" clId="{975986B3-56B8-41A0-92EE-231FC3A564EC}" dt="2020-05-19T22:01:33.749" v="166" actId="12100"/>
        <pc:sldMkLst>
          <pc:docMk/>
          <pc:sldMk cId="630268016" sldId="599"/>
        </pc:sldMkLst>
        <pc:graphicFrameChg chg="mod">
          <ac:chgData name="Batuhan Yildiz" userId="90f344fc-4655-4923-aeaf-697bba59c1a7" providerId="ADAL" clId="{975986B3-56B8-41A0-92EE-231FC3A564EC}" dt="2020-05-19T22:01:33.749" v="166" actId="12100"/>
          <ac:graphicFrameMkLst>
            <pc:docMk/>
            <pc:sldMk cId="630268016" sldId="599"/>
            <ac:graphicFrameMk id="6" creationId="{7504E345-8A22-4FAF-B750-E90E175EF302}"/>
          </ac:graphicFrameMkLst>
        </pc:graphicFrameChg>
      </pc:sldChg>
      <pc:sldChg chg="modSp">
        <pc:chgData name="Batuhan Yildiz" userId="90f344fc-4655-4923-aeaf-697bba59c1a7" providerId="ADAL" clId="{975986B3-56B8-41A0-92EE-231FC3A564EC}" dt="2020-05-19T22:03:01.599" v="169" actId="255"/>
        <pc:sldMkLst>
          <pc:docMk/>
          <pc:sldMk cId="346508782" sldId="605"/>
        </pc:sldMkLst>
        <pc:graphicFrameChg chg="mod">
          <ac:chgData name="Batuhan Yildiz" userId="90f344fc-4655-4923-aeaf-697bba59c1a7" providerId="ADAL" clId="{975986B3-56B8-41A0-92EE-231FC3A564EC}" dt="2020-05-19T22:03:01.599" v="169" actId="255"/>
          <ac:graphicFrameMkLst>
            <pc:docMk/>
            <pc:sldMk cId="346508782" sldId="605"/>
            <ac:graphicFrameMk id="6" creationId="{8FB1CD67-611C-4A6F-AF80-0F293EC01A3B}"/>
          </ac:graphicFrameMkLst>
        </pc:graphicFrameChg>
      </pc:sldChg>
      <pc:sldChg chg="modSp">
        <pc:chgData name="Batuhan Yildiz" userId="90f344fc-4655-4923-aeaf-697bba59c1a7" providerId="ADAL" clId="{975986B3-56B8-41A0-92EE-231FC3A564EC}" dt="2020-05-19T22:03:20.353" v="171" actId="255"/>
        <pc:sldMkLst>
          <pc:docMk/>
          <pc:sldMk cId="145818920" sldId="607"/>
        </pc:sldMkLst>
        <pc:graphicFrameChg chg="mod">
          <ac:chgData name="Batuhan Yildiz" userId="90f344fc-4655-4923-aeaf-697bba59c1a7" providerId="ADAL" clId="{975986B3-56B8-41A0-92EE-231FC3A564EC}" dt="2020-05-19T22:03:20.353" v="171" actId="255"/>
          <ac:graphicFrameMkLst>
            <pc:docMk/>
            <pc:sldMk cId="145818920" sldId="607"/>
            <ac:graphicFrameMk id="5" creationId="{853338C4-BDD5-4C8A-8F71-95F747F65D2C}"/>
          </ac:graphicFrameMkLst>
        </pc:graphicFrameChg>
      </pc:sldChg>
      <pc:sldChg chg="modSp">
        <pc:chgData name="Batuhan Yildiz" userId="90f344fc-4655-4923-aeaf-697bba59c1a7" providerId="ADAL" clId="{975986B3-56B8-41A0-92EE-231FC3A564EC}" dt="2020-05-19T22:03:29.231" v="172" actId="12100"/>
        <pc:sldMkLst>
          <pc:docMk/>
          <pc:sldMk cId="895235097" sldId="608"/>
        </pc:sldMkLst>
        <pc:graphicFrameChg chg="mod">
          <ac:chgData name="Batuhan Yildiz" userId="90f344fc-4655-4923-aeaf-697bba59c1a7" providerId="ADAL" clId="{975986B3-56B8-41A0-92EE-231FC3A564EC}" dt="2020-05-19T22:03:29.231" v="172" actId="12100"/>
          <ac:graphicFrameMkLst>
            <pc:docMk/>
            <pc:sldMk cId="895235097" sldId="608"/>
            <ac:graphicFrameMk id="5" creationId="{70D96E77-07B1-4B28-B3BC-BDA8FD0C018B}"/>
          </ac:graphicFrameMkLst>
        </pc:graphicFrameChg>
      </pc:sldChg>
      <pc:sldChg chg="modSp">
        <pc:chgData name="Batuhan Yildiz" userId="90f344fc-4655-4923-aeaf-697bba59c1a7" providerId="ADAL" clId="{975986B3-56B8-41A0-92EE-231FC3A564EC}" dt="2020-05-19T22:04:00.850" v="177"/>
        <pc:sldMkLst>
          <pc:docMk/>
          <pc:sldMk cId="815604796" sldId="638"/>
        </pc:sldMkLst>
        <pc:graphicFrameChg chg="mod">
          <ac:chgData name="Batuhan Yildiz" userId="90f344fc-4655-4923-aeaf-697bba59c1a7" providerId="ADAL" clId="{975986B3-56B8-41A0-92EE-231FC3A564EC}" dt="2020-05-19T22:04:00.850" v="177"/>
          <ac:graphicFrameMkLst>
            <pc:docMk/>
            <pc:sldMk cId="815604796" sldId="638"/>
            <ac:graphicFrameMk id="5" creationId="{9D786396-8886-485A-8B68-490D282F3302}"/>
          </ac:graphicFrameMkLst>
        </pc:graphicFrameChg>
      </pc:sldChg>
      <pc:sldChg chg="addSp delSp modSp add mod">
        <pc:chgData name="Batuhan Yildiz" userId="90f344fc-4655-4923-aeaf-697bba59c1a7" providerId="ADAL" clId="{975986B3-56B8-41A0-92EE-231FC3A564EC}" dt="2020-05-19T19:49:15.836" v="47" actId="255"/>
        <pc:sldMkLst>
          <pc:docMk/>
          <pc:sldMk cId="918470321" sldId="641"/>
        </pc:sldMkLst>
        <pc:spChg chg="del mod">
          <ac:chgData name="Batuhan Yildiz" userId="90f344fc-4655-4923-aeaf-697bba59c1a7" providerId="ADAL" clId="{975986B3-56B8-41A0-92EE-231FC3A564EC}" dt="2020-05-19T19:48:56.835" v="44" actId="12084"/>
          <ac:spMkLst>
            <pc:docMk/>
            <pc:sldMk cId="918470321" sldId="641"/>
            <ac:spMk id="6" creationId="{15E9D984-8366-4EBA-8597-A8C841BF2633}"/>
          </ac:spMkLst>
        </pc:spChg>
        <pc:graphicFrameChg chg="add mod">
          <ac:chgData name="Batuhan Yildiz" userId="90f344fc-4655-4923-aeaf-697bba59c1a7" providerId="ADAL" clId="{975986B3-56B8-41A0-92EE-231FC3A564EC}" dt="2020-05-19T19:49:15.836" v="47" actId="255"/>
          <ac:graphicFrameMkLst>
            <pc:docMk/>
            <pc:sldMk cId="918470321" sldId="641"/>
            <ac:graphicFrameMk id="2" creationId="{B50F7D6A-41E1-4F20-9CB2-6F0AEE8FC8E0}"/>
          </ac:graphicFrameMkLst>
        </pc:graphicFrameChg>
      </pc:sldChg>
      <pc:sldChg chg="addSp delSp modSp add mod modClrScheme delAnim modAnim chgLayout">
        <pc:chgData name="Batuhan Yildiz" userId="90f344fc-4655-4923-aeaf-697bba59c1a7" providerId="ADAL" clId="{975986B3-56B8-41A0-92EE-231FC3A564EC}" dt="2020-05-19T20:05:44.266" v="112"/>
        <pc:sldMkLst>
          <pc:docMk/>
          <pc:sldMk cId="3605450149" sldId="642"/>
        </pc:sldMkLst>
        <pc:spChg chg="add del mod ord">
          <ac:chgData name="Batuhan Yildiz" userId="90f344fc-4655-4923-aeaf-697bba59c1a7" providerId="ADAL" clId="{975986B3-56B8-41A0-92EE-231FC3A564EC}" dt="2020-05-19T20:05:13.268" v="108" actId="12084"/>
          <ac:spMkLst>
            <pc:docMk/>
            <pc:sldMk cId="3605450149" sldId="642"/>
            <ac:spMk id="2" creationId="{007AA26E-F8D3-4173-884B-66971AC67B6E}"/>
          </ac:spMkLst>
        </pc:spChg>
        <pc:spChg chg="del">
          <ac:chgData name="Batuhan Yildiz" userId="90f344fc-4655-4923-aeaf-697bba59c1a7" providerId="ADAL" clId="{975986B3-56B8-41A0-92EE-231FC3A564EC}" dt="2020-05-19T19:59:45.794" v="73" actId="478"/>
          <ac:spMkLst>
            <pc:docMk/>
            <pc:sldMk cId="3605450149" sldId="642"/>
            <ac:spMk id="4" creationId="{EC3D46A0-8DB5-46A5-97F1-819B57E75967}"/>
          </ac:spMkLst>
        </pc:spChg>
        <pc:spChg chg="mod ord">
          <ac:chgData name="Batuhan Yildiz" userId="90f344fc-4655-4923-aeaf-697bba59c1a7" providerId="ADAL" clId="{975986B3-56B8-41A0-92EE-231FC3A564EC}" dt="2020-05-19T19:59:50.954" v="74" actId="700"/>
          <ac:spMkLst>
            <pc:docMk/>
            <pc:sldMk cId="3605450149" sldId="642"/>
            <ac:spMk id="5" creationId="{EE1AC3C7-034D-4D76-8A4B-7B32534D1BDE}"/>
          </ac:spMkLst>
        </pc:spChg>
        <pc:spChg chg="del">
          <ac:chgData name="Batuhan Yildiz" userId="90f344fc-4655-4923-aeaf-697bba59c1a7" providerId="ADAL" clId="{975986B3-56B8-41A0-92EE-231FC3A564EC}" dt="2020-05-19T19:59:45.794" v="73" actId="478"/>
          <ac:spMkLst>
            <pc:docMk/>
            <pc:sldMk cId="3605450149" sldId="642"/>
            <ac:spMk id="7" creationId="{15319A34-D44C-4E3F-9439-FFF6F4111827}"/>
          </ac:spMkLst>
        </pc:spChg>
        <pc:spChg chg="del">
          <ac:chgData name="Batuhan Yildiz" userId="90f344fc-4655-4923-aeaf-697bba59c1a7" providerId="ADAL" clId="{975986B3-56B8-41A0-92EE-231FC3A564EC}" dt="2020-05-19T19:59:45.794" v="73" actId="478"/>
          <ac:spMkLst>
            <pc:docMk/>
            <pc:sldMk cId="3605450149" sldId="642"/>
            <ac:spMk id="8" creationId="{AE6907C8-4482-47AA-80EF-86B251AD89A9}"/>
          </ac:spMkLst>
        </pc:spChg>
        <pc:spChg chg="del">
          <ac:chgData name="Batuhan Yildiz" userId="90f344fc-4655-4923-aeaf-697bba59c1a7" providerId="ADAL" clId="{975986B3-56B8-41A0-92EE-231FC3A564EC}" dt="2020-05-19T19:59:45.794" v="73" actId="478"/>
          <ac:spMkLst>
            <pc:docMk/>
            <pc:sldMk cId="3605450149" sldId="642"/>
            <ac:spMk id="9" creationId="{DE443323-4C97-4B8C-AD26-2432EE74BB92}"/>
          </ac:spMkLst>
        </pc:spChg>
        <pc:spChg chg="del">
          <ac:chgData name="Batuhan Yildiz" userId="90f344fc-4655-4923-aeaf-697bba59c1a7" providerId="ADAL" clId="{975986B3-56B8-41A0-92EE-231FC3A564EC}" dt="2020-05-19T19:59:45.794" v="73" actId="478"/>
          <ac:spMkLst>
            <pc:docMk/>
            <pc:sldMk cId="3605450149" sldId="642"/>
            <ac:spMk id="10" creationId="{C6FB5E0D-2F82-4B09-813B-44458011E02A}"/>
          </ac:spMkLst>
        </pc:spChg>
        <pc:spChg chg="del">
          <ac:chgData name="Batuhan Yildiz" userId="90f344fc-4655-4923-aeaf-697bba59c1a7" providerId="ADAL" clId="{975986B3-56B8-41A0-92EE-231FC3A564EC}" dt="2020-05-19T19:59:45.794" v="73" actId="478"/>
          <ac:spMkLst>
            <pc:docMk/>
            <pc:sldMk cId="3605450149" sldId="642"/>
            <ac:spMk id="11" creationId="{EC20C0DE-739E-4437-892A-2B0ACA941749}"/>
          </ac:spMkLst>
        </pc:spChg>
        <pc:spChg chg="del">
          <ac:chgData name="Batuhan Yildiz" userId="90f344fc-4655-4923-aeaf-697bba59c1a7" providerId="ADAL" clId="{975986B3-56B8-41A0-92EE-231FC3A564EC}" dt="2020-05-19T19:59:45.794" v="73" actId="478"/>
          <ac:spMkLst>
            <pc:docMk/>
            <pc:sldMk cId="3605450149" sldId="642"/>
            <ac:spMk id="12" creationId="{532E8C1C-617F-487B-83E6-BD071E5DCA84}"/>
          </ac:spMkLst>
        </pc:spChg>
        <pc:spChg chg="del">
          <ac:chgData name="Batuhan Yildiz" userId="90f344fc-4655-4923-aeaf-697bba59c1a7" providerId="ADAL" clId="{975986B3-56B8-41A0-92EE-231FC3A564EC}" dt="2020-05-19T19:59:45.794" v="73" actId="478"/>
          <ac:spMkLst>
            <pc:docMk/>
            <pc:sldMk cId="3605450149" sldId="642"/>
            <ac:spMk id="13" creationId="{840A3889-FEA4-43DE-8463-6EDE255C8076}"/>
          </ac:spMkLst>
        </pc:spChg>
        <pc:spChg chg="del">
          <ac:chgData name="Batuhan Yildiz" userId="90f344fc-4655-4923-aeaf-697bba59c1a7" providerId="ADAL" clId="{975986B3-56B8-41A0-92EE-231FC3A564EC}" dt="2020-05-19T19:59:45.794" v="73" actId="478"/>
          <ac:spMkLst>
            <pc:docMk/>
            <pc:sldMk cId="3605450149" sldId="642"/>
            <ac:spMk id="14" creationId="{BFD9385B-CAC3-47DB-9791-2FEDD8B04B91}"/>
          </ac:spMkLst>
        </pc:spChg>
        <pc:spChg chg="del">
          <ac:chgData name="Batuhan Yildiz" userId="90f344fc-4655-4923-aeaf-697bba59c1a7" providerId="ADAL" clId="{975986B3-56B8-41A0-92EE-231FC3A564EC}" dt="2020-05-19T19:59:45.794" v="73" actId="478"/>
          <ac:spMkLst>
            <pc:docMk/>
            <pc:sldMk cId="3605450149" sldId="642"/>
            <ac:spMk id="15" creationId="{E320FCE7-B704-4D25-A104-8BD196D5AB88}"/>
          </ac:spMkLst>
        </pc:spChg>
        <pc:spChg chg="del">
          <ac:chgData name="Batuhan Yildiz" userId="90f344fc-4655-4923-aeaf-697bba59c1a7" providerId="ADAL" clId="{975986B3-56B8-41A0-92EE-231FC3A564EC}" dt="2020-05-19T19:59:45.794" v="73" actId="478"/>
          <ac:spMkLst>
            <pc:docMk/>
            <pc:sldMk cId="3605450149" sldId="642"/>
            <ac:spMk id="16" creationId="{50655D49-86E7-4BF2-818A-118319A968E0}"/>
          </ac:spMkLst>
        </pc:spChg>
        <pc:spChg chg="del">
          <ac:chgData name="Batuhan Yildiz" userId="90f344fc-4655-4923-aeaf-697bba59c1a7" providerId="ADAL" clId="{975986B3-56B8-41A0-92EE-231FC3A564EC}" dt="2020-05-19T19:59:45.794" v="73" actId="478"/>
          <ac:spMkLst>
            <pc:docMk/>
            <pc:sldMk cId="3605450149" sldId="642"/>
            <ac:spMk id="17" creationId="{29611DFD-973E-4C0B-92C2-C194997952D7}"/>
          </ac:spMkLst>
        </pc:spChg>
        <pc:spChg chg="del">
          <ac:chgData name="Batuhan Yildiz" userId="90f344fc-4655-4923-aeaf-697bba59c1a7" providerId="ADAL" clId="{975986B3-56B8-41A0-92EE-231FC3A564EC}" dt="2020-05-19T19:59:45.794" v="73" actId="478"/>
          <ac:spMkLst>
            <pc:docMk/>
            <pc:sldMk cId="3605450149" sldId="642"/>
            <ac:spMk id="18" creationId="{BBA5730A-CE62-4ADE-B5C9-94C8FCB81A1B}"/>
          </ac:spMkLst>
        </pc:spChg>
        <pc:spChg chg="del">
          <ac:chgData name="Batuhan Yildiz" userId="90f344fc-4655-4923-aeaf-697bba59c1a7" providerId="ADAL" clId="{975986B3-56B8-41A0-92EE-231FC3A564EC}" dt="2020-05-19T19:59:45.794" v="73" actId="478"/>
          <ac:spMkLst>
            <pc:docMk/>
            <pc:sldMk cId="3605450149" sldId="642"/>
            <ac:spMk id="21" creationId="{80F35B58-22BE-4B81-93B7-8E9A12B6EB79}"/>
          </ac:spMkLst>
        </pc:spChg>
        <pc:spChg chg="del">
          <ac:chgData name="Batuhan Yildiz" userId="90f344fc-4655-4923-aeaf-697bba59c1a7" providerId="ADAL" clId="{975986B3-56B8-41A0-92EE-231FC3A564EC}" dt="2020-05-19T19:59:45.794" v="73" actId="478"/>
          <ac:spMkLst>
            <pc:docMk/>
            <pc:sldMk cId="3605450149" sldId="642"/>
            <ac:spMk id="22" creationId="{557E44DD-AAE0-44C0-90B4-5117ED74059E}"/>
          </ac:spMkLst>
        </pc:spChg>
        <pc:grpChg chg="del">
          <ac:chgData name="Batuhan Yildiz" userId="90f344fc-4655-4923-aeaf-697bba59c1a7" providerId="ADAL" clId="{975986B3-56B8-41A0-92EE-231FC3A564EC}" dt="2020-05-19T19:59:45.794" v="73" actId="478"/>
          <ac:grpSpMkLst>
            <pc:docMk/>
            <pc:sldMk cId="3605450149" sldId="642"/>
            <ac:grpSpMk id="28" creationId="{12F76557-277C-4A3C-9918-CB6C85AFFC60}"/>
          </ac:grpSpMkLst>
        </pc:grpChg>
        <pc:grpChg chg="del">
          <ac:chgData name="Batuhan Yildiz" userId="90f344fc-4655-4923-aeaf-697bba59c1a7" providerId="ADAL" clId="{975986B3-56B8-41A0-92EE-231FC3A564EC}" dt="2020-05-19T19:59:45.794" v="73" actId="478"/>
          <ac:grpSpMkLst>
            <pc:docMk/>
            <pc:sldMk cId="3605450149" sldId="642"/>
            <ac:grpSpMk id="43" creationId="{AF125337-BEDB-478C-9A09-AE38AB95D019}"/>
          </ac:grpSpMkLst>
        </pc:grpChg>
        <pc:grpChg chg="del">
          <ac:chgData name="Batuhan Yildiz" userId="90f344fc-4655-4923-aeaf-697bba59c1a7" providerId="ADAL" clId="{975986B3-56B8-41A0-92EE-231FC3A564EC}" dt="2020-05-19T19:59:45.794" v="73" actId="478"/>
          <ac:grpSpMkLst>
            <pc:docMk/>
            <pc:sldMk cId="3605450149" sldId="642"/>
            <ac:grpSpMk id="48" creationId="{FBFC7023-C1D2-41FF-BEE0-80721F11F644}"/>
          </ac:grpSpMkLst>
        </pc:grpChg>
        <pc:grpChg chg="del">
          <ac:chgData name="Batuhan Yildiz" userId="90f344fc-4655-4923-aeaf-697bba59c1a7" providerId="ADAL" clId="{975986B3-56B8-41A0-92EE-231FC3A564EC}" dt="2020-05-19T19:59:45.794" v="73" actId="478"/>
          <ac:grpSpMkLst>
            <pc:docMk/>
            <pc:sldMk cId="3605450149" sldId="642"/>
            <ac:grpSpMk id="63" creationId="{2EF50468-5814-488A-A391-AAE7D5C39E6B}"/>
          </ac:grpSpMkLst>
        </pc:grpChg>
        <pc:grpChg chg="del">
          <ac:chgData name="Batuhan Yildiz" userId="90f344fc-4655-4923-aeaf-697bba59c1a7" providerId="ADAL" clId="{975986B3-56B8-41A0-92EE-231FC3A564EC}" dt="2020-05-19T19:59:45.794" v="73" actId="478"/>
          <ac:grpSpMkLst>
            <pc:docMk/>
            <pc:sldMk cId="3605450149" sldId="642"/>
            <ac:grpSpMk id="78" creationId="{DFBBE989-AF04-48B9-8B3A-103CC781DE68}"/>
          </ac:grpSpMkLst>
        </pc:grpChg>
        <pc:graphicFrameChg chg="add mod">
          <ac:chgData name="Batuhan Yildiz" userId="90f344fc-4655-4923-aeaf-697bba59c1a7" providerId="ADAL" clId="{975986B3-56B8-41A0-92EE-231FC3A564EC}" dt="2020-05-19T20:05:17.946" v="109" actId="12100"/>
          <ac:graphicFrameMkLst>
            <pc:docMk/>
            <pc:sldMk cId="3605450149" sldId="642"/>
            <ac:graphicFrameMk id="99" creationId="{3A9774A9-2F24-4E8B-A5B4-9A9E05979F49}"/>
          </ac:graphicFrameMkLst>
        </pc:graphicFrameChg>
        <pc:picChg chg="add mod">
          <ac:chgData name="Batuhan Yildiz" userId="90f344fc-4655-4923-aeaf-697bba59c1a7" providerId="ADAL" clId="{975986B3-56B8-41A0-92EE-231FC3A564EC}" dt="2020-05-19T20:05:26.624" v="110" actId="1076"/>
          <ac:picMkLst>
            <pc:docMk/>
            <pc:sldMk cId="3605450149" sldId="642"/>
            <ac:picMk id="6" creationId="{1AE7BF7A-3B56-4812-9A29-E9B0CCD144BA}"/>
          </ac:picMkLst>
        </pc:picChg>
        <pc:cxnChg chg="del">
          <ac:chgData name="Batuhan Yildiz" userId="90f344fc-4655-4923-aeaf-697bba59c1a7" providerId="ADAL" clId="{975986B3-56B8-41A0-92EE-231FC3A564EC}" dt="2020-05-19T19:59:45.794" v="73" actId="478"/>
          <ac:cxnSpMkLst>
            <pc:docMk/>
            <pc:sldMk cId="3605450149" sldId="642"/>
            <ac:cxnSpMk id="19" creationId="{530D3450-26E5-4C98-BED9-E340ECB6CD64}"/>
          </ac:cxnSpMkLst>
        </pc:cxnChg>
        <pc:cxnChg chg="del">
          <ac:chgData name="Batuhan Yildiz" userId="90f344fc-4655-4923-aeaf-697bba59c1a7" providerId="ADAL" clId="{975986B3-56B8-41A0-92EE-231FC3A564EC}" dt="2020-05-19T19:59:45.794" v="73" actId="478"/>
          <ac:cxnSpMkLst>
            <pc:docMk/>
            <pc:sldMk cId="3605450149" sldId="642"/>
            <ac:cxnSpMk id="20" creationId="{85AFAB17-47C1-449E-9296-873DA5C6DD98}"/>
          </ac:cxnSpMkLst>
        </pc:cxnChg>
        <pc:cxnChg chg="del">
          <ac:chgData name="Batuhan Yildiz" userId="90f344fc-4655-4923-aeaf-697bba59c1a7" providerId="ADAL" clId="{975986B3-56B8-41A0-92EE-231FC3A564EC}" dt="2020-05-19T19:59:45.794" v="73" actId="478"/>
          <ac:cxnSpMkLst>
            <pc:docMk/>
            <pc:sldMk cId="3605450149" sldId="642"/>
            <ac:cxnSpMk id="23" creationId="{1D2163C8-3641-4EE7-BEEB-540A4C5E064D}"/>
          </ac:cxnSpMkLst>
        </pc:cxnChg>
        <pc:cxnChg chg="del">
          <ac:chgData name="Batuhan Yildiz" userId="90f344fc-4655-4923-aeaf-697bba59c1a7" providerId="ADAL" clId="{975986B3-56B8-41A0-92EE-231FC3A564EC}" dt="2020-05-19T19:59:45.794" v="73" actId="478"/>
          <ac:cxnSpMkLst>
            <pc:docMk/>
            <pc:sldMk cId="3605450149" sldId="642"/>
            <ac:cxnSpMk id="24" creationId="{85E8D1E6-8B32-4CA3-9056-25FB4AA5544C}"/>
          </ac:cxnSpMkLst>
        </pc:cxnChg>
        <pc:cxnChg chg="del mod">
          <ac:chgData name="Batuhan Yildiz" userId="90f344fc-4655-4923-aeaf-697bba59c1a7" providerId="ADAL" clId="{975986B3-56B8-41A0-92EE-231FC3A564EC}" dt="2020-05-19T19:59:45.794" v="73" actId="478"/>
          <ac:cxnSpMkLst>
            <pc:docMk/>
            <pc:sldMk cId="3605450149" sldId="642"/>
            <ac:cxnSpMk id="25" creationId="{0FE60FD9-8CE8-4AC8-9873-4FFC389F27F9}"/>
          </ac:cxnSpMkLst>
        </pc:cxnChg>
        <pc:cxnChg chg="del">
          <ac:chgData name="Batuhan Yildiz" userId="90f344fc-4655-4923-aeaf-697bba59c1a7" providerId="ADAL" clId="{975986B3-56B8-41A0-92EE-231FC3A564EC}" dt="2020-05-19T19:59:45.794" v="73" actId="478"/>
          <ac:cxnSpMkLst>
            <pc:docMk/>
            <pc:sldMk cId="3605450149" sldId="642"/>
            <ac:cxnSpMk id="26" creationId="{987742F5-E51A-4EB0-AE5E-228528D13E66}"/>
          </ac:cxnSpMkLst>
        </pc:cxnChg>
        <pc:cxnChg chg="del">
          <ac:chgData name="Batuhan Yildiz" userId="90f344fc-4655-4923-aeaf-697bba59c1a7" providerId="ADAL" clId="{975986B3-56B8-41A0-92EE-231FC3A564EC}" dt="2020-05-19T19:59:45.794" v="73" actId="478"/>
          <ac:cxnSpMkLst>
            <pc:docMk/>
            <pc:sldMk cId="3605450149" sldId="642"/>
            <ac:cxnSpMk id="27" creationId="{C802DB6A-FB73-4D8A-B8B4-34E81288718C}"/>
          </ac:cxnSpMkLst>
        </pc:cxnChg>
        <pc:cxnChg chg="del">
          <ac:chgData name="Batuhan Yildiz" userId="90f344fc-4655-4923-aeaf-697bba59c1a7" providerId="ADAL" clId="{975986B3-56B8-41A0-92EE-231FC3A564EC}" dt="2020-05-19T19:59:45.794" v="73" actId="478"/>
          <ac:cxnSpMkLst>
            <pc:docMk/>
            <pc:sldMk cId="3605450149" sldId="642"/>
            <ac:cxnSpMk id="93" creationId="{E32B6C4D-A38F-4E38-B7E9-9B49E505B219}"/>
          </ac:cxnSpMkLst>
        </pc:cxnChg>
        <pc:cxnChg chg="del">
          <ac:chgData name="Batuhan Yildiz" userId="90f344fc-4655-4923-aeaf-697bba59c1a7" providerId="ADAL" clId="{975986B3-56B8-41A0-92EE-231FC3A564EC}" dt="2020-05-19T19:59:45.794" v="73" actId="478"/>
          <ac:cxnSpMkLst>
            <pc:docMk/>
            <pc:sldMk cId="3605450149" sldId="642"/>
            <ac:cxnSpMk id="94" creationId="{BCC6633D-1FC7-491B-9E55-DC047F3D9266}"/>
          </ac:cxnSpMkLst>
        </pc:cxnChg>
        <pc:cxnChg chg="del mod">
          <ac:chgData name="Batuhan Yildiz" userId="90f344fc-4655-4923-aeaf-697bba59c1a7" providerId="ADAL" clId="{975986B3-56B8-41A0-92EE-231FC3A564EC}" dt="2020-05-19T19:59:45.794" v="73" actId="478"/>
          <ac:cxnSpMkLst>
            <pc:docMk/>
            <pc:sldMk cId="3605450149" sldId="642"/>
            <ac:cxnSpMk id="95" creationId="{FAF86F25-00C4-4004-A90F-5479985B3E5F}"/>
          </ac:cxnSpMkLst>
        </pc:cxnChg>
        <pc:cxnChg chg="del">
          <ac:chgData name="Batuhan Yildiz" userId="90f344fc-4655-4923-aeaf-697bba59c1a7" providerId="ADAL" clId="{975986B3-56B8-41A0-92EE-231FC3A564EC}" dt="2020-05-19T19:59:45.794" v="73" actId="478"/>
          <ac:cxnSpMkLst>
            <pc:docMk/>
            <pc:sldMk cId="3605450149" sldId="642"/>
            <ac:cxnSpMk id="96" creationId="{0E30CBF4-3CAB-4078-AEBB-33E35DDF493A}"/>
          </ac:cxnSpMkLst>
        </pc:cxnChg>
        <pc:cxnChg chg="del">
          <ac:chgData name="Batuhan Yildiz" userId="90f344fc-4655-4923-aeaf-697bba59c1a7" providerId="ADAL" clId="{975986B3-56B8-41A0-92EE-231FC3A564EC}" dt="2020-05-19T19:59:45.794" v="73" actId="478"/>
          <ac:cxnSpMkLst>
            <pc:docMk/>
            <pc:sldMk cId="3605450149" sldId="642"/>
            <ac:cxnSpMk id="97" creationId="{1CEAF910-3554-44EC-BD4C-6638CCC0A4BD}"/>
          </ac:cxnSpMkLst>
        </pc:cxnChg>
        <pc:cxnChg chg="del">
          <ac:chgData name="Batuhan Yildiz" userId="90f344fc-4655-4923-aeaf-697bba59c1a7" providerId="ADAL" clId="{975986B3-56B8-41A0-92EE-231FC3A564EC}" dt="2020-05-19T19:59:45.794" v="73" actId="478"/>
          <ac:cxnSpMkLst>
            <pc:docMk/>
            <pc:sldMk cId="3605450149" sldId="642"/>
            <ac:cxnSpMk id="98" creationId="{BE930538-145C-4EB6-8C50-8ECEEEFF4AD9}"/>
          </ac:cxnSpMkLst>
        </pc:cxnChg>
      </pc:sldChg>
      <pc:sldChg chg="modSp add del mod">
        <pc:chgData name="Batuhan Yildiz" userId="90f344fc-4655-4923-aeaf-697bba59c1a7" providerId="ADAL" clId="{975986B3-56B8-41A0-92EE-231FC3A564EC}" dt="2020-05-19T20:11:34.752" v="134" actId="47"/>
        <pc:sldMkLst>
          <pc:docMk/>
          <pc:sldMk cId="3141885876" sldId="643"/>
        </pc:sldMkLst>
        <pc:spChg chg="mod">
          <ac:chgData name="Batuhan Yildiz" userId="90f344fc-4655-4923-aeaf-697bba59c1a7" providerId="ADAL" clId="{975986B3-56B8-41A0-92EE-231FC3A564EC}" dt="2020-05-19T20:06:34.955" v="115"/>
          <ac:spMkLst>
            <pc:docMk/>
            <pc:sldMk cId="3141885876" sldId="643"/>
            <ac:spMk id="5" creationId="{EE1AC3C7-034D-4D76-8A4B-7B32534D1BDE}"/>
          </ac:spMkLst>
        </pc:spChg>
      </pc:sldChg>
    </pc:docChg>
  </pc:docChgLst>
  <pc:docChgLst>
    <pc:chgData name="Batuhan Yildiz" userId="90f344fc-4655-4923-aeaf-697bba59c1a7" providerId="ADAL" clId="{43ADD2D5-AA2B-4D7E-A947-4B13A16737C3}"/>
    <pc:docChg chg="custSel modSld">
      <pc:chgData name="Batuhan Yildiz" userId="90f344fc-4655-4923-aeaf-697bba59c1a7" providerId="ADAL" clId="{43ADD2D5-AA2B-4D7E-A947-4B13A16737C3}" dt="2020-03-31T00:54:01.707" v="55" actId="12100"/>
      <pc:docMkLst>
        <pc:docMk/>
      </pc:docMkLst>
      <pc:sldChg chg="modSp">
        <pc:chgData name="Batuhan Yildiz" userId="90f344fc-4655-4923-aeaf-697bba59c1a7" providerId="ADAL" clId="{43ADD2D5-AA2B-4D7E-A947-4B13A16737C3}" dt="2020-03-31T00:52:41.922" v="54" actId="14100"/>
        <pc:sldMkLst>
          <pc:docMk/>
          <pc:sldMk cId="4221783869" sldId="566"/>
        </pc:sldMkLst>
        <pc:graphicFrameChg chg="mod">
          <ac:chgData name="Batuhan Yildiz" userId="90f344fc-4655-4923-aeaf-697bba59c1a7" providerId="ADAL" clId="{43ADD2D5-AA2B-4D7E-A947-4B13A16737C3}" dt="2020-03-31T00:52:41.922" v="54" actId="14100"/>
          <ac:graphicFrameMkLst>
            <pc:docMk/>
            <pc:sldMk cId="4221783869" sldId="566"/>
            <ac:graphicFrameMk id="92" creationId="{ECC6120E-4E3B-44BF-9498-F9EE5662E276}"/>
          </ac:graphicFrameMkLst>
        </pc:graphicFrameChg>
      </pc:sldChg>
      <pc:sldChg chg="modSp mod">
        <pc:chgData name="Batuhan Yildiz" userId="90f344fc-4655-4923-aeaf-697bba59c1a7" providerId="ADAL" clId="{43ADD2D5-AA2B-4D7E-A947-4B13A16737C3}" dt="2020-03-31T00:48:55.909" v="52" actId="1076"/>
        <pc:sldMkLst>
          <pc:docMk/>
          <pc:sldMk cId="3359044363" sldId="592"/>
        </pc:sldMkLst>
        <pc:spChg chg="mod">
          <ac:chgData name="Batuhan Yildiz" userId="90f344fc-4655-4923-aeaf-697bba59c1a7" providerId="ADAL" clId="{43ADD2D5-AA2B-4D7E-A947-4B13A16737C3}" dt="2020-03-31T00:47:59.270" v="42" actId="1036"/>
          <ac:spMkLst>
            <pc:docMk/>
            <pc:sldMk cId="3359044363" sldId="592"/>
            <ac:spMk id="74" creationId="{DE5E89CA-789C-4DE9-99A9-59EF4C5FD114}"/>
          </ac:spMkLst>
        </pc:spChg>
        <pc:spChg chg="mod">
          <ac:chgData name="Batuhan Yildiz" userId="90f344fc-4655-4923-aeaf-697bba59c1a7" providerId="ADAL" clId="{43ADD2D5-AA2B-4D7E-A947-4B13A16737C3}" dt="2020-03-31T00:47:59.270" v="42" actId="1036"/>
          <ac:spMkLst>
            <pc:docMk/>
            <pc:sldMk cId="3359044363" sldId="592"/>
            <ac:spMk id="75" creationId="{3BC497A6-DB73-49C7-BF13-BE0FFC7A67EB}"/>
          </ac:spMkLst>
        </pc:spChg>
        <pc:spChg chg="mod">
          <ac:chgData name="Batuhan Yildiz" userId="90f344fc-4655-4923-aeaf-697bba59c1a7" providerId="ADAL" clId="{43ADD2D5-AA2B-4D7E-A947-4B13A16737C3}" dt="2020-03-31T00:47:59.270" v="42" actId="1036"/>
          <ac:spMkLst>
            <pc:docMk/>
            <pc:sldMk cId="3359044363" sldId="592"/>
            <ac:spMk id="91" creationId="{E1C549A1-08BA-453D-9399-C0F2253FFF51}"/>
          </ac:spMkLst>
        </pc:spChg>
        <pc:spChg chg="mod">
          <ac:chgData name="Batuhan Yildiz" userId="90f344fc-4655-4923-aeaf-697bba59c1a7" providerId="ADAL" clId="{43ADD2D5-AA2B-4D7E-A947-4B13A16737C3}" dt="2020-03-31T00:48:55.909" v="52" actId="1076"/>
          <ac:spMkLst>
            <pc:docMk/>
            <pc:sldMk cId="3359044363" sldId="592"/>
            <ac:spMk id="97" creationId="{56BD8ABD-D5AA-4049-A944-7885467D6B42}"/>
          </ac:spMkLst>
        </pc:spChg>
        <pc:spChg chg="mod">
          <ac:chgData name="Batuhan Yildiz" userId="90f344fc-4655-4923-aeaf-697bba59c1a7" providerId="ADAL" clId="{43ADD2D5-AA2B-4D7E-A947-4B13A16737C3}" dt="2020-03-31T00:47:59.270" v="42" actId="1036"/>
          <ac:spMkLst>
            <pc:docMk/>
            <pc:sldMk cId="3359044363" sldId="592"/>
            <ac:spMk id="103" creationId="{9C77A10A-E00B-4548-9B9D-DCB587C1FC43}"/>
          </ac:spMkLst>
        </pc:spChg>
        <pc:spChg chg="mod">
          <ac:chgData name="Batuhan Yildiz" userId="90f344fc-4655-4923-aeaf-697bba59c1a7" providerId="ADAL" clId="{43ADD2D5-AA2B-4D7E-A947-4B13A16737C3}" dt="2020-03-31T00:47:59.270" v="42" actId="1036"/>
          <ac:spMkLst>
            <pc:docMk/>
            <pc:sldMk cId="3359044363" sldId="592"/>
            <ac:spMk id="104" creationId="{B9974719-2FC0-4B2E-A898-1DDDE9C49920}"/>
          </ac:spMkLst>
        </pc:spChg>
        <pc:spChg chg="mod">
          <ac:chgData name="Batuhan Yildiz" userId="90f344fc-4655-4923-aeaf-697bba59c1a7" providerId="ADAL" clId="{43ADD2D5-AA2B-4D7E-A947-4B13A16737C3}" dt="2020-03-31T00:47:59.270" v="42" actId="1036"/>
          <ac:spMkLst>
            <pc:docMk/>
            <pc:sldMk cId="3359044363" sldId="592"/>
            <ac:spMk id="105" creationId="{796FD5AA-BB37-4544-B577-9D07DEA0D384}"/>
          </ac:spMkLst>
        </pc:spChg>
        <pc:spChg chg="mod">
          <ac:chgData name="Batuhan Yildiz" userId="90f344fc-4655-4923-aeaf-697bba59c1a7" providerId="ADAL" clId="{43ADD2D5-AA2B-4D7E-A947-4B13A16737C3}" dt="2020-03-31T00:47:59.270" v="42" actId="1036"/>
          <ac:spMkLst>
            <pc:docMk/>
            <pc:sldMk cId="3359044363" sldId="592"/>
            <ac:spMk id="106" creationId="{9E86A300-6CA3-4836-A71B-7666722EB57E}"/>
          </ac:spMkLst>
        </pc:spChg>
        <pc:spChg chg="mod">
          <ac:chgData name="Batuhan Yildiz" userId="90f344fc-4655-4923-aeaf-697bba59c1a7" providerId="ADAL" clId="{43ADD2D5-AA2B-4D7E-A947-4B13A16737C3}" dt="2020-03-31T00:47:59.270" v="42" actId="1036"/>
          <ac:spMkLst>
            <pc:docMk/>
            <pc:sldMk cId="3359044363" sldId="592"/>
            <ac:spMk id="107" creationId="{06F8C0E2-3F70-49F6-84FE-3A770CE330AD}"/>
          </ac:spMkLst>
        </pc:spChg>
        <pc:spChg chg="mod">
          <ac:chgData name="Batuhan Yildiz" userId="90f344fc-4655-4923-aeaf-697bba59c1a7" providerId="ADAL" clId="{43ADD2D5-AA2B-4D7E-A947-4B13A16737C3}" dt="2020-03-31T00:47:59.270" v="42" actId="1036"/>
          <ac:spMkLst>
            <pc:docMk/>
            <pc:sldMk cId="3359044363" sldId="592"/>
            <ac:spMk id="110" creationId="{B2C6D271-C2EF-4E9B-880C-A50F0396CE4C}"/>
          </ac:spMkLst>
        </pc:spChg>
        <pc:spChg chg="mod">
          <ac:chgData name="Batuhan Yildiz" userId="90f344fc-4655-4923-aeaf-697bba59c1a7" providerId="ADAL" clId="{43ADD2D5-AA2B-4D7E-A947-4B13A16737C3}" dt="2020-03-31T00:47:59.270" v="42" actId="1036"/>
          <ac:spMkLst>
            <pc:docMk/>
            <pc:sldMk cId="3359044363" sldId="592"/>
            <ac:spMk id="111" creationId="{1E1F4E21-64D9-4E1C-8C28-E77A73E7C847}"/>
          </ac:spMkLst>
        </pc:spChg>
        <pc:spChg chg="mod">
          <ac:chgData name="Batuhan Yildiz" userId="90f344fc-4655-4923-aeaf-697bba59c1a7" providerId="ADAL" clId="{43ADD2D5-AA2B-4D7E-A947-4B13A16737C3}" dt="2020-03-31T00:47:59.270" v="42" actId="1036"/>
          <ac:spMkLst>
            <pc:docMk/>
            <pc:sldMk cId="3359044363" sldId="592"/>
            <ac:spMk id="112" creationId="{61FEDF3E-8895-422B-AF05-46F290196A53}"/>
          </ac:spMkLst>
        </pc:spChg>
        <pc:spChg chg="mod">
          <ac:chgData name="Batuhan Yildiz" userId="90f344fc-4655-4923-aeaf-697bba59c1a7" providerId="ADAL" clId="{43ADD2D5-AA2B-4D7E-A947-4B13A16737C3}" dt="2020-03-31T00:47:59.270" v="42" actId="1036"/>
          <ac:spMkLst>
            <pc:docMk/>
            <pc:sldMk cId="3359044363" sldId="592"/>
            <ac:spMk id="114" creationId="{8789105E-9A39-4F02-8189-C881196985A6}"/>
          </ac:spMkLst>
        </pc:spChg>
        <pc:spChg chg="mod">
          <ac:chgData name="Batuhan Yildiz" userId="90f344fc-4655-4923-aeaf-697bba59c1a7" providerId="ADAL" clId="{43ADD2D5-AA2B-4D7E-A947-4B13A16737C3}" dt="2020-03-31T00:47:59.270" v="42" actId="1036"/>
          <ac:spMkLst>
            <pc:docMk/>
            <pc:sldMk cId="3359044363" sldId="592"/>
            <ac:spMk id="116" creationId="{A70A5297-7730-4951-97B1-38A753061B90}"/>
          </ac:spMkLst>
        </pc:spChg>
        <pc:spChg chg="mod">
          <ac:chgData name="Batuhan Yildiz" userId="90f344fc-4655-4923-aeaf-697bba59c1a7" providerId="ADAL" clId="{43ADD2D5-AA2B-4D7E-A947-4B13A16737C3}" dt="2020-03-31T00:47:59.270" v="42" actId="1036"/>
          <ac:spMkLst>
            <pc:docMk/>
            <pc:sldMk cId="3359044363" sldId="592"/>
            <ac:spMk id="119" creationId="{C9C2F855-293F-46B8-83E7-340C964E8299}"/>
          </ac:spMkLst>
        </pc:spChg>
        <pc:cxnChg chg="mod">
          <ac:chgData name="Batuhan Yildiz" userId="90f344fc-4655-4923-aeaf-697bba59c1a7" providerId="ADAL" clId="{43ADD2D5-AA2B-4D7E-A947-4B13A16737C3}" dt="2020-03-31T00:47:59.270" v="42" actId="1036"/>
          <ac:cxnSpMkLst>
            <pc:docMk/>
            <pc:sldMk cId="3359044363" sldId="592"/>
            <ac:cxnSpMk id="64" creationId="{C95B2096-F69B-4490-A876-452311C6D687}"/>
          </ac:cxnSpMkLst>
        </pc:cxnChg>
        <pc:cxnChg chg="mod">
          <ac:chgData name="Batuhan Yildiz" userId="90f344fc-4655-4923-aeaf-697bba59c1a7" providerId="ADAL" clId="{43ADD2D5-AA2B-4D7E-A947-4B13A16737C3}" dt="2020-03-31T00:47:59.270" v="42" actId="1036"/>
          <ac:cxnSpMkLst>
            <pc:docMk/>
            <pc:sldMk cId="3359044363" sldId="592"/>
            <ac:cxnSpMk id="65" creationId="{CCB84055-3A58-4EB7-9EEE-AD6143CF820C}"/>
          </ac:cxnSpMkLst>
        </pc:cxnChg>
        <pc:cxnChg chg="mod">
          <ac:chgData name="Batuhan Yildiz" userId="90f344fc-4655-4923-aeaf-697bba59c1a7" providerId="ADAL" clId="{43ADD2D5-AA2B-4D7E-A947-4B13A16737C3}" dt="2020-03-31T00:47:59.270" v="42" actId="1036"/>
          <ac:cxnSpMkLst>
            <pc:docMk/>
            <pc:sldMk cId="3359044363" sldId="592"/>
            <ac:cxnSpMk id="66" creationId="{D7BC0A8B-38FE-4C3C-A69A-C4FD872A1952}"/>
          </ac:cxnSpMkLst>
        </pc:cxnChg>
        <pc:cxnChg chg="mod">
          <ac:chgData name="Batuhan Yildiz" userId="90f344fc-4655-4923-aeaf-697bba59c1a7" providerId="ADAL" clId="{43ADD2D5-AA2B-4D7E-A947-4B13A16737C3}" dt="2020-03-31T00:47:59.270" v="42" actId="1036"/>
          <ac:cxnSpMkLst>
            <pc:docMk/>
            <pc:sldMk cId="3359044363" sldId="592"/>
            <ac:cxnSpMk id="108" creationId="{59899825-3E6F-4CA6-8897-2FFDB217A3EA}"/>
          </ac:cxnSpMkLst>
        </pc:cxnChg>
        <pc:cxnChg chg="mod">
          <ac:chgData name="Batuhan Yildiz" userId="90f344fc-4655-4923-aeaf-697bba59c1a7" providerId="ADAL" clId="{43ADD2D5-AA2B-4D7E-A947-4B13A16737C3}" dt="2020-03-31T00:47:59.270" v="42" actId="1036"/>
          <ac:cxnSpMkLst>
            <pc:docMk/>
            <pc:sldMk cId="3359044363" sldId="592"/>
            <ac:cxnSpMk id="109" creationId="{90873CD0-740E-46DD-99AF-9DF7BA839FE9}"/>
          </ac:cxnSpMkLst>
        </pc:cxnChg>
        <pc:cxnChg chg="mod">
          <ac:chgData name="Batuhan Yildiz" userId="90f344fc-4655-4923-aeaf-697bba59c1a7" providerId="ADAL" clId="{43ADD2D5-AA2B-4D7E-A947-4B13A16737C3}" dt="2020-03-31T00:48:24.265" v="44" actId="14100"/>
          <ac:cxnSpMkLst>
            <pc:docMk/>
            <pc:sldMk cId="3359044363" sldId="592"/>
            <ac:cxnSpMk id="113" creationId="{B8105367-D6F3-4A42-B2E5-53C7EC91CB4F}"/>
          </ac:cxnSpMkLst>
        </pc:cxnChg>
        <pc:cxnChg chg="mod">
          <ac:chgData name="Batuhan Yildiz" userId="90f344fc-4655-4923-aeaf-697bba59c1a7" providerId="ADAL" clId="{43ADD2D5-AA2B-4D7E-A947-4B13A16737C3}" dt="2020-03-31T00:47:59.270" v="42" actId="1036"/>
          <ac:cxnSpMkLst>
            <pc:docMk/>
            <pc:sldMk cId="3359044363" sldId="592"/>
            <ac:cxnSpMk id="115" creationId="{11271414-F724-4910-AB26-4A486238322F}"/>
          </ac:cxnSpMkLst>
        </pc:cxnChg>
        <pc:cxnChg chg="mod">
          <ac:chgData name="Batuhan Yildiz" userId="90f344fc-4655-4923-aeaf-697bba59c1a7" providerId="ADAL" clId="{43ADD2D5-AA2B-4D7E-A947-4B13A16737C3}" dt="2020-03-31T00:47:59.270" v="42" actId="1036"/>
          <ac:cxnSpMkLst>
            <pc:docMk/>
            <pc:sldMk cId="3359044363" sldId="592"/>
            <ac:cxnSpMk id="117" creationId="{97BD28A7-38C1-4ADD-B651-7EE02F2AC205}"/>
          </ac:cxnSpMkLst>
        </pc:cxnChg>
        <pc:cxnChg chg="mod">
          <ac:chgData name="Batuhan Yildiz" userId="90f344fc-4655-4923-aeaf-697bba59c1a7" providerId="ADAL" clId="{43ADD2D5-AA2B-4D7E-A947-4B13A16737C3}" dt="2020-03-31T00:47:59.270" v="42" actId="1036"/>
          <ac:cxnSpMkLst>
            <pc:docMk/>
            <pc:sldMk cId="3359044363" sldId="592"/>
            <ac:cxnSpMk id="118" creationId="{43F745D3-637F-4320-8661-4C42B177B590}"/>
          </ac:cxnSpMkLst>
        </pc:cxnChg>
        <pc:cxnChg chg="mod">
          <ac:chgData name="Batuhan Yildiz" userId="90f344fc-4655-4923-aeaf-697bba59c1a7" providerId="ADAL" clId="{43ADD2D5-AA2B-4D7E-A947-4B13A16737C3}" dt="2020-03-31T00:47:59.270" v="42" actId="1036"/>
          <ac:cxnSpMkLst>
            <pc:docMk/>
            <pc:sldMk cId="3359044363" sldId="592"/>
            <ac:cxnSpMk id="120" creationId="{CDF675B1-A996-4AA6-A338-07093C380CC9}"/>
          </ac:cxnSpMkLst>
        </pc:cxnChg>
      </pc:sldChg>
      <pc:sldChg chg="addSp delSp modSp mod">
        <pc:chgData name="Batuhan Yildiz" userId="90f344fc-4655-4923-aeaf-697bba59c1a7" providerId="ADAL" clId="{43ADD2D5-AA2B-4D7E-A947-4B13A16737C3}" dt="2020-03-31T00:46:30.048" v="36" actId="1036"/>
        <pc:sldMkLst>
          <pc:docMk/>
          <pc:sldMk cId="4157876676" sldId="595"/>
        </pc:sldMkLst>
        <pc:spChg chg="add mod">
          <ac:chgData name="Batuhan Yildiz" userId="90f344fc-4655-4923-aeaf-697bba59c1a7" providerId="ADAL" clId="{43ADD2D5-AA2B-4D7E-A947-4B13A16737C3}" dt="2020-03-31T00:46:24.957" v="32" actId="1035"/>
          <ac:spMkLst>
            <pc:docMk/>
            <pc:sldMk cId="4157876676" sldId="595"/>
            <ac:spMk id="3" creationId="{6C6CD44D-22C5-4619-AC78-E34BCF47718A}"/>
          </ac:spMkLst>
        </pc:spChg>
        <pc:spChg chg="del mod">
          <ac:chgData name="Batuhan Yildiz" userId="90f344fc-4655-4923-aeaf-697bba59c1a7" providerId="ADAL" clId="{43ADD2D5-AA2B-4D7E-A947-4B13A16737C3}" dt="2020-03-31T00:46:19.538" v="29" actId="478"/>
          <ac:spMkLst>
            <pc:docMk/>
            <pc:sldMk cId="4157876676" sldId="595"/>
            <ac:spMk id="7" creationId="{398C9860-0CD7-4A35-B297-F5AA93E73866}"/>
          </ac:spMkLst>
        </pc:spChg>
        <pc:spChg chg="add mod">
          <ac:chgData name="Batuhan Yildiz" userId="90f344fc-4655-4923-aeaf-697bba59c1a7" providerId="ADAL" clId="{43ADD2D5-AA2B-4D7E-A947-4B13A16737C3}" dt="2020-03-31T00:46:30.048" v="36" actId="1036"/>
          <ac:spMkLst>
            <pc:docMk/>
            <pc:sldMk cId="4157876676" sldId="595"/>
            <ac:spMk id="9" creationId="{FC49B0D9-6977-497B-B24B-9EFECE79C5EB}"/>
          </ac:spMkLst>
        </pc:spChg>
      </pc:sldChg>
      <pc:sldChg chg="modSp">
        <pc:chgData name="Batuhan Yildiz" userId="90f344fc-4655-4923-aeaf-697bba59c1a7" providerId="ADAL" clId="{43ADD2D5-AA2B-4D7E-A947-4B13A16737C3}" dt="2020-03-31T00:54:01.707" v="55" actId="12100"/>
        <pc:sldMkLst>
          <pc:docMk/>
          <pc:sldMk cId="721641402" sldId="606"/>
        </pc:sldMkLst>
        <pc:graphicFrameChg chg="mod">
          <ac:chgData name="Batuhan Yildiz" userId="90f344fc-4655-4923-aeaf-697bba59c1a7" providerId="ADAL" clId="{43ADD2D5-AA2B-4D7E-A947-4B13A16737C3}" dt="2020-03-31T00:54:01.707" v="55" actId="12100"/>
          <ac:graphicFrameMkLst>
            <pc:docMk/>
            <pc:sldMk cId="721641402" sldId="606"/>
            <ac:graphicFrameMk id="120" creationId="{4B8EB191-1A42-41BE-803F-34D19A3384DC}"/>
          </ac:graphicFrameMkLst>
        </pc:graphicFrameChg>
      </pc:sldChg>
    </pc:docChg>
  </pc:docChgLst>
  <pc:docChgLst>
    <pc:chgData name="Renata Festa" userId="6f22df47-533b-4c2a-a3c1-7f9ad1d63e10" providerId="ADAL" clId="{D9D6212D-B474-44D1-8C31-1C18EFD4DC64}"/>
    <pc:docChg chg="undo custSel addSld delSld modSld sldOrd modSection">
      <pc:chgData name="Renata Festa" userId="6f22df47-533b-4c2a-a3c1-7f9ad1d63e10" providerId="ADAL" clId="{D9D6212D-B474-44D1-8C31-1C18EFD4DC64}" dt="2020-03-26T23:47:58.913" v="790"/>
      <pc:docMkLst>
        <pc:docMk/>
      </pc:docMkLst>
      <pc:sldChg chg="addSp delSp modSp mod modAnim">
        <pc:chgData name="Renata Festa" userId="6f22df47-533b-4c2a-a3c1-7f9ad1d63e10" providerId="ADAL" clId="{D9D6212D-B474-44D1-8C31-1C18EFD4DC64}" dt="2020-03-26T20:40:03.885" v="14" actId="1076"/>
        <pc:sldMkLst>
          <pc:docMk/>
          <pc:sldMk cId="3235270007" sldId="257"/>
        </pc:sldMkLst>
        <pc:spChg chg="del">
          <ac:chgData name="Renata Festa" userId="6f22df47-533b-4c2a-a3c1-7f9ad1d63e10" providerId="ADAL" clId="{D9D6212D-B474-44D1-8C31-1C18EFD4DC64}" dt="2020-03-26T20:39:21.336" v="1"/>
          <ac:spMkLst>
            <pc:docMk/>
            <pc:sldMk cId="3235270007" sldId="257"/>
            <ac:spMk id="2" creationId="{EB67312A-9819-43C6-8D84-D9136E6CFFCC}"/>
          </ac:spMkLst>
        </pc:spChg>
        <pc:spChg chg="del">
          <ac:chgData name="Renata Festa" userId="6f22df47-533b-4c2a-a3c1-7f9ad1d63e10" providerId="ADAL" clId="{D9D6212D-B474-44D1-8C31-1C18EFD4DC64}" dt="2020-03-26T20:39:21.336" v="1"/>
          <ac:spMkLst>
            <pc:docMk/>
            <pc:sldMk cId="3235270007" sldId="257"/>
            <ac:spMk id="3" creationId="{F35E8CBB-5A7D-4DEF-BAF7-8DD5D042F9E0}"/>
          </ac:spMkLst>
        </pc:spChg>
        <pc:spChg chg="del">
          <ac:chgData name="Renata Festa" userId="6f22df47-533b-4c2a-a3c1-7f9ad1d63e10" providerId="ADAL" clId="{D9D6212D-B474-44D1-8C31-1C18EFD4DC64}" dt="2020-03-26T20:39:21.336" v="1"/>
          <ac:spMkLst>
            <pc:docMk/>
            <pc:sldMk cId="3235270007" sldId="257"/>
            <ac:spMk id="4" creationId="{F3616A99-090F-45E1-9334-58D58B148205}"/>
          </ac:spMkLst>
        </pc:spChg>
        <pc:spChg chg="add mod">
          <ac:chgData name="Renata Festa" userId="6f22df47-533b-4c2a-a3c1-7f9ad1d63e10" providerId="ADAL" clId="{D9D6212D-B474-44D1-8C31-1C18EFD4DC64}" dt="2020-03-26T20:39:33.887" v="8"/>
          <ac:spMkLst>
            <pc:docMk/>
            <pc:sldMk cId="3235270007" sldId="257"/>
            <ac:spMk id="5" creationId="{EE1AC3C7-034D-4D76-8A4B-7B32534D1BDE}"/>
          </ac:spMkLst>
        </pc:spChg>
        <pc:spChg chg="add mod">
          <ac:chgData name="Renata Festa" userId="6f22df47-533b-4c2a-a3c1-7f9ad1d63e10" providerId="ADAL" clId="{D9D6212D-B474-44D1-8C31-1C18EFD4DC64}" dt="2020-03-26T20:39:37.470" v="9"/>
          <ac:spMkLst>
            <pc:docMk/>
            <pc:sldMk cId="3235270007" sldId="257"/>
            <ac:spMk id="6" creationId="{15E9D984-8366-4EBA-8597-A8C841BF2633}"/>
          </ac:spMkLst>
        </pc:spChg>
        <pc:picChg chg="add mod">
          <ac:chgData name="Renata Festa" userId="6f22df47-533b-4c2a-a3c1-7f9ad1d63e10" providerId="ADAL" clId="{D9D6212D-B474-44D1-8C31-1C18EFD4DC64}" dt="2020-03-26T20:39:58.192" v="11" actId="1076"/>
          <ac:picMkLst>
            <pc:docMk/>
            <pc:sldMk cId="3235270007" sldId="257"/>
            <ac:picMk id="7" creationId="{379E82D4-473F-4DA6-83E9-915583A4D32E}"/>
          </ac:picMkLst>
        </pc:picChg>
        <pc:picChg chg="add mod">
          <ac:chgData name="Renata Festa" userId="6f22df47-533b-4c2a-a3c1-7f9ad1d63e10" providerId="ADAL" clId="{D9D6212D-B474-44D1-8C31-1C18EFD4DC64}" dt="2020-03-26T20:40:00.879" v="12" actId="1076"/>
          <ac:picMkLst>
            <pc:docMk/>
            <pc:sldMk cId="3235270007" sldId="257"/>
            <ac:picMk id="8" creationId="{958878E2-1989-44EA-8B4D-DB6BBBAE85DA}"/>
          </ac:picMkLst>
        </pc:picChg>
        <pc:picChg chg="add mod">
          <ac:chgData name="Renata Festa" userId="6f22df47-533b-4c2a-a3c1-7f9ad1d63e10" providerId="ADAL" clId="{D9D6212D-B474-44D1-8C31-1C18EFD4DC64}" dt="2020-03-26T20:40:02.394" v="13" actId="1076"/>
          <ac:picMkLst>
            <pc:docMk/>
            <pc:sldMk cId="3235270007" sldId="257"/>
            <ac:picMk id="9" creationId="{A585F925-5EB4-4EA9-830E-50E93412ECC9}"/>
          </ac:picMkLst>
        </pc:picChg>
        <pc:picChg chg="add mod">
          <ac:chgData name="Renata Festa" userId="6f22df47-533b-4c2a-a3c1-7f9ad1d63e10" providerId="ADAL" clId="{D9D6212D-B474-44D1-8C31-1C18EFD4DC64}" dt="2020-03-26T20:40:03.885" v="14" actId="1076"/>
          <ac:picMkLst>
            <pc:docMk/>
            <pc:sldMk cId="3235270007" sldId="257"/>
            <ac:picMk id="10" creationId="{ACBF07B2-61E8-485A-B727-9B0922D04BC3}"/>
          </ac:picMkLst>
        </pc:picChg>
      </pc:sldChg>
      <pc:sldChg chg="addSp">
        <pc:chgData name="Renata Festa" userId="6f22df47-533b-4c2a-a3c1-7f9ad1d63e10" providerId="ADAL" clId="{D9D6212D-B474-44D1-8C31-1C18EFD4DC64}" dt="2020-03-26T20:37:07.541" v="0"/>
        <pc:sldMkLst>
          <pc:docMk/>
          <pc:sldMk cId="1196121053" sldId="260"/>
        </pc:sldMkLst>
        <pc:spChg chg="add">
          <ac:chgData name="Renata Festa" userId="6f22df47-533b-4c2a-a3c1-7f9ad1d63e10" providerId="ADAL" clId="{D9D6212D-B474-44D1-8C31-1C18EFD4DC64}" dt="2020-03-26T20:37:07.541" v="0"/>
          <ac:spMkLst>
            <pc:docMk/>
            <pc:sldMk cId="1196121053" sldId="260"/>
            <ac:spMk id="16" creationId="{A857C872-9D60-406E-BD06-932357971D23}"/>
          </ac:spMkLst>
        </pc:spChg>
        <pc:grpChg chg="add">
          <ac:chgData name="Renata Festa" userId="6f22df47-533b-4c2a-a3c1-7f9ad1d63e10" providerId="ADAL" clId="{D9D6212D-B474-44D1-8C31-1C18EFD4DC64}" dt="2020-03-26T20:37:07.541" v="0"/>
          <ac:grpSpMkLst>
            <pc:docMk/>
            <pc:sldMk cId="1196121053" sldId="260"/>
            <ac:grpSpMk id="7" creationId="{B638D320-553A-4988-B4DE-AF1FB6AC9B17}"/>
          </ac:grpSpMkLst>
        </pc:grpChg>
      </pc:sldChg>
      <pc:sldChg chg="modSp mod modNotesTx">
        <pc:chgData name="Renata Festa" userId="6f22df47-533b-4c2a-a3c1-7f9ad1d63e10" providerId="ADAL" clId="{D9D6212D-B474-44D1-8C31-1C18EFD4DC64}" dt="2020-03-26T21:04:54.483" v="385" actId="20577"/>
        <pc:sldMkLst>
          <pc:docMk/>
          <pc:sldMk cId="4267675391" sldId="531"/>
        </pc:sldMkLst>
        <pc:spChg chg="mod">
          <ac:chgData name="Renata Festa" userId="6f22df47-533b-4c2a-a3c1-7f9ad1d63e10" providerId="ADAL" clId="{D9D6212D-B474-44D1-8C31-1C18EFD4DC64}" dt="2020-03-26T21:04:51.877" v="384" actId="20577"/>
          <ac:spMkLst>
            <pc:docMk/>
            <pc:sldMk cId="4267675391" sldId="531"/>
            <ac:spMk id="6" creationId="{637E159C-9ACF-48AE-927A-D5FB13695C7F}"/>
          </ac:spMkLst>
        </pc:spChg>
      </pc:sldChg>
      <pc:sldChg chg="modSp mod">
        <pc:chgData name="Renata Festa" userId="6f22df47-533b-4c2a-a3c1-7f9ad1d63e10" providerId="ADAL" clId="{D9D6212D-B474-44D1-8C31-1C18EFD4DC64}" dt="2020-03-26T23:30:01.819" v="586" actId="20577"/>
        <pc:sldMkLst>
          <pc:docMk/>
          <pc:sldMk cId="1861621179" sldId="535"/>
        </pc:sldMkLst>
        <pc:spChg chg="mod">
          <ac:chgData name="Renata Festa" userId="6f22df47-533b-4c2a-a3c1-7f9ad1d63e10" providerId="ADAL" clId="{D9D6212D-B474-44D1-8C31-1C18EFD4DC64}" dt="2020-03-26T23:29:49.975" v="579"/>
          <ac:spMkLst>
            <pc:docMk/>
            <pc:sldMk cId="1861621179" sldId="535"/>
            <ac:spMk id="2" creationId="{BC57B38C-8413-4861-A4F5-7DF656AEAD0D}"/>
          </ac:spMkLst>
        </pc:spChg>
        <pc:spChg chg="mod">
          <ac:chgData name="Renata Festa" userId="6f22df47-533b-4c2a-a3c1-7f9ad1d63e10" providerId="ADAL" clId="{D9D6212D-B474-44D1-8C31-1C18EFD4DC64}" dt="2020-03-26T23:30:01.819" v="586" actId="20577"/>
          <ac:spMkLst>
            <pc:docMk/>
            <pc:sldMk cId="1861621179" sldId="535"/>
            <ac:spMk id="3" creationId="{4897B8F8-26DF-42FB-ACB0-59929F1C2344}"/>
          </ac:spMkLst>
        </pc:spChg>
      </pc:sldChg>
      <pc:sldChg chg="modSp modAnim">
        <pc:chgData name="Renata Festa" userId="6f22df47-533b-4c2a-a3c1-7f9ad1d63e10" providerId="ADAL" clId="{D9D6212D-B474-44D1-8C31-1C18EFD4DC64}" dt="2020-03-26T23:30:36.877" v="592"/>
        <pc:sldMkLst>
          <pc:docMk/>
          <pc:sldMk cId="3735096506" sldId="563"/>
        </pc:sldMkLst>
        <pc:graphicFrameChg chg="mod">
          <ac:chgData name="Renata Festa" userId="6f22df47-533b-4c2a-a3c1-7f9ad1d63e10" providerId="ADAL" clId="{D9D6212D-B474-44D1-8C31-1C18EFD4DC64}" dt="2020-03-26T23:30:25.478" v="590" actId="20577"/>
          <ac:graphicFrameMkLst>
            <pc:docMk/>
            <pc:sldMk cId="3735096506" sldId="563"/>
            <ac:graphicFrameMk id="3" creationId="{9484E1FE-7534-495E-863C-657A46F5E628}"/>
          </ac:graphicFrameMkLst>
        </pc:graphicFrameChg>
      </pc:sldChg>
      <pc:sldChg chg="addSp delSp modSp mod modAnim">
        <pc:chgData name="Renata Festa" userId="6f22df47-533b-4c2a-a3c1-7f9ad1d63e10" providerId="ADAL" clId="{D9D6212D-B474-44D1-8C31-1C18EFD4DC64}" dt="2020-03-26T23:31:57.062" v="622" actId="12084"/>
        <pc:sldMkLst>
          <pc:docMk/>
          <pc:sldMk cId="4221783869" sldId="566"/>
        </pc:sldMkLst>
        <pc:spChg chg="mod">
          <ac:chgData name="Renata Festa" userId="6f22df47-533b-4c2a-a3c1-7f9ad1d63e10" providerId="ADAL" clId="{D9D6212D-B474-44D1-8C31-1C18EFD4DC64}" dt="2020-03-26T23:31:10.124" v="600"/>
          <ac:spMkLst>
            <pc:docMk/>
            <pc:sldMk cId="4221783869" sldId="566"/>
            <ac:spMk id="2" creationId="{EB67312A-9819-43C6-8D84-D9136E6CFFCC}"/>
          </ac:spMkLst>
        </pc:spChg>
        <pc:spChg chg="del">
          <ac:chgData name="Renata Festa" userId="6f22df47-533b-4c2a-a3c1-7f9ad1d63e10" providerId="ADAL" clId="{D9D6212D-B474-44D1-8C31-1C18EFD4DC64}" dt="2020-03-26T23:31:35.806" v="619" actId="478"/>
          <ac:spMkLst>
            <pc:docMk/>
            <pc:sldMk cId="4221783869" sldId="566"/>
            <ac:spMk id="3" creationId="{F35E8CBB-5A7D-4DEF-BAF7-8DD5D042F9E0}"/>
          </ac:spMkLst>
        </pc:spChg>
        <pc:spChg chg="add del mod">
          <ac:chgData name="Renata Festa" userId="6f22df47-533b-4c2a-a3c1-7f9ad1d63e10" providerId="ADAL" clId="{D9D6212D-B474-44D1-8C31-1C18EFD4DC64}" dt="2020-03-26T23:31:57.062" v="622" actId="12084"/>
          <ac:spMkLst>
            <pc:docMk/>
            <pc:sldMk cId="4221783869" sldId="566"/>
            <ac:spMk id="4" creationId="{F3616A99-090F-45E1-9334-58D58B148205}"/>
          </ac:spMkLst>
        </pc:spChg>
        <pc:spChg chg="add mod">
          <ac:chgData name="Renata Festa" userId="6f22df47-533b-4c2a-a3c1-7f9ad1d63e10" providerId="ADAL" clId="{D9D6212D-B474-44D1-8C31-1C18EFD4DC64}" dt="2020-03-26T23:31:34.084" v="618" actId="1038"/>
          <ac:spMkLst>
            <pc:docMk/>
            <pc:sldMk cId="4221783869" sldId="566"/>
            <ac:spMk id="5" creationId="{65EC7809-FFFF-4901-80F1-BEB794F1F16F}"/>
          </ac:spMkLst>
        </pc:spChg>
        <pc:spChg chg="add mod">
          <ac:chgData name="Renata Festa" userId="6f22df47-533b-4c2a-a3c1-7f9ad1d63e10" providerId="ADAL" clId="{D9D6212D-B474-44D1-8C31-1C18EFD4DC64}" dt="2020-03-26T23:31:34.084" v="618" actId="1038"/>
          <ac:spMkLst>
            <pc:docMk/>
            <pc:sldMk cId="4221783869" sldId="566"/>
            <ac:spMk id="6" creationId="{DDA0629D-5F2B-4556-BE64-7D34299CC058}"/>
          </ac:spMkLst>
        </pc:spChg>
        <pc:spChg chg="add mod">
          <ac:chgData name="Renata Festa" userId="6f22df47-533b-4c2a-a3c1-7f9ad1d63e10" providerId="ADAL" clId="{D9D6212D-B474-44D1-8C31-1C18EFD4DC64}" dt="2020-03-26T23:31:34.084" v="618" actId="1038"/>
          <ac:spMkLst>
            <pc:docMk/>
            <pc:sldMk cId="4221783869" sldId="566"/>
            <ac:spMk id="7" creationId="{1F692426-4C6E-46F3-80CC-5138C77F6045}"/>
          </ac:spMkLst>
        </pc:spChg>
        <pc:spChg chg="add mod">
          <ac:chgData name="Renata Festa" userId="6f22df47-533b-4c2a-a3c1-7f9ad1d63e10" providerId="ADAL" clId="{D9D6212D-B474-44D1-8C31-1C18EFD4DC64}" dt="2020-03-26T23:31:34.084" v="618" actId="1038"/>
          <ac:spMkLst>
            <pc:docMk/>
            <pc:sldMk cId="4221783869" sldId="566"/>
            <ac:spMk id="11" creationId="{AFDC98FA-FB88-434F-80B8-8B10005F72D9}"/>
          </ac:spMkLst>
        </pc:spChg>
        <pc:spChg chg="add mod">
          <ac:chgData name="Renata Festa" userId="6f22df47-533b-4c2a-a3c1-7f9ad1d63e10" providerId="ADAL" clId="{D9D6212D-B474-44D1-8C31-1C18EFD4DC64}" dt="2020-03-26T23:31:34.084" v="618" actId="1038"/>
          <ac:spMkLst>
            <pc:docMk/>
            <pc:sldMk cId="4221783869" sldId="566"/>
            <ac:spMk id="45" creationId="{BE2F2CF4-830C-4C6A-AD61-69D2E391D6A9}"/>
          </ac:spMkLst>
        </pc:spChg>
        <pc:spChg chg="add mod">
          <ac:chgData name="Renata Festa" userId="6f22df47-533b-4c2a-a3c1-7f9ad1d63e10" providerId="ADAL" clId="{D9D6212D-B474-44D1-8C31-1C18EFD4DC64}" dt="2020-03-26T23:31:34.084" v="618" actId="1038"/>
          <ac:spMkLst>
            <pc:docMk/>
            <pc:sldMk cId="4221783869" sldId="566"/>
            <ac:spMk id="60" creationId="{AFA33722-52B5-449A-818F-AE783FD9F514}"/>
          </ac:spMkLst>
        </pc:spChg>
        <pc:spChg chg="add mod">
          <ac:chgData name="Renata Festa" userId="6f22df47-533b-4c2a-a3c1-7f9ad1d63e10" providerId="ADAL" clId="{D9D6212D-B474-44D1-8C31-1C18EFD4DC64}" dt="2020-03-26T23:31:34.084" v="618" actId="1038"/>
          <ac:spMkLst>
            <pc:docMk/>
            <pc:sldMk cId="4221783869" sldId="566"/>
            <ac:spMk id="74" creationId="{CA7C72EA-D19A-44B4-90D7-887F6A2C0A35}"/>
          </ac:spMkLst>
        </pc:spChg>
        <pc:grpChg chg="add mod">
          <ac:chgData name="Renata Festa" userId="6f22df47-533b-4c2a-a3c1-7f9ad1d63e10" providerId="ADAL" clId="{D9D6212D-B474-44D1-8C31-1C18EFD4DC64}" dt="2020-03-26T23:31:34.084" v="618" actId="1038"/>
          <ac:grpSpMkLst>
            <pc:docMk/>
            <pc:sldMk cId="4221783869" sldId="566"/>
            <ac:grpSpMk id="8" creationId="{E75A9523-6F7C-4F8F-B385-A120D51F159B}"/>
          </ac:grpSpMkLst>
        </pc:grpChg>
        <pc:grpChg chg="add mod">
          <ac:chgData name="Renata Festa" userId="6f22df47-533b-4c2a-a3c1-7f9ad1d63e10" providerId="ADAL" clId="{D9D6212D-B474-44D1-8C31-1C18EFD4DC64}" dt="2020-03-26T23:31:34.084" v="618" actId="1038"/>
          <ac:grpSpMkLst>
            <pc:docMk/>
            <pc:sldMk cId="4221783869" sldId="566"/>
            <ac:grpSpMk id="12" creationId="{76A8BF05-36B4-4848-90C1-5353627232C3}"/>
          </ac:grpSpMkLst>
        </pc:grpChg>
        <pc:grpChg chg="add mod">
          <ac:chgData name="Renata Festa" userId="6f22df47-533b-4c2a-a3c1-7f9ad1d63e10" providerId="ADAL" clId="{D9D6212D-B474-44D1-8C31-1C18EFD4DC64}" dt="2020-03-26T23:31:34.084" v="618" actId="1038"/>
          <ac:grpSpMkLst>
            <pc:docMk/>
            <pc:sldMk cId="4221783869" sldId="566"/>
            <ac:grpSpMk id="15" creationId="{7F86424E-EAC7-41D2-B60B-3F3741E2132A}"/>
          </ac:grpSpMkLst>
        </pc:grpChg>
        <pc:grpChg chg="add mod">
          <ac:chgData name="Renata Festa" userId="6f22df47-533b-4c2a-a3c1-7f9ad1d63e10" providerId="ADAL" clId="{D9D6212D-B474-44D1-8C31-1C18EFD4DC64}" dt="2020-03-26T23:31:34.084" v="618" actId="1038"/>
          <ac:grpSpMkLst>
            <pc:docMk/>
            <pc:sldMk cId="4221783869" sldId="566"/>
            <ac:grpSpMk id="46" creationId="{5982FC51-53E7-41C1-A9E5-614D980B36D5}"/>
          </ac:grpSpMkLst>
        </pc:grpChg>
        <pc:grpChg chg="add mod">
          <ac:chgData name="Renata Festa" userId="6f22df47-533b-4c2a-a3c1-7f9ad1d63e10" providerId="ADAL" clId="{D9D6212D-B474-44D1-8C31-1C18EFD4DC64}" dt="2020-03-26T23:31:34.084" v="618" actId="1038"/>
          <ac:grpSpMkLst>
            <pc:docMk/>
            <pc:sldMk cId="4221783869" sldId="566"/>
            <ac:grpSpMk id="61" creationId="{BF3169AC-C653-477A-A0BA-48CB220DD4BF}"/>
          </ac:grpSpMkLst>
        </pc:grpChg>
        <pc:grpChg chg="add mod">
          <ac:chgData name="Renata Festa" userId="6f22df47-533b-4c2a-a3c1-7f9ad1d63e10" providerId="ADAL" clId="{D9D6212D-B474-44D1-8C31-1C18EFD4DC64}" dt="2020-03-26T23:31:34.084" v="618" actId="1038"/>
          <ac:grpSpMkLst>
            <pc:docMk/>
            <pc:sldMk cId="4221783869" sldId="566"/>
            <ac:grpSpMk id="75" creationId="{BAEEF708-0334-42A5-AE9B-331216CA83D2}"/>
          </ac:grpSpMkLst>
        </pc:grpChg>
        <pc:graphicFrameChg chg="add del mod">
          <ac:chgData name="Renata Festa" userId="6f22df47-533b-4c2a-a3c1-7f9ad1d63e10" providerId="ADAL" clId="{D9D6212D-B474-44D1-8C31-1C18EFD4DC64}" dt="2020-03-26T23:31:54.236" v="621" actId="12084"/>
          <ac:graphicFrameMkLst>
            <pc:docMk/>
            <pc:sldMk cId="4221783869" sldId="566"/>
            <ac:graphicFrameMk id="91" creationId="{F936B21D-F3BD-49E7-AD21-0622A76E308C}"/>
          </ac:graphicFrameMkLst>
        </pc:graphicFrameChg>
        <pc:graphicFrameChg chg="add mod">
          <ac:chgData name="Renata Festa" userId="6f22df47-533b-4c2a-a3c1-7f9ad1d63e10" providerId="ADAL" clId="{D9D6212D-B474-44D1-8C31-1C18EFD4DC64}" dt="2020-03-26T23:31:57.062" v="622" actId="12084"/>
          <ac:graphicFrameMkLst>
            <pc:docMk/>
            <pc:sldMk cId="4221783869" sldId="566"/>
            <ac:graphicFrameMk id="92" creationId="{ECC6120E-4E3B-44BF-9498-F9EE5662E276}"/>
          </ac:graphicFrameMkLst>
        </pc:graphicFrameChg>
        <pc:cxnChg chg="add mod">
          <ac:chgData name="Renata Festa" userId="6f22df47-533b-4c2a-a3c1-7f9ad1d63e10" providerId="ADAL" clId="{D9D6212D-B474-44D1-8C31-1C18EFD4DC64}" dt="2020-03-26T23:31:34.084" v="618" actId="1038"/>
          <ac:cxnSpMkLst>
            <pc:docMk/>
            <pc:sldMk cId="4221783869" sldId="566"/>
            <ac:cxnSpMk id="59" creationId="{D86406EA-D67D-42B6-A724-00B077B99924}"/>
          </ac:cxnSpMkLst>
        </pc:cxnChg>
        <pc:cxnChg chg="add mod">
          <ac:chgData name="Renata Festa" userId="6f22df47-533b-4c2a-a3c1-7f9ad1d63e10" providerId="ADAL" clId="{D9D6212D-B474-44D1-8C31-1C18EFD4DC64}" dt="2020-03-26T23:31:34.084" v="618" actId="1038"/>
          <ac:cxnSpMkLst>
            <pc:docMk/>
            <pc:sldMk cId="4221783869" sldId="566"/>
            <ac:cxnSpMk id="88" creationId="{9DB84E77-BED2-4484-89CC-20ABC536AF00}"/>
          </ac:cxnSpMkLst>
        </pc:cxnChg>
        <pc:cxnChg chg="add mod">
          <ac:chgData name="Renata Festa" userId="6f22df47-533b-4c2a-a3c1-7f9ad1d63e10" providerId="ADAL" clId="{D9D6212D-B474-44D1-8C31-1C18EFD4DC64}" dt="2020-03-26T23:31:34.084" v="618" actId="1038"/>
          <ac:cxnSpMkLst>
            <pc:docMk/>
            <pc:sldMk cId="4221783869" sldId="566"/>
            <ac:cxnSpMk id="89" creationId="{DF72255C-198E-4B9D-A7AB-4EB1DFB6935D}"/>
          </ac:cxnSpMkLst>
        </pc:cxnChg>
        <pc:cxnChg chg="add mod">
          <ac:chgData name="Renata Festa" userId="6f22df47-533b-4c2a-a3c1-7f9ad1d63e10" providerId="ADAL" clId="{D9D6212D-B474-44D1-8C31-1C18EFD4DC64}" dt="2020-03-26T23:31:34.084" v="618" actId="1038"/>
          <ac:cxnSpMkLst>
            <pc:docMk/>
            <pc:sldMk cId="4221783869" sldId="566"/>
            <ac:cxnSpMk id="90" creationId="{7273E751-86DE-462F-9B7B-CD2E34DD87DA}"/>
          </ac:cxnSpMkLst>
        </pc:cxnChg>
      </pc:sldChg>
      <pc:sldChg chg="modSp mod ord">
        <pc:chgData name="Renata Festa" userId="6f22df47-533b-4c2a-a3c1-7f9ad1d63e10" providerId="ADAL" clId="{D9D6212D-B474-44D1-8C31-1C18EFD4DC64}" dt="2020-03-26T23:43:55.767" v="750" actId="20577"/>
        <pc:sldMkLst>
          <pc:docMk/>
          <pc:sldMk cId="670385602" sldId="567"/>
        </pc:sldMkLst>
        <pc:spChg chg="mod">
          <ac:chgData name="Renata Festa" userId="6f22df47-533b-4c2a-a3c1-7f9ad1d63e10" providerId="ADAL" clId="{D9D6212D-B474-44D1-8C31-1C18EFD4DC64}" dt="2020-03-26T23:43:49.847" v="747" actId="20577"/>
          <ac:spMkLst>
            <pc:docMk/>
            <pc:sldMk cId="670385602" sldId="567"/>
            <ac:spMk id="3" creationId="{8F64A22E-2B43-4FC6-AF08-0CDB3F9E9269}"/>
          </ac:spMkLst>
        </pc:spChg>
        <pc:spChg chg="mod">
          <ac:chgData name="Renata Festa" userId="6f22df47-533b-4c2a-a3c1-7f9ad1d63e10" providerId="ADAL" clId="{D9D6212D-B474-44D1-8C31-1C18EFD4DC64}" dt="2020-03-26T23:43:55.767" v="750" actId="20577"/>
          <ac:spMkLst>
            <pc:docMk/>
            <pc:sldMk cId="670385602" sldId="567"/>
            <ac:spMk id="6" creationId="{637E159C-9ACF-48AE-927A-D5FB13695C7F}"/>
          </ac:spMkLst>
        </pc:spChg>
      </pc:sldChg>
      <pc:sldChg chg="modSp mod">
        <pc:chgData name="Renata Festa" userId="6f22df47-533b-4c2a-a3c1-7f9ad1d63e10" providerId="ADAL" clId="{D9D6212D-B474-44D1-8C31-1C18EFD4DC64}" dt="2020-03-26T23:44:31.856" v="761" actId="14100"/>
        <pc:sldMkLst>
          <pc:docMk/>
          <pc:sldMk cId="2147177822" sldId="568"/>
        </pc:sldMkLst>
        <pc:spChg chg="mod">
          <ac:chgData name="Renata Festa" userId="6f22df47-533b-4c2a-a3c1-7f9ad1d63e10" providerId="ADAL" clId="{D9D6212D-B474-44D1-8C31-1C18EFD4DC64}" dt="2020-03-26T23:44:17.937" v="754" actId="120"/>
          <ac:spMkLst>
            <pc:docMk/>
            <pc:sldMk cId="2147177822" sldId="568"/>
            <ac:spMk id="2" creationId="{BC57B38C-8413-4861-A4F5-7DF656AEAD0D}"/>
          </ac:spMkLst>
        </pc:spChg>
        <pc:spChg chg="mod">
          <ac:chgData name="Renata Festa" userId="6f22df47-533b-4c2a-a3c1-7f9ad1d63e10" providerId="ADAL" clId="{D9D6212D-B474-44D1-8C31-1C18EFD4DC64}" dt="2020-03-26T23:44:31.856" v="761" actId="14100"/>
          <ac:spMkLst>
            <pc:docMk/>
            <pc:sldMk cId="2147177822" sldId="568"/>
            <ac:spMk id="3" creationId="{4897B8F8-26DF-42FB-ACB0-59929F1C2344}"/>
          </ac:spMkLst>
        </pc:spChg>
      </pc:sldChg>
      <pc:sldChg chg="modSp modAnim">
        <pc:chgData name="Renata Festa" userId="6f22df47-533b-4c2a-a3c1-7f9ad1d63e10" providerId="ADAL" clId="{D9D6212D-B474-44D1-8C31-1C18EFD4DC64}" dt="2020-03-26T23:45:37.070" v="771"/>
        <pc:sldMkLst>
          <pc:docMk/>
          <pc:sldMk cId="2346840044" sldId="570"/>
        </pc:sldMkLst>
        <pc:graphicFrameChg chg="mod">
          <ac:chgData name="Renata Festa" userId="6f22df47-533b-4c2a-a3c1-7f9ad1d63e10" providerId="ADAL" clId="{D9D6212D-B474-44D1-8C31-1C18EFD4DC64}" dt="2020-03-26T23:45:13.448" v="769" actId="20577"/>
          <ac:graphicFrameMkLst>
            <pc:docMk/>
            <pc:sldMk cId="2346840044" sldId="570"/>
            <ac:graphicFrameMk id="3" creationId="{9484E1FE-7534-495E-863C-657A46F5E628}"/>
          </ac:graphicFrameMkLst>
        </pc:graphicFrameChg>
      </pc:sldChg>
      <pc:sldChg chg="del">
        <pc:chgData name="Renata Festa" userId="6f22df47-533b-4c2a-a3c1-7f9ad1d63e10" providerId="ADAL" clId="{D9D6212D-B474-44D1-8C31-1C18EFD4DC64}" dt="2020-03-26T21:04:43.401" v="382" actId="47"/>
        <pc:sldMkLst>
          <pc:docMk/>
          <pc:sldMk cId="3372985199" sldId="585"/>
        </pc:sldMkLst>
      </pc:sldChg>
      <pc:sldChg chg="del">
        <pc:chgData name="Renata Festa" userId="6f22df47-533b-4c2a-a3c1-7f9ad1d63e10" providerId="ADAL" clId="{D9D6212D-B474-44D1-8C31-1C18EFD4DC64}" dt="2020-03-26T23:44:05.600" v="751" actId="47"/>
        <pc:sldMkLst>
          <pc:docMk/>
          <pc:sldMk cId="333990417" sldId="586"/>
        </pc:sldMkLst>
      </pc:sldChg>
      <pc:sldChg chg="addSp delSp modSp add mod">
        <pc:chgData name="Renata Festa" userId="6f22df47-533b-4c2a-a3c1-7f9ad1d63e10" providerId="ADAL" clId="{D9D6212D-B474-44D1-8C31-1C18EFD4DC64}" dt="2020-03-26T20:41:03.888" v="35" actId="12084"/>
        <pc:sldMkLst>
          <pc:docMk/>
          <pc:sldMk cId="3664982634" sldId="587"/>
        </pc:sldMkLst>
        <pc:spChg chg="add del">
          <ac:chgData name="Renata Festa" userId="6f22df47-533b-4c2a-a3c1-7f9ad1d63e10" providerId="ADAL" clId="{D9D6212D-B474-44D1-8C31-1C18EFD4DC64}" dt="2020-03-26T20:40:43.770" v="21"/>
          <ac:spMkLst>
            <pc:docMk/>
            <pc:sldMk cId="3664982634" sldId="587"/>
            <ac:spMk id="4" creationId="{821E484E-A1B6-4CC5-97C9-1528F67160E8}"/>
          </ac:spMkLst>
        </pc:spChg>
        <pc:spChg chg="mod">
          <ac:chgData name="Renata Festa" userId="6f22df47-533b-4c2a-a3c1-7f9ad1d63e10" providerId="ADAL" clId="{D9D6212D-B474-44D1-8C31-1C18EFD4DC64}" dt="2020-03-26T20:40:22.884" v="16" actId="20577"/>
          <ac:spMkLst>
            <pc:docMk/>
            <pc:sldMk cId="3664982634" sldId="587"/>
            <ac:spMk id="5" creationId="{EE1AC3C7-034D-4D76-8A4B-7B32534D1BDE}"/>
          </ac:spMkLst>
        </pc:spChg>
        <pc:spChg chg="del mod">
          <ac:chgData name="Renata Festa" userId="6f22df47-533b-4c2a-a3c1-7f9ad1d63e10" providerId="ADAL" clId="{D9D6212D-B474-44D1-8C31-1C18EFD4DC64}" dt="2020-03-26T20:41:03.888" v="35" actId="12084"/>
          <ac:spMkLst>
            <pc:docMk/>
            <pc:sldMk cId="3664982634" sldId="587"/>
            <ac:spMk id="6" creationId="{15E9D984-8366-4EBA-8597-A8C841BF2633}"/>
          </ac:spMkLst>
        </pc:spChg>
        <pc:spChg chg="add del">
          <ac:chgData name="Renata Festa" userId="6f22df47-533b-4c2a-a3c1-7f9ad1d63e10" providerId="ADAL" clId="{D9D6212D-B474-44D1-8C31-1C18EFD4DC64}" dt="2020-03-26T20:40:43.770" v="21"/>
          <ac:spMkLst>
            <pc:docMk/>
            <pc:sldMk cId="3664982634" sldId="587"/>
            <ac:spMk id="7" creationId="{6CA6423C-06CB-4D93-811D-DC1C813A1A9A}"/>
          </ac:spMkLst>
        </pc:spChg>
        <pc:spChg chg="add del">
          <ac:chgData name="Renata Festa" userId="6f22df47-533b-4c2a-a3c1-7f9ad1d63e10" providerId="ADAL" clId="{D9D6212D-B474-44D1-8C31-1C18EFD4DC64}" dt="2020-03-26T20:40:43.770" v="21"/>
          <ac:spMkLst>
            <pc:docMk/>
            <pc:sldMk cId="3664982634" sldId="587"/>
            <ac:spMk id="8" creationId="{665C6180-FCDB-455E-BEEB-BB14C92477E3}"/>
          </ac:spMkLst>
        </pc:spChg>
        <pc:spChg chg="add del">
          <ac:chgData name="Renata Festa" userId="6f22df47-533b-4c2a-a3c1-7f9ad1d63e10" providerId="ADAL" clId="{D9D6212D-B474-44D1-8C31-1C18EFD4DC64}" dt="2020-03-26T20:40:43.770" v="21"/>
          <ac:spMkLst>
            <pc:docMk/>
            <pc:sldMk cId="3664982634" sldId="587"/>
            <ac:spMk id="9" creationId="{23D3CDA6-C90D-456F-9E0E-E75545B5C15E}"/>
          </ac:spMkLst>
        </pc:spChg>
        <pc:spChg chg="add del">
          <ac:chgData name="Renata Festa" userId="6f22df47-533b-4c2a-a3c1-7f9ad1d63e10" providerId="ADAL" clId="{D9D6212D-B474-44D1-8C31-1C18EFD4DC64}" dt="2020-03-26T20:40:43.770" v="21"/>
          <ac:spMkLst>
            <pc:docMk/>
            <pc:sldMk cId="3664982634" sldId="587"/>
            <ac:spMk id="10" creationId="{AA0E8B48-1828-4960-8C67-367F93558D4D}"/>
          </ac:spMkLst>
        </pc:spChg>
        <pc:spChg chg="add del">
          <ac:chgData name="Renata Festa" userId="6f22df47-533b-4c2a-a3c1-7f9ad1d63e10" providerId="ADAL" clId="{D9D6212D-B474-44D1-8C31-1C18EFD4DC64}" dt="2020-03-26T20:40:43.770" v="21"/>
          <ac:spMkLst>
            <pc:docMk/>
            <pc:sldMk cId="3664982634" sldId="587"/>
            <ac:spMk id="11" creationId="{FA6C2E04-C975-4748-8C32-E1DEC791785A}"/>
          </ac:spMkLst>
        </pc:spChg>
        <pc:spChg chg="add del">
          <ac:chgData name="Renata Festa" userId="6f22df47-533b-4c2a-a3c1-7f9ad1d63e10" providerId="ADAL" clId="{D9D6212D-B474-44D1-8C31-1C18EFD4DC64}" dt="2020-03-26T20:40:43.770" v="21"/>
          <ac:spMkLst>
            <pc:docMk/>
            <pc:sldMk cId="3664982634" sldId="587"/>
            <ac:spMk id="12" creationId="{32FF058D-4562-417C-BBA0-0074FCAD5E29}"/>
          </ac:spMkLst>
        </pc:spChg>
        <pc:spChg chg="add del">
          <ac:chgData name="Renata Festa" userId="6f22df47-533b-4c2a-a3c1-7f9ad1d63e10" providerId="ADAL" clId="{D9D6212D-B474-44D1-8C31-1C18EFD4DC64}" dt="2020-03-26T20:40:43.770" v="21"/>
          <ac:spMkLst>
            <pc:docMk/>
            <pc:sldMk cId="3664982634" sldId="587"/>
            <ac:spMk id="13" creationId="{851E14F8-9ADC-40B1-8CF2-7326E192563F}"/>
          </ac:spMkLst>
        </pc:spChg>
        <pc:spChg chg="add del">
          <ac:chgData name="Renata Festa" userId="6f22df47-533b-4c2a-a3c1-7f9ad1d63e10" providerId="ADAL" clId="{D9D6212D-B474-44D1-8C31-1C18EFD4DC64}" dt="2020-03-26T20:40:43.770" v="21"/>
          <ac:spMkLst>
            <pc:docMk/>
            <pc:sldMk cId="3664982634" sldId="587"/>
            <ac:spMk id="14" creationId="{15D20A74-03AB-4642-BE9A-519594F92473}"/>
          </ac:spMkLst>
        </pc:spChg>
        <pc:spChg chg="add del">
          <ac:chgData name="Renata Festa" userId="6f22df47-533b-4c2a-a3c1-7f9ad1d63e10" providerId="ADAL" clId="{D9D6212D-B474-44D1-8C31-1C18EFD4DC64}" dt="2020-03-26T20:40:43.770" v="21"/>
          <ac:spMkLst>
            <pc:docMk/>
            <pc:sldMk cId="3664982634" sldId="587"/>
            <ac:spMk id="15" creationId="{1EB83A0B-D1AA-4D1A-A9B3-602168571441}"/>
          </ac:spMkLst>
        </pc:spChg>
        <pc:spChg chg="add del">
          <ac:chgData name="Renata Festa" userId="6f22df47-533b-4c2a-a3c1-7f9ad1d63e10" providerId="ADAL" clId="{D9D6212D-B474-44D1-8C31-1C18EFD4DC64}" dt="2020-03-26T20:40:43.770" v="21"/>
          <ac:spMkLst>
            <pc:docMk/>
            <pc:sldMk cId="3664982634" sldId="587"/>
            <ac:spMk id="46" creationId="{0A5FB6EF-4924-4B1A-8AED-97FD2B49CC9F}"/>
          </ac:spMkLst>
        </pc:spChg>
        <pc:spChg chg="add del">
          <ac:chgData name="Renata Festa" userId="6f22df47-533b-4c2a-a3c1-7f9ad1d63e10" providerId="ADAL" clId="{D9D6212D-B474-44D1-8C31-1C18EFD4DC64}" dt="2020-03-26T20:40:43.770" v="21"/>
          <ac:spMkLst>
            <pc:docMk/>
            <pc:sldMk cId="3664982634" sldId="587"/>
            <ac:spMk id="47" creationId="{98A52404-70E1-4AA7-BCB4-F44FF05D2A6D}"/>
          </ac:spMkLst>
        </pc:spChg>
        <pc:spChg chg="add del">
          <ac:chgData name="Renata Festa" userId="6f22df47-533b-4c2a-a3c1-7f9ad1d63e10" providerId="ADAL" clId="{D9D6212D-B474-44D1-8C31-1C18EFD4DC64}" dt="2020-03-26T20:40:43.770" v="21"/>
          <ac:spMkLst>
            <pc:docMk/>
            <pc:sldMk cId="3664982634" sldId="587"/>
            <ac:spMk id="48" creationId="{3C553205-8ED9-4BE4-941D-9F3D493BFEB1}"/>
          </ac:spMkLst>
        </pc:spChg>
        <pc:spChg chg="add del">
          <ac:chgData name="Renata Festa" userId="6f22df47-533b-4c2a-a3c1-7f9ad1d63e10" providerId="ADAL" clId="{D9D6212D-B474-44D1-8C31-1C18EFD4DC64}" dt="2020-03-26T20:40:43.770" v="21"/>
          <ac:spMkLst>
            <pc:docMk/>
            <pc:sldMk cId="3664982634" sldId="587"/>
            <ac:spMk id="49" creationId="{5F1509DA-BF65-4661-9C7D-E447E2A221D5}"/>
          </ac:spMkLst>
        </pc:spChg>
        <pc:spChg chg="add del">
          <ac:chgData name="Renata Festa" userId="6f22df47-533b-4c2a-a3c1-7f9ad1d63e10" providerId="ADAL" clId="{D9D6212D-B474-44D1-8C31-1C18EFD4DC64}" dt="2020-03-26T20:40:43.770" v="21"/>
          <ac:spMkLst>
            <pc:docMk/>
            <pc:sldMk cId="3664982634" sldId="587"/>
            <ac:spMk id="51" creationId="{4A4D7DA2-CB55-441E-B80E-BF55EC7266DB}"/>
          </ac:spMkLst>
        </pc:spChg>
        <pc:spChg chg="add del">
          <ac:chgData name="Renata Festa" userId="6f22df47-533b-4c2a-a3c1-7f9ad1d63e10" providerId="ADAL" clId="{D9D6212D-B474-44D1-8C31-1C18EFD4DC64}" dt="2020-03-26T20:40:43.770" v="21"/>
          <ac:spMkLst>
            <pc:docMk/>
            <pc:sldMk cId="3664982634" sldId="587"/>
            <ac:spMk id="52" creationId="{EF6AD62C-515F-4185-9DF3-536F79451E41}"/>
          </ac:spMkLst>
        </pc:spChg>
        <pc:spChg chg="add del">
          <ac:chgData name="Renata Festa" userId="6f22df47-533b-4c2a-a3c1-7f9ad1d63e10" providerId="ADAL" clId="{D9D6212D-B474-44D1-8C31-1C18EFD4DC64}" dt="2020-03-26T20:40:43.770" v="21"/>
          <ac:spMkLst>
            <pc:docMk/>
            <pc:sldMk cId="3664982634" sldId="587"/>
            <ac:spMk id="53" creationId="{59686265-7C8C-476E-A642-34248E1F5818}"/>
          </ac:spMkLst>
        </pc:spChg>
        <pc:spChg chg="add del">
          <ac:chgData name="Renata Festa" userId="6f22df47-533b-4c2a-a3c1-7f9ad1d63e10" providerId="ADAL" clId="{D9D6212D-B474-44D1-8C31-1C18EFD4DC64}" dt="2020-03-26T20:40:43.770" v="21"/>
          <ac:spMkLst>
            <pc:docMk/>
            <pc:sldMk cId="3664982634" sldId="587"/>
            <ac:spMk id="54" creationId="{32CAA648-60EC-4723-812B-ECD0F0F4B70D}"/>
          </ac:spMkLst>
        </pc:spChg>
        <pc:spChg chg="add del">
          <ac:chgData name="Renata Festa" userId="6f22df47-533b-4c2a-a3c1-7f9ad1d63e10" providerId="ADAL" clId="{D9D6212D-B474-44D1-8C31-1C18EFD4DC64}" dt="2020-03-26T20:40:43.770" v="21"/>
          <ac:spMkLst>
            <pc:docMk/>
            <pc:sldMk cId="3664982634" sldId="587"/>
            <ac:spMk id="65" creationId="{59939D3D-D853-4ACE-BC64-879AA781F930}"/>
          </ac:spMkLst>
        </pc:spChg>
        <pc:spChg chg="add del">
          <ac:chgData name="Renata Festa" userId="6f22df47-533b-4c2a-a3c1-7f9ad1d63e10" providerId="ADAL" clId="{D9D6212D-B474-44D1-8C31-1C18EFD4DC64}" dt="2020-03-26T20:40:43.770" v="21"/>
          <ac:spMkLst>
            <pc:docMk/>
            <pc:sldMk cId="3664982634" sldId="587"/>
            <ac:spMk id="66" creationId="{1A4CD12C-9BD0-4E9B-988F-5E0E06181FC4}"/>
          </ac:spMkLst>
        </pc:spChg>
        <pc:spChg chg="add del">
          <ac:chgData name="Renata Festa" userId="6f22df47-533b-4c2a-a3c1-7f9ad1d63e10" providerId="ADAL" clId="{D9D6212D-B474-44D1-8C31-1C18EFD4DC64}" dt="2020-03-26T20:40:43.770" v="21"/>
          <ac:spMkLst>
            <pc:docMk/>
            <pc:sldMk cId="3664982634" sldId="587"/>
            <ac:spMk id="67" creationId="{BDBAE8D4-B92B-4322-93CB-68E7370A97D4}"/>
          </ac:spMkLst>
        </pc:spChg>
        <pc:spChg chg="add del">
          <ac:chgData name="Renata Festa" userId="6f22df47-533b-4c2a-a3c1-7f9ad1d63e10" providerId="ADAL" clId="{D9D6212D-B474-44D1-8C31-1C18EFD4DC64}" dt="2020-03-26T20:40:43.770" v="21"/>
          <ac:spMkLst>
            <pc:docMk/>
            <pc:sldMk cId="3664982634" sldId="587"/>
            <ac:spMk id="68" creationId="{98A7E0F2-4D3E-46CC-883D-5CA354E1A638}"/>
          </ac:spMkLst>
        </pc:spChg>
        <pc:spChg chg="add del">
          <ac:chgData name="Renata Festa" userId="6f22df47-533b-4c2a-a3c1-7f9ad1d63e10" providerId="ADAL" clId="{D9D6212D-B474-44D1-8C31-1C18EFD4DC64}" dt="2020-03-26T20:40:43.770" v="21"/>
          <ac:spMkLst>
            <pc:docMk/>
            <pc:sldMk cId="3664982634" sldId="587"/>
            <ac:spMk id="82" creationId="{46238463-409F-4EA4-AC5E-C6E730E4B926}"/>
          </ac:spMkLst>
        </pc:spChg>
        <pc:spChg chg="add del">
          <ac:chgData name="Renata Festa" userId="6f22df47-533b-4c2a-a3c1-7f9ad1d63e10" providerId="ADAL" clId="{D9D6212D-B474-44D1-8C31-1C18EFD4DC64}" dt="2020-03-26T20:40:43.770" v="21"/>
          <ac:spMkLst>
            <pc:docMk/>
            <pc:sldMk cId="3664982634" sldId="587"/>
            <ac:spMk id="85" creationId="{7141ACFB-8306-43EF-8F94-8080F3FC6FF1}"/>
          </ac:spMkLst>
        </pc:spChg>
        <pc:spChg chg="add del">
          <ac:chgData name="Renata Festa" userId="6f22df47-533b-4c2a-a3c1-7f9ad1d63e10" providerId="ADAL" clId="{D9D6212D-B474-44D1-8C31-1C18EFD4DC64}" dt="2020-03-26T20:40:43.770" v="21"/>
          <ac:spMkLst>
            <pc:docMk/>
            <pc:sldMk cId="3664982634" sldId="587"/>
            <ac:spMk id="86" creationId="{3EEE05E8-36E0-4831-A9CE-E1461E134F0B}"/>
          </ac:spMkLst>
        </pc:spChg>
        <pc:spChg chg="add del">
          <ac:chgData name="Renata Festa" userId="6f22df47-533b-4c2a-a3c1-7f9ad1d63e10" providerId="ADAL" clId="{D9D6212D-B474-44D1-8C31-1C18EFD4DC64}" dt="2020-03-26T20:40:43.770" v="21"/>
          <ac:spMkLst>
            <pc:docMk/>
            <pc:sldMk cId="3664982634" sldId="587"/>
            <ac:spMk id="87" creationId="{F75D8616-0614-409E-B8B3-10BE67D249A3}"/>
          </ac:spMkLst>
        </pc:spChg>
        <pc:spChg chg="add mod">
          <ac:chgData name="Renata Festa" userId="6f22df47-533b-4c2a-a3c1-7f9ad1d63e10" providerId="ADAL" clId="{D9D6212D-B474-44D1-8C31-1C18EFD4DC64}" dt="2020-03-26T20:40:49.831" v="33" actId="1037"/>
          <ac:spMkLst>
            <pc:docMk/>
            <pc:sldMk cId="3664982634" sldId="587"/>
            <ac:spMk id="89" creationId="{019AA4E8-8310-46D9-8348-AA33FC1B2346}"/>
          </ac:spMkLst>
        </pc:spChg>
        <pc:spChg chg="add mod">
          <ac:chgData name="Renata Festa" userId="6f22df47-533b-4c2a-a3c1-7f9ad1d63e10" providerId="ADAL" clId="{D9D6212D-B474-44D1-8C31-1C18EFD4DC64}" dt="2020-03-26T20:40:49.831" v="33" actId="1037"/>
          <ac:spMkLst>
            <pc:docMk/>
            <pc:sldMk cId="3664982634" sldId="587"/>
            <ac:spMk id="90" creationId="{A64EA47C-FE3C-42C0-A4DB-8BCC53F6E2E2}"/>
          </ac:spMkLst>
        </pc:spChg>
        <pc:spChg chg="add mod">
          <ac:chgData name="Renata Festa" userId="6f22df47-533b-4c2a-a3c1-7f9ad1d63e10" providerId="ADAL" clId="{D9D6212D-B474-44D1-8C31-1C18EFD4DC64}" dt="2020-03-26T20:40:49.831" v="33" actId="1037"/>
          <ac:spMkLst>
            <pc:docMk/>
            <pc:sldMk cId="3664982634" sldId="587"/>
            <ac:spMk id="91" creationId="{9B7D1D39-41BE-434C-B970-4328B8755554}"/>
          </ac:spMkLst>
        </pc:spChg>
        <pc:spChg chg="add mod">
          <ac:chgData name="Renata Festa" userId="6f22df47-533b-4c2a-a3c1-7f9ad1d63e10" providerId="ADAL" clId="{D9D6212D-B474-44D1-8C31-1C18EFD4DC64}" dt="2020-03-26T20:40:49.831" v="33" actId="1037"/>
          <ac:spMkLst>
            <pc:docMk/>
            <pc:sldMk cId="3664982634" sldId="587"/>
            <ac:spMk id="92" creationId="{AEF79A44-2B69-464A-84BD-B3CF4D72A9D2}"/>
          </ac:spMkLst>
        </pc:spChg>
        <pc:spChg chg="add mod">
          <ac:chgData name="Renata Festa" userId="6f22df47-533b-4c2a-a3c1-7f9ad1d63e10" providerId="ADAL" clId="{D9D6212D-B474-44D1-8C31-1C18EFD4DC64}" dt="2020-03-26T20:40:49.831" v="33" actId="1037"/>
          <ac:spMkLst>
            <pc:docMk/>
            <pc:sldMk cId="3664982634" sldId="587"/>
            <ac:spMk id="93" creationId="{57ED24D5-9CB6-4C82-A5D4-5D5E65C1DF26}"/>
          </ac:spMkLst>
        </pc:spChg>
        <pc:spChg chg="add mod">
          <ac:chgData name="Renata Festa" userId="6f22df47-533b-4c2a-a3c1-7f9ad1d63e10" providerId="ADAL" clId="{D9D6212D-B474-44D1-8C31-1C18EFD4DC64}" dt="2020-03-26T20:40:49.831" v="33" actId="1037"/>
          <ac:spMkLst>
            <pc:docMk/>
            <pc:sldMk cId="3664982634" sldId="587"/>
            <ac:spMk id="94" creationId="{8544C767-116C-4259-893A-5723CA0C37F1}"/>
          </ac:spMkLst>
        </pc:spChg>
        <pc:spChg chg="add mod">
          <ac:chgData name="Renata Festa" userId="6f22df47-533b-4c2a-a3c1-7f9ad1d63e10" providerId="ADAL" clId="{D9D6212D-B474-44D1-8C31-1C18EFD4DC64}" dt="2020-03-26T20:40:49.831" v="33" actId="1037"/>
          <ac:spMkLst>
            <pc:docMk/>
            <pc:sldMk cId="3664982634" sldId="587"/>
            <ac:spMk id="95" creationId="{EB0DBD95-891D-4271-8904-CD623BADF3D3}"/>
          </ac:spMkLst>
        </pc:spChg>
        <pc:spChg chg="add mod">
          <ac:chgData name="Renata Festa" userId="6f22df47-533b-4c2a-a3c1-7f9ad1d63e10" providerId="ADAL" clId="{D9D6212D-B474-44D1-8C31-1C18EFD4DC64}" dt="2020-03-26T20:40:49.831" v="33" actId="1037"/>
          <ac:spMkLst>
            <pc:docMk/>
            <pc:sldMk cId="3664982634" sldId="587"/>
            <ac:spMk id="96" creationId="{CEA92197-21C7-4C01-B58F-5B41BAC927D9}"/>
          </ac:spMkLst>
        </pc:spChg>
        <pc:spChg chg="add mod">
          <ac:chgData name="Renata Festa" userId="6f22df47-533b-4c2a-a3c1-7f9ad1d63e10" providerId="ADAL" clId="{D9D6212D-B474-44D1-8C31-1C18EFD4DC64}" dt="2020-03-26T20:40:49.831" v="33" actId="1037"/>
          <ac:spMkLst>
            <pc:docMk/>
            <pc:sldMk cId="3664982634" sldId="587"/>
            <ac:spMk id="97" creationId="{C98A30CA-258F-4C8F-A343-9BA1B053AFBC}"/>
          </ac:spMkLst>
        </pc:spChg>
        <pc:spChg chg="add mod">
          <ac:chgData name="Renata Festa" userId="6f22df47-533b-4c2a-a3c1-7f9ad1d63e10" providerId="ADAL" clId="{D9D6212D-B474-44D1-8C31-1C18EFD4DC64}" dt="2020-03-26T20:40:49.831" v="33" actId="1037"/>
          <ac:spMkLst>
            <pc:docMk/>
            <pc:sldMk cId="3664982634" sldId="587"/>
            <ac:spMk id="98" creationId="{C1DF2645-8B73-427B-A1F2-A2D071E91391}"/>
          </ac:spMkLst>
        </pc:spChg>
        <pc:spChg chg="add mod">
          <ac:chgData name="Renata Festa" userId="6f22df47-533b-4c2a-a3c1-7f9ad1d63e10" providerId="ADAL" clId="{D9D6212D-B474-44D1-8C31-1C18EFD4DC64}" dt="2020-03-26T20:40:49.831" v="33" actId="1037"/>
          <ac:spMkLst>
            <pc:docMk/>
            <pc:sldMk cId="3664982634" sldId="587"/>
            <ac:spMk id="129" creationId="{203EF5C8-62A8-48ED-BD38-E54C2E9B505C}"/>
          </ac:spMkLst>
        </pc:spChg>
        <pc:spChg chg="add mod">
          <ac:chgData name="Renata Festa" userId="6f22df47-533b-4c2a-a3c1-7f9ad1d63e10" providerId="ADAL" clId="{D9D6212D-B474-44D1-8C31-1C18EFD4DC64}" dt="2020-03-26T20:40:49.831" v="33" actId="1037"/>
          <ac:spMkLst>
            <pc:docMk/>
            <pc:sldMk cId="3664982634" sldId="587"/>
            <ac:spMk id="130" creationId="{50BC7E62-D081-4055-BE7E-01AD16EC9DEC}"/>
          </ac:spMkLst>
        </pc:spChg>
        <pc:spChg chg="add mod">
          <ac:chgData name="Renata Festa" userId="6f22df47-533b-4c2a-a3c1-7f9ad1d63e10" providerId="ADAL" clId="{D9D6212D-B474-44D1-8C31-1C18EFD4DC64}" dt="2020-03-26T20:40:49.831" v="33" actId="1037"/>
          <ac:spMkLst>
            <pc:docMk/>
            <pc:sldMk cId="3664982634" sldId="587"/>
            <ac:spMk id="131" creationId="{6DF380AC-1D81-45AD-8451-8C688C7B87FC}"/>
          </ac:spMkLst>
        </pc:spChg>
        <pc:spChg chg="add mod">
          <ac:chgData name="Renata Festa" userId="6f22df47-533b-4c2a-a3c1-7f9ad1d63e10" providerId="ADAL" clId="{D9D6212D-B474-44D1-8C31-1C18EFD4DC64}" dt="2020-03-26T20:40:49.831" v="33" actId="1037"/>
          <ac:spMkLst>
            <pc:docMk/>
            <pc:sldMk cId="3664982634" sldId="587"/>
            <ac:spMk id="132" creationId="{F33BF5AB-9ACF-4832-84FE-8AC2C5A275C2}"/>
          </ac:spMkLst>
        </pc:spChg>
        <pc:spChg chg="add mod">
          <ac:chgData name="Renata Festa" userId="6f22df47-533b-4c2a-a3c1-7f9ad1d63e10" providerId="ADAL" clId="{D9D6212D-B474-44D1-8C31-1C18EFD4DC64}" dt="2020-03-26T20:40:49.831" v="33" actId="1037"/>
          <ac:spMkLst>
            <pc:docMk/>
            <pc:sldMk cId="3664982634" sldId="587"/>
            <ac:spMk id="134" creationId="{BB5BA243-7B05-4AD9-B7C5-624DFA363312}"/>
          </ac:spMkLst>
        </pc:spChg>
        <pc:spChg chg="add mod">
          <ac:chgData name="Renata Festa" userId="6f22df47-533b-4c2a-a3c1-7f9ad1d63e10" providerId="ADAL" clId="{D9D6212D-B474-44D1-8C31-1C18EFD4DC64}" dt="2020-03-26T20:40:49.831" v="33" actId="1037"/>
          <ac:spMkLst>
            <pc:docMk/>
            <pc:sldMk cId="3664982634" sldId="587"/>
            <ac:spMk id="135" creationId="{56723907-55DE-4FCB-9E2D-6A11085C0123}"/>
          </ac:spMkLst>
        </pc:spChg>
        <pc:spChg chg="add mod">
          <ac:chgData name="Renata Festa" userId="6f22df47-533b-4c2a-a3c1-7f9ad1d63e10" providerId="ADAL" clId="{D9D6212D-B474-44D1-8C31-1C18EFD4DC64}" dt="2020-03-26T20:40:49.831" v="33" actId="1037"/>
          <ac:spMkLst>
            <pc:docMk/>
            <pc:sldMk cId="3664982634" sldId="587"/>
            <ac:spMk id="136" creationId="{686139E6-FA5D-49E0-9D53-D218207D2F21}"/>
          </ac:spMkLst>
        </pc:spChg>
        <pc:spChg chg="add mod">
          <ac:chgData name="Renata Festa" userId="6f22df47-533b-4c2a-a3c1-7f9ad1d63e10" providerId="ADAL" clId="{D9D6212D-B474-44D1-8C31-1C18EFD4DC64}" dt="2020-03-26T20:40:49.831" v="33" actId="1037"/>
          <ac:spMkLst>
            <pc:docMk/>
            <pc:sldMk cId="3664982634" sldId="587"/>
            <ac:spMk id="137" creationId="{2E5A41F7-4B98-47AC-84E1-408EFD69D008}"/>
          </ac:spMkLst>
        </pc:spChg>
        <pc:spChg chg="add mod">
          <ac:chgData name="Renata Festa" userId="6f22df47-533b-4c2a-a3c1-7f9ad1d63e10" providerId="ADAL" clId="{D9D6212D-B474-44D1-8C31-1C18EFD4DC64}" dt="2020-03-26T20:40:49.831" v="33" actId="1037"/>
          <ac:spMkLst>
            <pc:docMk/>
            <pc:sldMk cId="3664982634" sldId="587"/>
            <ac:spMk id="148" creationId="{B8A7F043-CE89-410A-90BF-CEE4BB2CCC93}"/>
          </ac:spMkLst>
        </pc:spChg>
        <pc:spChg chg="add mod">
          <ac:chgData name="Renata Festa" userId="6f22df47-533b-4c2a-a3c1-7f9ad1d63e10" providerId="ADAL" clId="{D9D6212D-B474-44D1-8C31-1C18EFD4DC64}" dt="2020-03-26T20:40:49.831" v="33" actId="1037"/>
          <ac:spMkLst>
            <pc:docMk/>
            <pc:sldMk cId="3664982634" sldId="587"/>
            <ac:spMk id="149" creationId="{15F6E2C9-111D-491D-B2AA-0CE0099A76A8}"/>
          </ac:spMkLst>
        </pc:spChg>
        <pc:spChg chg="add mod">
          <ac:chgData name="Renata Festa" userId="6f22df47-533b-4c2a-a3c1-7f9ad1d63e10" providerId="ADAL" clId="{D9D6212D-B474-44D1-8C31-1C18EFD4DC64}" dt="2020-03-26T20:40:49.831" v="33" actId="1037"/>
          <ac:spMkLst>
            <pc:docMk/>
            <pc:sldMk cId="3664982634" sldId="587"/>
            <ac:spMk id="150" creationId="{29784AB6-1F71-4F91-89C2-D0072FD626A8}"/>
          </ac:spMkLst>
        </pc:spChg>
        <pc:spChg chg="add mod">
          <ac:chgData name="Renata Festa" userId="6f22df47-533b-4c2a-a3c1-7f9ad1d63e10" providerId="ADAL" clId="{D9D6212D-B474-44D1-8C31-1C18EFD4DC64}" dt="2020-03-26T20:40:49.831" v="33" actId="1037"/>
          <ac:spMkLst>
            <pc:docMk/>
            <pc:sldMk cId="3664982634" sldId="587"/>
            <ac:spMk id="151" creationId="{2D48B18D-25C9-46A9-B36B-F93C57DE7B34}"/>
          </ac:spMkLst>
        </pc:spChg>
        <pc:spChg chg="add mod">
          <ac:chgData name="Renata Festa" userId="6f22df47-533b-4c2a-a3c1-7f9ad1d63e10" providerId="ADAL" clId="{D9D6212D-B474-44D1-8C31-1C18EFD4DC64}" dt="2020-03-26T20:40:49.831" v="33" actId="1037"/>
          <ac:spMkLst>
            <pc:docMk/>
            <pc:sldMk cId="3664982634" sldId="587"/>
            <ac:spMk id="165" creationId="{1B18E455-D2D3-4F67-871F-CDD2B5B3C341}"/>
          </ac:spMkLst>
        </pc:spChg>
        <pc:spChg chg="add mod">
          <ac:chgData name="Renata Festa" userId="6f22df47-533b-4c2a-a3c1-7f9ad1d63e10" providerId="ADAL" clId="{D9D6212D-B474-44D1-8C31-1C18EFD4DC64}" dt="2020-03-26T20:40:49.831" v="33" actId="1037"/>
          <ac:spMkLst>
            <pc:docMk/>
            <pc:sldMk cId="3664982634" sldId="587"/>
            <ac:spMk id="168" creationId="{B6243862-F33E-4636-8F8B-918974129A9B}"/>
          </ac:spMkLst>
        </pc:spChg>
        <pc:spChg chg="add mod">
          <ac:chgData name="Renata Festa" userId="6f22df47-533b-4c2a-a3c1-7f9ad1d63e10" providerId="ADAL" clId="{D9D6212D-B474-44D1-8C31-1C18EFD4DC64}" dt="2020-03-26T20:40:49.831" v="33" actId="1037"/>
          <ac:spMkLst>
            <pc:docMk/>
            <pc:sldMk cId="3664982634" sldId="587"/>
            <ac:spMk id="169" creationId="{AC032673-28F8-485F-BAC6-64340EA6E775}"/>
          </ac:spMkLst>
        </pc:spChg>
        <pc:spChg chg="add mod">
          <ac:chgData name="Renata Festa" userId="6f22df47-533b-4c2a-a3c1-7f9ad1d63e10" providerId="ADAL" clId="{D9D6212D-B474-44D1-8C31-1C18EFD4DC64}" dt="2020-03-26T20:40:49.831" v="33" actId="1037"/>
          <ac:spMkLst>
            <pc:docMk/>
            <pc:sldMk cId="3664982634" sldId="587"/>
            <ac:spMk id="170" creationId="{CEA5D5A3-05CA-48A8-B6E1-702C33FD7370}"/>
          </ac:spMkLst>
        </pc:spChg>
        <pc:grpChg chg="add del">
          <ac:chgData name="Renata Festa" userId="6f22df47-533b-4c2a-a3c1-7f9ad1d63e10" providerId="ADAL" clId="{D9D6212D-B474-44D1-8C31-1C18EFD4DC64}" dt="2020-03-26T20:40:43.770" v="21"/>
          <ac:grpSpMkLst>
            <pc:docMk/>
            <pc:sldMk cId="3664982634" sldId="587"/>
            <ac:grpSpMk id="16" creationId="{8233CA2C-3BB6-4E5F-AE4D-1CCA5D394DB9}"/>
          </ac:grpSpMkLst>
        </pc:grpChg>
        <pc:grpChg chg="add del">
          <ac:chgData name="Renata Festa" userId="6f22df47-533b-4c2a-a3c1-7f9ad1d63e10" providerId="ADAL" clId="{D9D6212D-B474-44D1-8C31-1C18EFD4DC64}" dt="2020-03-26T20:40:43.770" v="21"/>
          <ac:grpSpMkLst>
            <pc:docMk/>
            <pc:sldMk cId="3664982634" sldId="587"/>
            <ac:grpSpMk id="26" creationId="{DC374FDA-71D6-4337-9E96-C05A368B56B2}"/>
          </ac:grpSpMkLst>
        </pc:grpChg>
        <pc:grpChg chg="add del">
          <ac:chgData name="Renata Festa" userId="6f22df47-533b-4c2a-a3c1-7f9ad1d63e10" providerId="ADAL" clId="{D9D6212D-B474-44D1-8C31-1C18EFD4DC64}" dt="2020-03-26T20:40:43.770" v="21"/>
          <ac:grpSpMkLst>
            <pc:docMk/>
            <pc:sldMk cId="3664982634" sldId="587"/>
            <ac:grpSpMk id="36" creationId="{867BF8C6-D86D-4228-92FE-39E50CF77328}"/>
          </ac:grpSpMkLst>
        </pc:grpChg>
        <pc:grpChg chg="add del">
          <ac:chgData name="Renata Festa" userId="6f22df47-533b-4c2a-a3c1-7f9ad1d63e10" providerId="ADAL" clId="{D9D6212D-B474-44D1-8C31-1C18EFD4DC64}" dt="2020-03-26T20:40:43.770" v="21"/>
          <ac:grpSpMkLst>
            <pc:docMk/>
            <pc:sldMk cId="3664982634" sldId="587"/>
            <ac:grpSpMk id="55" creationId="{82693FCF-F279-43B4-85AC-AB042E72D3FD}"/>
          </ac:grpSpMkLst>
        </pc:grpChg>
        <pc:grpChg chg="add del">
          <ac:chgData name="Renata Festa" userId="6f22df47-533b-4c2a-a3c1-7f9ad1d63e10" providerId="ADAL" clId="{D9D6212D-B474-44D1-8C31-1C18EFD4DC64}" dt="2020-03-26T20:40:43.770" v="21"/>
          <ac:grpSpMkLst>
            <pc:docMk/>
            <pc:sldMk cId="3664982634" sldId="587"/>
            <ac:grpSpMk id="71" creationId="{4C2182CF-89B0-47AD-80FE-D06C6F8AF153}"/>
          </ac:grpSpMkLst>
        </pc:grpChg>
        <pc:grpChg chg="add mod">
          <ac:chgData name="Renata Festa" userId="6f22df47-533b-4c2a-a3c1-7f9ad1d63e10" providerId="ADAL" clId="{D9D6212D-B474-44D1-8C31-1C18EFD4DC64}" dt="2020-03-26T20:40:49.831" v="33" actId="1037"/>
          <ac:grpSpMkLst>
            <pc:docMk/>
            <pc:sldMk cId="3664982634" sldId="587"/>
            <ac:grpSpMk id="99" creationId="{CF7A3DE8-9171-4270-AD46-E89524F4CFAF}"/>
          </ac:grpSpMkLst>
        </pc:grpChg>
        <pc:grpChg chg="mod">
          <ac:chgData name="Renata Festa" userId="6f22df47-533b-4c2a-a3c1-7f9ad1d63e10" providerId="ADAL" clId="{D9D6212D-B474-44D1-8C31-1C18EFD4DC64}" dt="2020-03-26T20:40:49.831" v="33" actId="1037"/>
          <ac:grpSpMkLst>
            <pc:docMk/>
            <pc:sldMk cId="3664982634" sldId="587"/>
            <ac:grpSpMk id="100" creationId="{F4148B91-0086-4124-8FD5-DA0DF114D43F}"/>
          </ac:grpSpMkLst>
        </pc:grpChg>
        <pc:grpChg chg="mod">
          <ac:chgData name="Renata Festa" userId="6f22df47-533b-4c2a-a3c1-7f9ad1d63e10" providerId="ADAL" clId="{D9D6212D-B474-44D1-8C31-1C18EFD4DC64}" dt="2020-03-26T20:40:49.831" v="33" actId="1037"/>
          <ac:grpSpMkLst>
            <pc:docMk/>
            <pc:sldMk cId="3664982634" sldId="587"/>
            <ac:grpSpMk id="101" creationId="{D2D70036-53C4-4993-B01C-EE56561E74D7}"/>
          </ac:grpSpMkLst>
        </pc:grpChg>
        <pc:grpChg chg="add mod">
          <ac:chgData name="Renata Festa" userId="6f22df47-533b-4c2a-a3c1-7f9ad1d63e10" providerId="ADAL" clId="{D9D6212D-B474-44D1-8C31-1C18EFD4DC64}" dt="2020-03-26T20:40:49.831" v="33" actId="1037"/>
          <ac:grpSpMkLst>
            <pc:docMk/>
            <pc:sldMk cId="3664982634" sldId="587"/>
            <ac:grpSpMk id="109" creationId="{373CE423-7255-40AE-B9CB-D0BCD33708FF}"/>
          </ac:grpSpMkLst>
        </pc:grpChg>
        <pc:grpChg chg="mod">
          <ac:chgData name="Renata Festa" userId="6f22df47-533b-4c2a-a3c1-7f9ad1d63e10" providerId="ADAL" clId="{D9D6212D-B474-44D1-8C31-1C18EFD4DC64}" dt="2020-03-26T20:40:49.831" v="33" actId="1037"/>
          <ac:grpSpMkLst>
            <pc:docMk/>
            <pc:sldMk cId="3664982634" sldId="587"/>
            <ac:grpSpMk id="110" creationId="{07B98E06-9414-42CA-99A6-1AFA6664FE0F}"/>
          </ac:grpSpMkLst>
        </pc:grpChg>
        <pc:grpChg chg="mod">
          <ac:chgData name="Renata Festa" userId="6f22df47-533b-4c2a-a3c1-7f9ad1d63e10" providerId="ADAL" clId="{D9D6212D-B474-44D1-8C31-1C18EFD4DC64}" dt="2020-03-26T20:40:49.831" v="33" actId="1037"/>
          <ac:grpSpMkLst>
            <pc:docMk/>
            <pc:sldMk cId="3664982634" sldId="587"/>
            <ac:grpSpMk id="111" creationId="{C9260ABE-A90A-456C-88EB-781DCBDAF1BA}"/>
          </ac:grpSpMkLst>
        </pc:grpChg>
        <pc:grpChg chg="add mod">
          <ac:chgData name="Renata Festa" userId="6f22df47-533b-4c2a-a3c1-7f9ad1d63e10" providerId="ADAL" clId="{D9D6212D-B474-44D1-8C31-1C18EFD4DC64}" dt="2020-03-26T20:40:49.831" v="33" actId="1037"/>
          <ac:grpSpMkLst>
            <pc:docMk/>
            <pc:sldMk cId="3664982634" sldId="587"/>
            <ac:grpSpMk id="119" creationId="{B940804E-E148-4736-ACA4-1F59E7A3162C}"/>
          </ac:grpSpMkLst>
        </pc:grpChg>
        <pc:grpChg chg="mod">
          <ac:chgData name="Renata Festa" userId="6f22df47-533b-4c2a-a3c1-7f9ad1d63e10" providerId="ADAL" clId="{D9D6212D-B474-44D1-8C31-1C18EFD4DC64}" dt="2020-03-26T20:40:49.831" v="33" actId="1037"/>
          <ac:grpSpMkLst>
            <pc:docMk/>
            <pc:sldMk cId="3664982634" sldId="587"/>
            <ac:grpSpMk id="120" creationId="{84F3BE7D-6B81-4E05-9338-602D42D606B1}"/>
          </ac:grpSpMkLst>
        </pc:grpChg>
        <pc:grpChg chg="mod">
          <ac:chgData name="Renata Festa" userId="6f22df47-533b-4c2a-a3c1-7f9ad1d63e10" providerId="ADAL" clId="{D9D6212D-B474-44D1-8C31-1C18EFD4DC64}" dt="2020-03-26T20:40:49.831" v="33" actId="1037"/>
          <ac:grpSpMkLst>
            <pc:docMk/>
            <pc:sldMk cId="3664982634" sldId="587"/>
            <ac:grpSpMk id="121" creationId="{EF115E0C-BBC8-4AF8-AA37-0345B4178968}"/>
          </ac:grpSpMkLst>
        </pc:grpChg>
        <pc:grpChg chg="add mod">
          <ac:chgData name="Renata Festa" userId="6f22df47-533b-4c2a-a3c1-7f9ad1d63e10" providerId="ADAL" clId="{D9D6212D-B474-44D1-8C31-1C18EFD4DC64}" dt="2020-03-26T20:40:49.831" v="33" actId="1037"/>
          <ac:grpSpMkLst>
            <pc:docMk/>
            <pc:sldMk cId="3664982634" sldId="587"/>
            <ac:grpSpMk id="138" creationId="{8AF7879B-6453-4BD3-BDCC-DCCE002AB0AE}"/>
          </ac:grpSpMkLst>
        </pc:grpChg>
        <pc:grpChg chg="mod">
          <ac:chgData name="Renata Festa" userId="6f22df47-533b-4c2a-a3c1-7f9ad1d63e10" providerId="ADAL" clId="{D9D6212D-B474-44D1-8C31-1C18EFD4DC64}" dt="2020-03-26T20:40:49.831" v="33" actId="1037"/>
          <ac:grpSpMkLst>
            <pc:docMk/>
            <pc:sldMk cId="3664982634" sldId="587"/>
            <ac:grpSpMk id="139" creationId="{5D03BD4C-8994-4075-AE7B-7B872D33F002}"/>
          </ac:grpSpMkLst>
        </pc:grpChg>
        <pc:grpChg chg="mod">
          <ac:chgData name="Renata Festa" userId="6f22df47-533b-4c2a-a3c1-7f9ad1d63e10" providerId="ADAL" clId="{D9D6212D-B474-44D1-8C31-1C18EFD4DC64}" dt="2020-03-26T20:40:49.831" v="33" actId="1037"/>
          <ac:grpSpMkLst>
            <pc:docMk/>
            <pc:sldMk cId="3664982634" sldId="587"/>
            <ac:grpSpMk id="140" creationId="{F5249AF9-B124-4364-8785-918D754AEDF2}"/>
          </ac:grpSpMkLst>
        </pc:grpChg>
        <pc:grpChg chg="add mod">
          <ac:chgData name="Renata Festa" userId="6f22df47-533b-4c2a-a3c1-7f9ad1d63e10" providerId="ADAL" clId="{D9D6212D-B474-44D1-8C31-1C18EFD4DC64}" dt="2020-03-26T20:40:49.831" v="33" actId="1037"/>
          <ac:grpSpMkLst>
            <pc:docMk/>
            <pc:sldMk cId="3664982634" sldId="587"/>
            <ac:grpSpMk id="154" creationId="{CADF86B5-39AF-47D2-A6F4-E780B96DD629}"/>
          </ac:grpSpMkLst>
        </pc:grpChg>
        <pc:grpChg chg="mod">
          <ac:chgData name="Renata Festa" userId="6f22df47-533b-4c2a-a3c1-7f9ad1d63e10" providerId="ADAL" clId="{D9D6212D-B474-44D1-8C31-1C18EFD4DC64}" dt="2020-03-26T20:40:49.831" v="33" actId="1037"/>
          <ac:grpSpMkLst>
            <pc:docMk/>
            <pc:sldMk cId="3664982634" sldId="587"/>
            <ac:grpSpMk id="155" creationId="{9CADD8EA-CB8C-445B-9E54-6770B43C31E5}"/>
          </ac:grpSpMkLst>
        </pc:grpChg>
        <pc:grpChg chg="mod">
          <ac:chgData name="Renata Festa" userId="6f22df47-533b-4c2a-a3c1-7f9ad1d63e10" providerId="ADAL" clId="{D9D6212D-B474-44D1-8C31-1C18EFD4DC64}" dt="2020-03-26T20:40:49.831" v="33" actId="1037"/>
          <ac:grpSpMkLst>
            <pc:docMk/>
            <pc:sldMk cId="3664982634" sldId="587"/>
            <ac:grpSpMk id="156" creationId="{EB3BDBD1-8F23-4F59-B0EA-105AA8123F21}"/>
          </ac:grpSpMkLst>
        </pc:grpChg>
        <pc:grpChg chg="mod">
          <ac:chgData name="Renata Festa" userId="6f22df47-533b-4c2a-a3c1-7f9ad1d63e10" providerId="ADAL" clId="{D9D6212D-B474-44D1-8C31-1C18EFD4DC64}" dt="2020-03-26T20:40:49.831" v="33" actId="1037"/>
          <ac:grpSpMkLst>
            <pc:docMk/>
            <pc:sldMk cId="3664982634" sldId="587"/>
            <ac:grpSpMk id="157" creationId="{4FF0020F-83AB-4EF5-A4D5-C9EDB465DCC8}"/>
          </ac:grpSpMkLst>
        </pc:grpChg>
        <pc:graphicFrameChg chg="add mod">
          <ac:chgData name="Renata Festa" userId="6f22df47-533b-4c2a-a3c1-7f9ad1d63e10" providerId="ADAL" clId="{D9D6212D-B474-44D1-8C31-1C18EFD4DC64}" dt="2020-03-26T20:41:03.888" v="35" actId="12084"/>
          <ac:graphicFrameMkLst>
            <pc:docMk/>
            <pc:sldMk cId="3664982634" sldId="587"/>
            <ac:graphicFrameMk id="2" creationId="{C90ECA4A-BE6C-46B4-BAE1-F4A3B84338BC}"/>
          </ac:graphicFrameMkLst>
        </pc:graphicFrameChg>
        <pc:cxnChg chg="add del">
          <ac:chgData name="Renata Festa" userId="6f22df47-533b-4c2a-a3c1-7f9ad1d63e10" providerId="ADAL" clId="{D9D6212D-B474-44D1-8C31-1C18EFD4DC64}" dt="2020-03-26T20:40:43.770" v="21"/>
          <ac:cxnSpMkLst>
            <pc:docMk/>
            <pc:sldMk cId="3664982634" sldId="587"/>
            <ac:cxnSpMk id="50" creationId="{466A0D28-BA83-47B3-8952-DAF4C2DECD65}"/>
          </ac:cxnSpMkLst>
        </pc:cxnChg>
        <pc:cxnChg chg="add del">
          <ac:chgData name="Renata Festa" userId="6f22df47-533b-4c2a-a3c1-7f9ad1d63e10" providerId="ADAL" clId="{D9D6212D-B474-44D1-8C31-1C18EFD4DC64}" dt="2020-03-26T20:40:43.770" v="21"/>
          <ac:cxnSpMkLst>
            <pc:docMk/>
            <pc:sldMk cId="3664982634" sldId="587"/>
            <ac:cxnSpMk id="69" creationId="{9E36BFFD-EF2E-4082-BFEC-084BACF20548}"/>
          </ac:cxnSpMkLst>
        </pc:cxnChg>
        <pc:cxnChg chg="add del">
          <ac:chgData name="Renata Festa" userId="6f22df47-533b-4c2a-a3c1-7f9ad1d63e10" providerId="ADAL" clId="{D9D6212D-B474-44D1-8C31-1C18EFD4DC64}" dt="2020-03-26T20:40:43.770" v="21"/>
          <ac:cxnSpMkLst>
            <pc:docMk/>
            <pc:sldMk cId="3664982634" sldId="587"/>
            <ac:cxnSpMk id="70" creationId="{EF1C200C-A7A8-4B09-9429-9724090FE355}"/>
          </ac:cxnSpMkLst>
        </pc:cxnChg>
        <pc:cxnChg chg="add del">
          <ac:chgData name="Renata Festa" userId="6f22df47-533b-4c2a-a3c1-7f9ad1d63e10" providerId="ADAL" clId="{D9D6212D-B474-44D1-8C31-1C18EFD4DC64}" dt="2020-03-26T20:40:43.770" v="21"/>
          <ac:cxnSpMkLst>
            <pc:docMk/>
            <pc:sldMk cId="3664982634" sldId="587"/>
            <ac:cxnSpMk id="83" creationId="{38CED036-87F9-45E2-AA4F-A48AE4E66794}"/>
          </ac:cxnSpMkLst>
        </pc:cxnChg>
        <pc:cxnChg chg="add del">
          <ac:chgData name="Renata Festa" userId="6f22df47-533b-4c2a-a3c1-7f9ad1d63e10" providerId="ADAL" clId="{D9D6212D-B474-44D1-8C31-1C18EFD4DC64}" dt="2020-03-26T20:40:43.770" v="21"/>
          <ac:cxnSpMkLst>
            <pc:docMk/>
            <pc:sldMk cId="3664982634" sldId="587"/>
            <ac:cxnSpMk id="84" creationId="{7B73F3BA-B7D5-4734-BBE3-2DFC71A21EB4}"/>
          </ac:cxnSpMkLst>
        </pc:cxnChg>
        <pc:cxnChg chg="add del">
          <ac:chgData name="Renata Festa" userId="6f22df47-533b-4c2a-a3c1-7f9ad1d63e10" providerId="ADAL" clId="{D9D6212D-B474-44D1-8C31-1C18EFD4DC64}" dt="2020-03-26T20:40:43.770" v="21"/>
          <ac:cxnSpMkLst>
            <pc:docMk/>
            <pc:sldMk cId="3664982634" sldId="587"/>
            <ac:cxnSpMk id="88" creationId="{12F51525-52FD-47C0-A929-74829A33AB45}"/>
          </ac:cxnSpMkLst>
        </pc:cxnChg>
        <pc:cxnChg chg="add mod">
          <ac:chgData name="Renata Festa" userId="6f22df47-533b-4c2a-a3c1-7f9ad1d63e10" providerId="ADAL" clId="{D9D6212D-B474-44D1-8C31-1C18EFD4DC64}" dt="2020-03-26T20:40:49.831" v="33" actId="1037"/>
          <ac:cxnSpMkLst>
            <pc:docMk/>
            <pc:sldMk cId="3664982634" sldId="587"/>
            <ac:cxnSpMk id="133" creationId="{E94260BF-69B2-45C3-8B24-51FCCBE62841}"/>
          </ac:cxnSpMkLst>
        </pc:cxnChg>
        <pc:cxnChg chg="add mod">
          <ac:chgData name="Renata Festa" userId="6f22df47-533b-4c2a-a3c1-7f9ad1d63e10" providerId="ADAL" clId="{D9D6212D-B474-44D1-8C31-1C18EFD4DC64}" dt="2020-03-26T20:40:49.831" v="33" actId="1037"/>
          <ac:cxnSpMkLst>
            <pc:docMk/>
            <pc:sldMk cId="3664982634" sldId="587"/>
            <ac:cxnSpMk id="152" creationId="{9CDD9F61-EAA0-4DDB-8EFF-D31E0ABC4F29}"/>
          </ac:cxnSpMkLst>
        </pc:cxnChg>
        <pc:cxnChg chg="add mod">
          <ac:chgData name="Renata Festa" userId="6f22df47-533b-4c2a-a3c1-7f9ad1d63e10" providerId="ADAL" clId="{D9D6212D-B474-44D1-8C31-1C18EFD4DC64}" dt="2020-03-26T20:40:49.831" v="33" actId="1037"/>
          <ac:cxnSpMkLst>
            <pc:docMk/>
            <pc:sldMk cId="3664982634" sldId="587"/>
            <ac:cxnSpMk id="153" creationId="{E302FAD3-A2D1-4FB6-B88A-F917AEF68CF9}"/>
          </ac:cxnSpMkLst>
        </pc:cxnChg>
        <pc:cxnChg chg="add mod">
          <ac:chgData name="Renata Festa" userId="6f22df47-533b-4c2a-a3c1-7f9ad1d63e10" providerId="ADAL" clId="{D9D6212D-B474-44D1-8C31-1C18EFD4DC64}" dt="2020-03-26T20:40:49.831" v="33" actId="1037"/>
          <ac:cxnSpMkLst>
            <pc:docMk/>
            <pc:sldMk cId="3664982634" sldId="587"/>
            <ac:cxnSpMk id="166" creationId="{23BB9D3F-9C19-4B55-9A8A-948F225D61E1}"/>
          </ac:cxnSpMkLst>
        </pc:cxnChg>
        <pc:cxnChg chg="add mod">
          <ac:chgData name="Renata Festa" userId="6f22df47-533b-4c2a-a3c1-7f9ad1d63e10" providerId="ADAL" clId="{D9D6212D-B474-44D1-8C31-1C18EFD4DC64}" dt="2020-03-26T20:40:49.831" v="33" actId="1037"/>
          <ac:cxnSpMkLst>
            <pc:docMk/>
            <pc:sldMk cId="3664982634" sldId="587"/>
            <ac:cxnSpMk id="167" creationId="{68A0BFC2-4A20-4154-BB4B-AC3D796C8017}"/>
          </ac:cxnSpMkLst>
        </pc:cxnChg>
        <pc:cxnChg chg="add mod">
          <ac:chgData name="Renata Festa" userId="6f22df47-533b-4c2a-a3c1-7f9ad1d63e10" providerId="ADAL" clId="{D9D6212D-B474-44D1-8C31-1C18EFD4DC64}" dt="2020-03-26T20:40:49.831" v="33" actId="1037"/>
          <ac:cxnSpMkLst>
            <pc:docMk/>
            <pc:sldMk cId="3664982634" sldId="587"/>
            <ac:cxnSpMk id="171" creationId="{3F9C0023-18B4-4504-8273-987BF4B6C92E}"/>
          </ac:cxnSpMkLst>
        </pc:cxnChg>
      </pc:sldChg>
      <pc:sldChg chg="addSp modSp add mod modAnim">
        <pc:chgData name="Renata Festa" userId="6f22df47-533b-4c2a-a3c1-7f9ad1d63e10" providerId="ADAL" clId="{D9D6212D-B474-44D1-8C31-1C18EFD4DC64}" dt="2020-03-26T20:41:27.083" v="43" actId="1037"/>
        <pc:sldMkLst>
          <pc:docMk/>
          <pc:sldMk cId="1232747909" sldId="588"/>
        </pc:sldMkLst>
        <pc:spChg chg="add mod">
          <ac:chgData name="Renata Festa" userId="6f22df47-533b-4c2a-a3c1-7f9ad1d63e10" providerId="ADAL" clId="{D9D6212D-B474-44D1-8C31-1C18EFD4DC64}" dt="2020-03-26T20:41:27.083" v="43" actId="1037"/>
          <ac:spMkLst>
            <pc:docMk/>
            <pc:sldMk cId="1232747909" sldId="588"/>
            <ac:spMk id="4" creationId="{EC3D46A0-8DB5-46A5-97F1-819B57E75967}"/>
          </ac:spMkLst>
        </pc:spChg>
        <pc:spChg chg="mod">
          <ac:chgData name="Renata Festa" userId="6f22df47-533b-4c2a-a3c1-7f9ad1d63e10" providerId="ADAL" clId="{D9D6212D-B474-44D1-8C31-1C18EFD4DC64}" dt="2020-03-26T20:41:14.100" v="37" actId="20577"/>
          <ac:spMkLst>
            <pc:docMk/>
            <pc:sldMk cId="1232747909" sldId="588"/>
            <ac:spMk id="5" creationId="{EE1AC3C7-034D-4D76-8A4B-7B32534D1BDE}"/>
          </ac:spMkLst>
        </pc:spChg>
        <pc:spChg chg="add mod">
          <ac:chgData name="Renata Festa" userId="6f22df47-533b-4c2a-a3c1-7f9ad1d63e10" providerId="ADAL" clId="{D9D6212D-B474-44D1-8C31-1C18EFD4DC64}" dt="2020-03-26T20:41:27.083" v="43" actId="1037"/>
          <ac:spMkLst>
            <pc:docMk/>
            <pc:sldMk cId="1232747909" sldId="588"/>
            <ac:spMk id="7" creationId="{15319A34-D44C-4E3F-9439-FFF6F4111827}"/>
          </ac:spMkLst>
        </pc:spChg>
        <pc:spChg chg="add mod">
          <ac:chgData name="Renata Festa" userId="6f22df47-533b-4c2a-a3c1-7f9ad1d63e10" providerId="ADAL" clId="{D9D6212D-B474-44D1-8C31-1C18EFD4DC64}" dt="2020-03-26T20:41:27.083" v="43" actId="1037"/>
          <ac:spMkLst>
            <pc:docMk/>
            <pc:sldMk cId="1232747909" sldId="588"/>
            <ac:spMk id="8" creationId="{AE6907C8-4482-47AA-80EF-86B251AD89A9}"/>
          </ac:spMkLst>
        </pc:spChg>
        <pc:spChg chg="add mod">
          <ac:chgData name="Renata Festa" userId="6f22df47-533b-4c2a-a3c1-7f9ad1d63e10" providerId="ADAL" clId="{D9D6212D-B474-44D1-8C31-1C18EFD4DC64}" dt="2020-03-26T20:41:27.083" v="43" actId="1037"/>
          <ac:spMkLst>
            <pc:docMk/>
            <pc:sldMk cId="1232747909" sldId="588"/>
            <ac:spMk id="9" creationId="{DE443323-4C97-4B8C-AD26-2432EE74BB92}"/>
          </ac:spMkLst>
        </pc:spChg>
        <pc:spChg chg="add mod">
          <ac:chgData name="Renata Festa" userId="6f22df47-533b-4c2a-a3c1-7f9ad1d63e10" providerId="ADAL" clId="{D9D6212D-B474-44D1-8C31-1C18EFD4DC64}" dt="2020-03-26T20:41:27.083" v="43" actId="1037"/>
          <ac:spMkLst>
            <pc:docMk/>
            <pc:sldMk cId="1232747909" sldId="588"/>
            <ac:spMk id="10" creationId="{C6FB5E0D-2F82-4B09-813B-44458011E02A}"/>
          </ac:spMkLst>
        </pc:spChg>
        <pc:spChg chg="add mod">
          <ac:chgData name="Renata Festa" userId="6f22df47-533b-4c2a-a3c1-7f9ad1d63e10" providerId="ADAL" clId="{D9D6212D-B474-44D1-8C31-1C18EFD4DC64}" dt="2020-03-26T20:41:27.083" v="43" actId="1037"/>
          <ac:spMkLst>
            <pc:docMk/>
            <pc:sldMk cId="1232747909" sldId="588"/>
            <ac:spMk id="11" creationId="{EC20C0DE-739E-4437-892A-2B0ACA941749}"/>
          </ac:spMkLst>
        </pc:spChg>
        <pc:spChg chg="add mod">
          <ac:chgData name="Renata Festa" userId="6f22df47-533b-4c2a-a3c1-7f9ad1d63e10" providerId="ADAL" clId="{D9D6212D-B474-44D1-8C31-1C18EFD4DC64}" dt="2020-03-26T20:41:27.083" v="43" actId="1037"/>
          <ac:spMkLst>
            <pc:docMk/>
            <pc:sldMk cId="1232747909" sldId="588"/>
            <ac:spMk id="12" creationId="{532E8C1C-617F-487B-83E6-BD071E5DCA84}"/>
          </ac:spMkLst>
        </pc:spChg>
        <pc:spChg chg="add mod">
          <ac:chgData name="Renata Festa" userId="6f22df47-533b-4c2a-a3c1-7f9ad1d63e10" providerId="ADAL" clId="{D9D6212D-B474-44D1-8C31-1C18EFD4DC64}" dt="2020-03-26T20:41:27.083" v="43" actId="1037"/>
          <ac:spMkLst>
            <pc:docMk/>
            <pc:sldMk cId="1232747909" sldId="588"/>
            <ac:spMk id="13" creationId="{840A3889-FEA4-43DE-8463-6EDE255C8076}"/>
          </ac:spMkLst>
        </pc:spChg>
        <pc:spChg chg="add mod">
          <ac:chgData name="Renata Festa" userId="6f22df47-533b-4c2a-a3c1-7f9ad1d63e10" providerId="ADAL" clId="{D9D6212D-B474-44D1-8C31-1C18EFD4DC64}" dt="2020-03-26T20:41:27.083" v="43" actId="1037"/>
          <ac:spMkLst>
            <pc:docMk/>
            <pc:sldMk cId="1232747909" sldId="588"/>
            <ac:spMk id="14" creationId="{BFD9385B-CAC3-47DB-9791-2FEDD8B04B91}"/>
          </ac:spMkLst>
        </pc:spChg>
        <pc:spChg chg="add mod">
          <ac:chgData name="Renata Festa" userId="6f22df47-533b-4c2a-a3c1-7f9ad1d63e10" providerId="ADAL" clId="{D9D6212D-B474-44D1-8C31-1C18EFD4DC64}" dt="2020-03-26T20:41:27.083" v="43" actId="1037"/>
          <ac:spMkLst>
            <pc:docMk/>
            <pc:sldMk cId="1232747909" sldId="588"/>
            <ac:spMk id="15" creationId="{E320FCE7-B704-4D25-A104-8BD196D5AB88}"/>
          </ac:spMkLst>
        </pc:spChg>
        <pc:spChg chg="add mod">
          <ac:chgData name="Renata Festa" userId="6f22df47-533b-4c2a-a3c1-7f9ad1d63e10" providerId="ADAL" clId="{D9D6212D-B474-44D1-8C31-1C18EFD4DC64}" dt="2020-03-26T20:41:27.083" v="43" actId="1037"/>
          <ac:spMkLst>
            <pc:docMk/>
            <pc:sldMk cId="1232747909" sldId="588"/>
            <ac:spMk id="16" creationId="{50655D49-86E7-4BF2-818A-118319A968E0}"/>
          </ac:spMkLst>
        </pc:spChg>
        <pc:spChg chg="add mod">
          <ac:chgData name="Renata Festa" userId="6f22df47-533b-4c2a-a3c1-7f9ad1d63e10" providerId="ADAL" clId="{D9D6212D-B474-44D1-8C31-1C18EFD4DC64}" dt="2020-03-26T20:41:27.083" v="43" actId="1037"/>
          <ac:spMkLst>
            <pc:docMk/>
            <pc:sldMk cId="1232747909" sldId="588"/>
            <ac:spMk id="17" creationId="{29611DFD-973E-4C0B-92C2-C194997952D7}"/>
          </ac:spMkLst>
        </pc:spChg>
        <pc:spChg chg="add mod">
          <ac:chgData name="Renata Festa" userId="6f22df47-533b-4c2a-a3c1-7f9ad1d63e10" providerId="ADAL" clId="{D9D6212D-B474-44D1-8C31-1C18EFD4DC64}" dt="2020-03-26T20:41:27.083" v="43" actId="1037"/>
          <ac:spMkLst>
            <pc:docMk/>
            <pc:sldMk cId="1232747909" sldId="588"/>
            <ac:spMk id="18" creationId="{BBA5730A-CE62-4ADE-B5C9-94C8FCB81A1B}"/>
          </ac:spMkLst>
        </pc:spChg>
        <pc:spChg chg="add mod">
          <ac:chgData name="Renata Festa" userId="6f22df47-533b-4c2a-a3c1-7f9ad1d63e10" providerId="ADAL" clId="{D9D6212D-B474-44D1-8C31-1C18EFD4DC64}" dt="2020-03-26T20:41:27.083" v="43" actId="1037"/>
          <ac:spMkLst>
            <pc:docMk/>
            <pc:sldMk cId="1232747909" sldId="588"/>
            <ac:spMk id="21" creationId="{80F35B58-22BE-4B81-93B7-8E9A12B6EB79}"/>
          </ac:spMkLst>
        </pc:spChg>
        <pc:spChg chg="add mod">
          <ac:chgData name="Renata Festa" userId="6f22df47-533b-4c2a-a3c1-7f9ad1d63e10" providerId="ADAL" clId="{D9D6212D-B474-44D1-8C31-1C18EFD4DC64}" dt="2020-03-26T20:41:27.083" v="43" actId="1037"/>
          <ac:spMkLst>
            <pc:docMk/>
            <pc:sldMk cId="1232747909" sldId="588"/>
            <ac:spMk id="22" creationId="{557E44DD-AAE0-44C0-90B4-5117ED74059E}"/>
          </ac:spMkLst>
        </pc:spChg>
        <pc:grpChg chg="add mod">
          <ac:chgData name="Renata Festa" userId="6f22df47-533b-4c2a-a3c1-7f9ad1d63e10" providerId="ADAL" clId="{D9D6212D-B474-44D1-8C31-1C18EFD4DC64}" dt="2020-03-26T20:41:27.083" v="43" actId="1037"/>
          <ac:grpSpMkLst>
            <pc:docMk/>
            <pc:sldMk cId="1232747909" sldId="588"/>
            <ac:grpSpMk id="28" creationId="{12F76557-277C-4A3C-9918-CB6C85AFFC60}"/>
          </ac:grpSpMkLst>
        </pc:grpChg>
        <pc:grpChg chg="add mod">
          <ac:chgData name="Renata Festa" userId="6f22df47-533b-4c2a-a3c1-7f9ad1d63e10" providerId="ADAL" clId="{D9D6212D-B474-44D1-8C31-1C18EFD4DC64}" dt="2020-03-26T20:41:27.083" v="43" actId="1037"/>
          <ac:grpSpMkLst>
            <pc:docMk/>
            <pc:sldMk cId="1232747909" sldId="588"/>
            <ac:grpSpMk id="43" creationId="{AF125337-BEDB-478C-9A09-AE38AB95D019}"/>
          </ac:grpSpMkLst>
        </pc:grpChg>
        <pc:grpChg chg="add mod">
          <ac:chgData name="Renata Festa" userId="6f22df47-533b-4c2a-a3c1-7f9ad1d63e10" providerId="ADAL" clId="{D9D6212D-B474-44D1-8C31-1C18EFD4DC64}" dt="2020-03-26T20:41:27.083" v="43" actId="1037"/>
          <ac:grpSpMkLst>
            <pc:docMk/>
            <pc:sldMk cId="1232747909" sldId="588"/>
            <ac:grpSpMk id="48" creationId="{FBFC7023-C1D2-41FF-BEE0-80721F11F644}"/>
          </ac:grpSpMkLst>
        </pc:grpChg>
        <pc:grpChg chg="add mod">
          <ac:chgData name="Renata Festa" userId="6f22df47-533b-4c2a-a3c1-7f9ad1d63e10" providerId="ADAL" clId="{D9D6212D-B474-44D1-8C31-1C18EFD4DC64}" dt="2020-03-26T20:41:27.083" v="43" actId="1037"/>
          <ac:grpSpMkLst>
            <pc:docMk/>
            <pc:sldMk cId="1232747909" sldId="588"/>
            <ac:grpSpMk id="63" creationId="{2EF50468-5814-488A-A391-AAE7D5C39E6B}"/>
          </ac:grpSpMkLst>
        </pc:grpChg>
        <pc:grpChg chg="add mod">
          <ac:chgData name="Renata Festa" userId="6f22df47-533b-4c2a-a3c1-7f9ad1d63e10" providerId="ADAL" clId="{D9D6212D-B474-44D1-8C31-1C18EFD4DC64}" dt="2020-03-26T20:41:27.083" v="43" actId="1037"/>
          <ac:grpSpMkLst>
            <pc:docMk/>
            <pc:sldMk cId="1232747909" sldId="588"/>
            <ac:grpSpMk id="78" creationId="{DFBBE989-AF04-48B9-8B3A-103CC781DE68}"/>
          </ac:grpSpMkLst>
        </pc:grpChg>
        <pc:cxnChg chg="add mod">
          <ac:chgData name="Renata Festa" userId="6f22df47-533b-4c2a-a3c1-7f9ad1d63e10" providerId="ADAL" clId="{D9D6212D-B474-44D1-8C31-1C18EFD4DC64}" dt="2020-03-26T20:41:27.083" v="43" actId="1037"/>
          <ac:cxnSpMkLst>
            <pc:docMk/>
            <pc:sldMk cId="1232747909" sldId="588"/>
            <ac:cxnSpMk id="19" creationId="{530D3450-26E5-4C98-BED9-E340ECB6CD64}"/>
          </ac:cxnSpMkLst>
        </pc:cxnChg>
        <pc:cxnChg chg="add mod">
          <ac:chgData name="Renata Festa" userId="6f22df47-533b-4c2a-a3c1-7f9ad1d63e10" providerId="ADAL" clId="{D9D6212D-B474-44D1-8C31-1C18EFD4DC64}" dt="2020-03-26T20:41:27.083" v="43" actId="1037"/>
          <ac:cxnSpMkLst>
            <pc:docMk/>
            <pc:sldMk cId="1232747909" sldId="588"/>
            <ac:cxnSpMk id="20" creationId="{85AFAB17-47C1-449E-9296-873DA5C6DD98}"/>
          </ac:cxnSpMkLst>
        </pc:cxnChg>
        <pc:cxnChg chg="add mod">
          <ac:chgData name="Renata Festa" userId="6f22df47-533b-4c2a-a3c1-7f9ad1d63e10" providerId="ADAL" clId="{D9D6212D-B474-44D1-8C31-1C18EFD4DC64}" dt="2020-03-26T20:41:27.083" v="43" actId="1037"/>
          <ac:cxnSpMkLst>
            <pc:docMk/>
            <pc:sldMk cId="1232747909" sldId="588"/>
            <ac:cxnSpMk id="23" creationId="{1D2163C8-3641-4EE7-BEEB-540A4C5E064D}"/>
          </ac:cxnSpMkLst>
        </pc:cxnChg>
        <pc:cxnChg chg="add mod">
          <ac:chgData name="Renata Festa" userId="6f22df47-533b-4c2a-a3c1-7f9ad1d63e10" providerId="ADAL" clId="{D9D6212D-B474-44D1-8C31-1C18EFD4DC64}" dt="2020-03-26T20:41:27.083" v="43" actId="1037"/>
          <ac:cxnSpMkLst>
            <pc:docMk/>
            <pc:sldMk cId="1232747909" sldId="588"/>
            <ac:cxnSpMk id="24" creationId="{85E8D1E6-8B32-4CA3-9056-25FB4AA5544C}"/>
          </ac:cxnSpMkLst>
        </pc:cxnChg>
        <pc:cxnChg chg="add mod">
          <ac:chgData name="Renata Festa" userId="6f22df47-533b-4c2a-a3c1-7f9ad1d63e10" providerId="ADAL" clId="{D9D6212D-B474-44D1-8C31-1C18EFD4DC64}" dt="2020-03-26T20:41:27.083" v="43" actId="1037"/>
          <ac:cxnSpMkLst>
            <pc:docMk/>
            <pc:sldMk cId="1232747909" sldId="588"/>
            <ac:cxnSpMk id="25" creationId="{0FE60FD9-8CE8-4AC8-9873-4FFC389F27F9}"/>
          </ac:cxnSpMkLst>
        </pc:cxnChg>
        <pc:cxnChg chg="add mod">
          <ac:chgData name="Renata Festa" userId="6f22df47-533b-4c2a-a3c1-7f9ad1d63e10" providerId="ADAL" clId="{D9D6212D-B474-44D1-8C31-1C18EFD4DC64}" dt="2020-03-26T20:41:27.083" v="43" actId="1037"/>
          <ac:cxnSpMkLst>
            <pc:docMk/>
            <pc:sldMk cId="1232747909" sldId="588"/>
            <ac:cxnSpMk id="26" creationId="{987742F5-E51A-4EB0-AE5E-228528D13E66}"/>
          </ac:cxnSpMkLst>
        </pc:cxnChg>
        <pc:cxnChg chg="add mod">
          <ac:chgData name="Renata Festa" userId="6f22df47-533b-4c2a-a3c1-7f9ad1d63e10" providerId="ADAL" clId="{D9D6212D-B474-44D1-8C31-1C18EFD4DC64}" dt="2020-03-26T20:41:27.083" v="43" actId="1037"/>
          <ac:cxnSpMkLst>
            <pc:docMk/>
            <pc:sldMk cId="1232747909" sldId="588"/>
            <ac:cxnSpMk id="27" creationId="{C802DB6A-FB73-4D8A-B8B4-34E81288718C}"/>
          </ac:cxnSpMkLst>
        </pc:cxnChg>
        <pc:cxnChg chg="add mod">
          <ac:chgData name="Renata Festa" userId="6f22df47-533b-4c2a-a3c1-7f9ad1d63e10" providerId="ADAL" clId="{D9D6212D-B474-44D1-8C31-1C18EFD4DC64}" dt="2020-03-26T20:41:27.083" v="43" actId="1037"/>
          <ac:cxnSpMkLst>
            <pc:docMk/>
            <pc:sldMk cId="1232747909" sldId="588"/>
            <ac:cxnSpMk id="93" creationId="{E32B6C4D-A38F-4E38-B7E9-9B49E505B219}"/>
          </ac:cxnSpMkLst>
        </pc:cxnChg>
        <pc:cxnChg chg="add mod">
          <ac:chgData name="Renata Festa" userId="6f22df47-533b-4c2a-a3c1-7f9ad1d63e10" providerId="ADAL" clId="{D9D6212D-B474-44D1-8C31-1C18EFD4DC64}" dt="2020-03-26T20:41:27.083" v="43" actId="1037"/>
          <ac:cxnSpMkLst>
            <pc:docMk/>
            <pc:sldMk cId="1232747909" sldId="588"/>
            <ac:cxnSpMk id="94" creationId="{BCC6633D-1FC7-491B-9E55-DC047F3D9266}"/>
          </ac:cxnSpMkLst>
        </pc:cxnChg>
        <pc:cxnChg chg="add mod">
          <ac:chgData name="Renata Festa" userId="6f22df47-533b-4c2a-a3c1-7f9ad1d63e10" providerId="ADAL" clId="{D9D6212D-B474-44D1-8C31-1C18EFD4DC64}" dt="2020-03-26T20:41:27.083" v="43" actId="1037"/>
          <ac:cxnSpMkLst>
            <pc:docMk/>
            <pc:sldMk cId="1232747909" sldId="588"/>
            <ac:cxnSpMk id="95" creationId="{FAF86F25-00C4-4004-A90F-5479985B3E5F}"/>
          </ac:cxnSpMkLst>
        </pc:cxnChg>
        <pc:cxnChg chg="add mod">
          <ac:chgData name="Renata Festa" userId="6f22df47-533b-4c2a-a3c1-7f9ad1d63e10" providerId="ADAL" clId="{D9D6212D-B474-44D1-8C31-1C18EFD4DC64}" dt="2020-03-26T20:41:27.083" v="43" actId="1037"/>
          <ac:cxnSpMkLst>
            <pc:docMk/>
            <pc:sldMk cId="1232747909" sldId="588"/>
            <ac:cxnSpMk id="96" creationId="{0E30CBF4-3CAB-4078-AEBB-33E35DDF493A}"/>
          </ac:cxnSpMkLst>
        </pc:cxnChg>
        <pc:cxnChg chg="add mod">
          <ac:chgData name="Renata Festa" userId="6f22df47-533b-4c2a-a3c1-7f9ad1d63e10" providerId="ADAL" clId="{D9D6212D-B474-44D1-8C31-1C18EFD4DC64}" dt="2020-03-26T20:41:27.083" v="43" actId="1037"/>
          <ac:cxnSpMkLst>
            <pc:docMk/>
            <pc:sldMk cId="1232747909" sldId="588"/>
            <ac:cxnSpMk id="97" creationId="{1CEAF910-3554-44EC-BD4C-6638CCC0A4BD}"/>
          </ac:cxnSpMkLst>
        </pc:cxnChg>
        <pc:cxnChg chg="add mod">
          <ac:chgData name="Renata Festa" userId="6f22df47-533b-4c2a-a3c1-7f9ad1d63e10" providerId="ADAL" clId="{D9D6212D-B474-44D1-8C31-1C18EFD4DC64}" dt="2020-03-26T20:41:27.083" v="43" actId="1037"/>
          <ac:cxnSpMkLst>
            <pc:docMk/>
            <pc:sldMk cId="1232747909" sldId="588"/>
            <ac:cxnSpMk id="98" creationId="{BE930538-145C-4EB6-8C50-8ECEEEFF4AD9}"/>
          </ac:cxnSpMkLst>
        </pc:cxnChg>
      </pc:sldChg>
      <pc:sldChg chg="addSp delSp modSp add mod delAnim modAnim">
        <pc:chgData name="Renata Festa" userId="6f22df47-533b-4c2a-a3c1-7f9ad1d63e10" providerId="ADAL" clId="{D9D6212D-B474-44D1-8C31-1C18EFD4DC64}" dt="2020-03-26T20:46:54.376" v="116" actId="404"/>
        <pc:sldMkLst>
          <pc:docMk/>
          <pc:sldMk cId="775669388" sldId="589"/>
        </pc:sldMkLst>
        <pc:spChg chg="add mod">
          <ac:chgData name="Renata Festa" userId="6f22df47-533b-4c2a-a3c1-7f9ad1d63e10" providerId="ADAL" clId="{D9D6212D-B474-44D1-8C31-1C18EFD4DC64}" dt="2020-03-26T20:42:27.677" v="60" actId="1036"/>
          <ac:spMkLst>
            <pc:docMk/>
            <pc:sldMk cId="775669388" sldId="589"/>
            <ac:spMk id="4" creationId="{ECDFD9BC-C30C-403B-ACA7-188DCDE60779}"/>
          </ac:spMkLst>
        </pc:spChg>
        <pc:spChg chg="mod">
          <ac:chgData name="Renata Festa" userId="6f22df47-533b-4c2a-a3c1-7f9ad1d63e10" providerId="ADAL" clId="{D9D6212D-B474-44D1-8C31-1C18EFD4DC64}" dt="2020-03-26T20:41:53.127" v="48" actId="20577"/>
          <ac:spMkLst>
            <pc:docMk/>
            <pc:sldMk cId="775669388" sldId="589"/>
            <ac:spMk id="5" creationId="{EE1AC3C7-034D-4D76-8A4B-7B32534D1BDE}"/>
          </ac:spMkLst>
        </pc:spChg>
        <pc:spChg chg="add mod">
          <ac:chgData name="Renata Festa" userId="6f22df47-533b-4c2a-a3c1-7f9ad1d63e10" providerId="ADAL" clId="{D9D6212D-B474-44D1-8C31-1C18EFD4DC64}" dt="2020-03-26T20:42:27.677" v="60" actId="1036"/>
          <ac:spMkLst>
            <pc:docMk/>
            <pc:sldMk cId="775669388" sldId="589"/>
            <ac:spMk id="7" creationId="{9163D698-13C0-45BA-BD50-53F89D7A8AB0}"/>
          </ac:spMkLst>
        </pc:spChg>
        <pc:spChg chg="add mod">
          <ac:chgData name="Renata Festa" userId="6f22df47-533b-4c2a-a3c1-7f9ad1d63e10" providerId="ADAL" clId="{D9D6212D-B474-44D1-8C31-1C18EFD4DC64}" dt="2020-03-26T20:42:27.677" v="60" actId="1036"/>
          <ac:spMkLst>
            <pc:docMk/>
            <pc:sldMk cId="775669388" sldId="589"/>
            <ac:spMk id="8" creationId="{6C964A56-5603-42E5-8D77-4504E1507BC5}"/>
          </ac:spMkLst>
        </pc:spChg>
        <pc:spChg chg="add mod">
          <ac:chgData name="Renata Festa" userId="6f22df47-533b-4c2a-a3c1-7f9ad1d63e10" providerId="ADAL" clId="{D9D6212D-B474-44D1-8C31-1C18EFD4DC64}" dt="2020-03-26T20:42:27.677" v="60" actId="1036"/>
          <ac:spMkLst>
            <pc:docMk/>
            <pc:sldMk cId="775669388" sldId="589"/>
            <ac:spMk id="9" creationId="{69BF8CFD-CB4B-4C41-809E-8C34F9AA648E}"/>
          </ac:spMkLst>
        </pc:spChg>
        <pc:spChg chg="add mod">
          <ac:chgData name="Renata Festa" userId="6f22df47-533b-4c2a-a3c1-7f9ad1d63e10" providerId="ADAL" clId="{D9D6212D-B474-44D1-8C31-1C18EFD4DC64}" dt="2020-03-26T20:42:27.677" v="60" actId="1036"/>
          <ac:spMkLst>
            <pc:docMk/>
            <pc:sldMk cId="775669388" sldId="589"/>
            <ac:spMk id="12" creationId="{8AB45393-67D9-4724-A204-1C9BAA058EF2}"/>
          </ac:spMkLst>
        </pc:spChg>
        <pc:spChg chg="add mod">
          <ac:chgData name="Renata Festa" userId="6f22df47-533b-4c2a-a3c1-7f9ad1d63e10" providerId="ADAL" clId="{D9D6212D-B474-44D1-8C31-1C18EFD4DC64}" dt="2020-03-26T20:42:27.677" v="60" actId="1036"/>
          <ac:spMkLst>
            <pc:docMk/>
            <pc:sldMk cId="775669388" sldId="589"/>
            <ac:spMk id="13" creationId="{F5B8035B-7055-4468-975E-AF2CB5BC0489}"/>
          </ac:spMkLst>
        </pc:spChg>
        <pc:spChg chg="add mod">
          <ac:chgData name="Renata Festa" userId="6f22df47-533b-4c2a-a3c1-7f9ad1d63e10" providerId="ADAL" clId="{D9D6212D-B474-44D1-8C31-1C18EFD4DC64}" dt="2020-03-26T20:42:27.677" v="60" actId="1036"/>
          <ac:spMkLst>
            <pc:docMk/>
            <pc:sldMk cId="775669388" sldId="589"/>
            <ac:spMk id="14" creationId="{42AF7D9D-B03D-477E-A3F7-6288CC2DB99B}"/>
          </ac:spMkLst>
        </pc:spChg>
        <pc:spChg chg="add mod">
          <ac:chgData name="Renata Festa" userId="6f22df47-533b-4c2a-a3c1-7f9ad1d63e10" providerId="ADAL" clId="{D9D6212D-B474-44D1-8C31-1C18EFD4DC64}" dt="2020-03-26T20:42:27.677" v="60" actId="1036"/>
          <ac:spMkLst>
            <pc:docMk/>
            <pc:sldMk cId="775669388" sldId="589"/>
            <ac:spMk id="15" creationId="{56BE67C0-C1AD-4089-BACC-AD004B0F04CB}"/>
          </ac:spMkLst>
        </pc:spChg>
        <pc:spChg chg="add mod">
          <ac:chgData name="Renata Festa" userId="6f22df47-533b-4c2a-a3c1-7f9ad1d63e10" providerId="ADAL" clId="{D9D6212D-B474-44D1-8C31-1C18EFD4DC64}" dt="2020-03-26T20:42:27.677" v="60" actId="1036"/>
          <ac:spMkLst>
            <pc:docMk/>
            <pc:sldMk cId="775669388" sldId="589"/>
            <ac:spMk id="16" creationId="{9002EBF0-50F3-43CF-B9A9-F88562903808}"/>
          </ac:spMkLst>
        </pc:spChg>
        <pc:spChg chg="add mod">
          <ac:chgData name="Renata Festa" userId="6f22df47-533b-4c2a-a3c1-7f9ad1d63e10" providerId="ADAL" clId="{D9D6212D-B474-44D1-8C31-1C18EFD4DC64}" dt="2020-03-26T20:42:27.677" v="60" actId="1036"/>
          <ac:spMkLst>
            <pc:docMk/>
            <pc:sldMk cId="775669388" sldId="589"/>
            <ac:spMk id="17" creationId="{2B645F49-15BD-44BB-B0CB-9D7EADD01300}"/>
          </ac:spMkLst>
        </pc:spChg>
        <pc:spChg chg="add mod">
          <ac:chgData name="Renata Festa" userId="6f22df47-533b-4c2a-a3c1-7f9ad1d63e10" providerId="ADAL" clId="{D9D6212D-B474-44D1-8C31-1C18EFD4DC64}" dt="2020-03-26T20:42:27.677" v="60" actId="1036"/>
          <ac:spMkLst>
            <pc:docMk/>
            <pc:sldMk cId="775669388" sldId="589"/>
            <ac:spMk id="18" creationId="{C68F558F-266E-402D-A223-1CBF53A6F373}"/>
          </ac:spMkLst>
        </pc:spChg>
        <pc:spChg chg="add mod">
          <ac:chgData name="Renata Festa" userId="6f22df47-533b-4c2a-a3c1-7f9ad1d63e10" providerId="ADAL" clId="{D9D6212D-B474-44D1-8C31-1C18EFD4DC64}" dt="2020-03-26T20:42:27.677" v="60" actId="1036"/>
          <ac:spMkLst>
            <pc:docMk/>
            <pc:sldMk cId="775669388" sldId="589"/>
            <ac:spMk id="19" creationId="{B8CE2BBC-F947-49CC-806F-477A0A01A2CD}"/>
          </ac:spMkLst>
        </pc:spChg>
        <pc:spChg chg="add mod">
          <ac:chgData name="Renata Festa" userId="6f22df47-533b-4c2a-a3c1-7f9ad1d63e10" providerId="ADAL" clId="{D9D6212D-B474-44D1-8C31-1C18EFD4DC64}" dt="2020-03-26T20:42:27.677" v="60" actId="1036"/>
          <ac:spMkLst>
            <pc:docMk/>
            <pc:sldMk cId="775669388" sldId="589"/>
            <ac:spMk id="20" creationId="{CE2A3F43-BA06-4546-989A-1A9367C89382}"/>
          </ac:spMkLst>
        </pc:spChg>
        <pc:spChg chg="add mod">
          <ac:chgData name="Renata Festa" userId="6f22df47-533b-4c2a-a3c1-7f9ad1d63e10" providerId="ADAL" clId="{D9D6212D-B474-44D1-8C31-1C18EFD4DC64}" dt="2020-03-26T20:42:27.677" v="60" actId="1036"/>
          <ac:spMkLst>
            <pc:docMk/>
            <pc:sldMk cId="775669388" sldId="589"/>
            <ac:spMk id="21" creationId="{461172A3-4E8D-48F8-858F-B8DE5C3A43F6}"/>
          </ac:spMkLst>
        </pc:spChg>
        <pc:spChg chg="add mod">
          <ac:chgData name="Renata Festa" userId="6f22df47-533b-4c2a-a3c1-7f9ad1d63e10" providerId="ADAL" clId="{D9D6212D-B474-44D1-8C31-1C18EFD4DC64}" dt="2020-03-26T20:42:27.677" v="60" actId="1036"/>
          <ac:spMkLst>
            <pc:docMk/>
            <pc:sldMk cId="775669388" sldId="589"/>
            <ac:spMk id="22" creationId="{7AAFE143-7A57-4EC0-8055-D7EC74699D14}"/>
          </ac:spMkLst>
        </pc:spChg>
        <pc:spChg chg="add mod">
          <ac:chgData name="Renata Festa" userId="6f22df47-533b-4c2a-a3c1-7f9ad1d63e10" providerId="ADAL" clId="{D9D6212D-B474-44D1-8C31-1C18EFD4DC64}" dt="2020-03-26T20:42:27.677" v="60" actId="1036"/>
          <ac:spMkLst>
            <pc:docMk/>
            <pc:sldMk cId="775669388" sldId="589"/>
            <ac:spMk id="23" creationId="{E8B14111-9759-4699-BF6C-8A3478B05C6B}"/>
          </ac:spMkLst>
        </pc:spChg>
        <pc:spChg chg="add mod">
          <ac:chgData name="Renata Festa" userId="6f22df47-533b-4c2a-a3c1-7f9ad1d63e10" providerId="ADAL" clId="{D9D6212D-B474-44D1-8C31-1C18EFD4DC64}" dt="2020-03-26T20:42:27.677" v="60" actId="1036"/>
          <ac:spMkLst>
            <pc:docMk/>
            <pc:sldMk cId="775669388" sldId="589"/>
            <ac:spMk id="24" creationId="{7704C2A4-D1C8-4146-8C55-23FB053D8016}"/>
          </ac:spMkLst>
        </pc:spChg>
        <pc:spChg chg="add mod">
          <ac:chgData name="Renata Festa" userId="6f22df47-533b-4c2a-a3c1-7f9ad1d63e10" providerId="ADAL" clId="{D9D6212D-B474-44D1-8C31-1C18EFD4DC64}" dt="2020-03-26T20:42:27.677" v="60" actId="1036"/>
          <ac:spMkLst>
            <pc:docMk/>
            <pc:sldMk cId="775669388" sldId="589"/>
            <ac:spMk id="25" creationId="{4159CED3-EAF3-4344-8D97-E802BF543644}"/>
          </ac:spMkLst>
        </pc:spChg>
        <pc:spChg chg="add mod">
          <ac:chgData name="Renata Festa" userId="6f22df47-533b-4c2a-a3c1-7f9ad1d63e10" providerId="ADAL" clId="{D9D6212D-B474-44D1-8C31-1C18EFD4DC64}" dt="2020-03-26T20:42:27.677" v="60" actId="1036"/>
          <ac:spMkLst>
            <pc:docMk/>
            <pc:sldMk cId="775669388" sldId="589"/>
            <ac:spMk id="26" creationId="{17399C14-B26D-454D-9763-5FDFA1F7C5F3}"/>
          </ac:spMkLst>
        </pc:spChg>
        <pc:spChg chg="add mod">
          <ac:chgData name="Renata Festa" userId="6f22df47-533b-4c2a-a3c1-7f9ad1d63e10" providerId="ADAL" clId="{D9D6212D-B474-44D1-8C31-1C18EFD4DC64}" dt="2020-03-26T20:42:27.677" v="60" actId="1036"/>
          <ac:spMkLst>
            <pc:docMk/>
            <pc:sldMk cId="775669388" sldId="589"/>
            <ac:spMk id="28" creationId="{69EDFDA9-C0F3-479B-B9C3-64D85338D667}"/>
          </ac:spMkLst>
        </pc:spChg>
        <pc:spChg chg="add mod">
          <ac:chgData name="Renata Festa" userId="6f22df47-533b-4c2a-a3c1-7f9ad1d63e10" providerId="ADAL" clId="{D9D6212D-B474-44D1-8C31-1C18EFD4DC64}" dt="2020-03-26T20:42:27.677" v="60" actId="1036"/>
          <ac:spMkLst>
            <pc:docMk/>
            <pc:sldMk cId="775669388" sldId="589"/>
            <ac:spMk id="29" creationId="{5C7FE154-D71A-4D2F-87CD-5BF0E943D9BD}"/>
          </ac:spMkLst>
        </pc:spChg>
        <pc:spChg chg="add mod">
          <ac:chgData name="Renata Festa" userId="6f22df47-533b-4c2a-a3c1-7f9ad1d63e10" providerId="ADAL" clId="{D9D6212D-B474-44D1-8C31-1C18EFD4DC64}" dt="2020-03-26T20:42:27.677" v="60" actId="1036"/>
          <ac:spMkLst>
            <pc:docMk/>
            <pc:sldMk cId="775669388" sldId="589"/>
            <ac:spMk id="30" creationId="{AFA6507E-5C9C-4A27-8066-1DFC95CAA3AD}"/>
          </ac:spMkLst>
        </pc:spChg>
        <pc:spChg chg="add mod">
          <ac:chgData name="Renata Festa" userId="6f22df47-533b-4c2a-a3c1-7f9ad1d63e10" providerId="ADAL" clId="{D9D6212D-B474-44D1-8C31-1C18EFD4DC64}" dt="2020-03-26T20:42:27.677" v="60" actId="1036"/>
          <ac:spMkLst>
            <pc:docMk/>
            <pc:sldMk cId="775669388" sldId="589"/>
            <ac:spMk id="31" creationId="{0B154D3D-5895-4EDA-A455-CF9D891DC0F0}"/>
          </ac:spMkLst>
        </pc:spChg>
        <pc:spChg chg="add mod">
          <ac:chgData name="Renata Festa" userId="6f22df47-533b-4c2a-a3c1-7f9ad1d63e10" providerId="ADAL" clId="{D9D6212D-B474-44D1-8C31-1C18EFD4DC64}" dt="2020-03-26T20:42:27.677" v="60" actId="1036"/>
          <ac:spMkLst>
            <pc:docMk/>
            <pc:sldMk cId="775669388" sldId="589"/>
            <ac:spMk id="33" creationId="{F4F423DF-1819-452E-A609-A9C8D3568E4D}"/>
          </ac:spMkLst>
        </pc:spChg>
        <pc:spChg chg="add mod">
          <ac:chgData name="Renata Festa" userId="6f22df47-533b-4c2a-a3c1-7f9ad1d63e10" providerId="ADAL" clId="{D9D6212D-B474-44D1-8C31-1C18EFD4DC64}" dt="2020-03-26T20:42:27.677" v="60" actId="1036"/>
          <ac:spMkLst>
            <pc:docMk/>
            <pc:sldMk cId="775669388" sldId="589"/>
            <ac:spMk id="34" creationId="{51091E3D-730C-4BC4-9754-225D1216BDE9}"/>
          </ac:spMkLst>
        </pc:spChg>
        <pc:spChg chg="add mod">
          <ac:chgData name="Renata Festa" userId="6f22df47-533b-4c2a-a3c1-7f9ad1d63e10" providerId="ADAL" clId="{D9D6212D-B474-44D1-8C31-1C18EFD4DC64}" dt="2020-03-26T20:42:27.677" v="60" actId="1036"/>
          <ac:spMkLst>
            <pc:docMk/>
            <pc:sldMk cId="775669388" sldId="589"/>
            <ac:spMk id="38" creationId="{06ABC455-3FA8-4E03-AF98-3B6ED8A15892}"/>
          </ac:spMkLst>
        </pc:spChg>
        <pc:spChg chg="add mod">
          <ac:chgData name="Renata Festa" userId="6f22df47-533b-4c2a-a3c1-7f9ad1d63e10" providerId="ADAL" clId="{D9D6212D-B474-44D1-8C31-1C18EFD4DC64}" dt="2020-03-26T20:42:27.677" v="60" actId="1036"/>
          <ac:spMkLst>
            <pc:docMk/>
            <pc:sldMk cId="775669388" sldId="589"/>
            <ac:spMk id="40" creationId="{9AF43908-4BE0-487C-A2DE-2DA289C99088}"/>
          </ac:spMkLst>
        </pc:spChg>
        <pc:spChg chg="add mod">
          <ac:chgData name="Renata Festa" userId="6f22df47-533b-4c2a-a3c1-7f9ad1d63e10" providerId="ADAL" clId="{D9D6212D-B474-44D1-8C31-1C18EFD4DC64}" dt="2020-03-26T20:42:27.677" v="60" actId="1036"/>
          <ac:spMkLst>
            <pc:docMk/>
            <pc:sldMk cId="775669388" sldId="589"/>
            <ac:spMk id="53" creationId="{3183B88D-9C75-4DFB-B6D7-241E93EC8729}"/>
          </ac:spMkLst>
        </pc:spChg>
        <pc:spChg chg="add mod">
          <ac:chgData name="Renata Festa" userId="6f22df47-533b-4c2a-a3c1-7f9ad1d63e10" providerId="ADAL" clId="{D9D6212D-B474-44D1-8C31-1C18EFD4DC64}" dt="2020-03-26T20:42:27.677" v="60" actId="1036"/>
          <ac:spMkLst>
            <pc:docMk/>
            <pc:sldMk cId="775669388" sldId="589"/>
            <ac:spMk id="54" creationId="{1D0C9650-F6E7-4FD3-BD80-7B42C9D34B39}"/>
          </ac:spMkLst>
        </pc:spChg>
        <pc:spChg chg="add mod">
          <ac:chgData name="Renata Festa" userId="6f22df47-533b-4c2a-a3c1-7f9ad1d63e10" providerId="ADAL" clId="{D9D6212D-B474-44D1-8C31-1C18EFD4DC64}" dt="2020-03-26T20:42:27.677" v="60" actId="1036"/>
          <ac:spMkLst>
            <pc:docMk/>
            <pc:sldMk cId="775669388" sldId="589"/>
            <ac:spMk id="86" creationId="{FBA64340-CA84-43E0-82FC-DA8AAE4D2D02}"/>
          </ac:spMkLst>
        </pc:spChg>
        <pc:spChg chg="add mod">
          <ac:chgData name="Renata Festa" userId="6f22df47-533b-4c2a-a3c1-7f9ad1d63e10" providerId="ADAL" clId="{D9D6212D-B474-44D1-8C31-1C18EFD4DC64}" dt="2020-03-26T20:42:27.677" v="60" actId="1036"/>
          <ac:spMkLst>
            <pc:docMk/>
            <pc:sldMk cId="775669388" sldId="589"/>
            <ac:spMk id="87" creationId="{D1CC5E85-0F73-4782-B6D5-904547EB40F8}"/>
          </ac:spMkLst>
        </pc:spChg>
        <pc:spChg chg="mod">
          <ac:chgData name="Renata Festa" userId="6f22df47-533b-4c2a-a3c1-7f9ad1d63e10" providerId="ADAL" clId="{D9D6212D-B474-44D1-8C31-1C18EFD4DC64}" dt="2020-03-26T20:46:43.646" v="114" actId="1076"/>
          <ac:spMkLst>
            <pc:docMk/>
            <pc:sldMk cId="775669388" sldId="589"/>
            <ac:spMk id="90" creationId="{16C9509F-19F1-48E0-AEDB-086D26281E87}"/>
          </ac:spMkLst>
        </pc:spChg>
        <pc:spChg chg="mod">
          <ac:chgData name="Renata Festa" userId="6f22df47-533b-4c2a-a3c1-7f9ad1d63e10" providerId="ADAL" clId="{D9D6212D-B474-44D1-8C31-1C18EFD4DC64}" dt="2020-03-26T20:46:40.882" v="113" actId="404"/>
          <ac:spMkLst>
            <pc:docMk/>
            <pc:sldMk cId="775669388" sldId="589"/>
            <ac:spMk id="96" creationId="{1C8C5EC8-1D41-4C88-9431-76782C71299E}"/>
          </ac:spMkLst>
        </pc:spChg>
        <pc:spChg chg="del">
          <ac:chgData name="Renata Festa" userId="6f22df47-533b-4c2a-a3c1-7f9ad1d63e10" providerId="ADAL" clId="{D9D6212D-B474-44D1-8C31-1C18EFD4DC64}" dt="2020-03-26T20:46:08.723" v="100" actId="478"/>
          <ac:spMkLst>
            <pc:docMk/>
            <pc:sldMk cId="775669388" sldId="589"/>
            <ac:spMk id="102" creationId="{BA0D5B1F-EF8C-426F-858F-7F225D48A1E9}"/>
          </ac:spMkLst>
        </pc:spChg>
        <pc:spChg chg="mod">
          <ac:chgData name="Renata Festa" userId="6f22df47-533b-4c2a-a3c1-7f9ad1d63e10" providerId="ADAL" clId="{D9D6212D-B474-44D1-8C31-1C18EFD4DC64}" dt="2020-03-26T20:46:48.769" v="115" actId="1076"/>
          <ac:spMkLst>
            <pc:docMk/>
            <pc:sldMk cId="775669388" sldId="589"/>
            <ac:spMk id="108" creationId="{2A98D0E1-BACD-4213-A6A9-BE383F9FAACF}"/>
          </ac:spMkLst>
        </pc:spChg>
        <pc:spChg chg="mod">
          <ac:chgData name="Renata Festa" userId="6f22df47-533b-4c2a-a3c1-7f9ad1d63e10" providerId="ADAL" clId="{D9D6212D-B474-44D1-8C31-1C18EFD4DC64}" dt="2020-03-26T20:46:54.376" v="116" actId="404"/>
          <ac:spMkLst>
            <pc:docMk/>
            <pc:sldMk cId="775669388" sldId="589"/>
            <ac:spMk id="114" creationId="{D2DFEE20-73AB-4101-AFBC-EDA37A9D40AF}"/>
          </ac:spMkLst>
        </pc:spChg>
        <pc:spChg chg="add mod">
          <ac:chgData name="Renata Festa" userId="6f22df47-533b-4c2a-a3c1-7f9ad1d63e10" providerId="ADAL" clId="{D9D6212D-B474-44D1-8C31-1C18EFD4DC64}" dt="2020-03-26T20:42:27.677" v="60" actId="1036"/>
          <ac:spMkLst>
            <pc:docMk/>
            <pc:sldMk cId="775669388" sldId="589"/>
            <ac:spMk id="118" creationId="{D7FB15BA-074F-4863-8BB9-696F27E00EBF}"/>
          </ac:spMkLst>
        </pc:spChg>
        <pc:spChg chg="add mod">
          <ac:chgData name="Renata Festa" userId="6f22df47-533b-4c2a-a3c1-7f9ad1d63e10" providerId="ADAL" clId="{D9D6212D-B474-44D1-8C31-1C18EFD4DC64}" dt="2020-03-26T20:42:27.677" v="60" actId="1036"/>
          <ac:spMkLst>
            <pc:docMk/>
            <pc:sldMk cId="775669388" sldId="589"/>
            <ac:spMk id="119" creationId="{E89AB7B9-9FBA-4CC0-A85F-DB69DB230C94}"/>
          </ac:spMkLst>
        </pc:spChg>
        <pc:spChg chg="add mod">
          <ac:chgData name="Renata Festa" userId="6f22df47-533b-4c2a-a3c1-7f9ad1d63e10" providerId="ADAL" clId="{D9D6212D-B474-44D1-8C31-1C18EFD4DC64}" dt="2020-03-26T20:42:27.677" v="60" actId="1036"/>
          <ac:spMkLst>
            <pc:docMk/>
            <pc:sldMk cId="775669388" sldId="589"/>
            <ac:spMk id="120" creationId="{092E23EB-54C9-43BE-AB6C-B5D9909923F0}"/>
          </ac:spMkLst>
        </pc:spChg>
        <pc:spChg chg="add mod">
          <ac:chgData name="Renata Festa" userId="6f22df47-533b-4c2a-a3c1-7f9ad1d63e10" providerId="ADAL" clId="{D9D6212D-B474-44D1-8C31-1C18EFD4DC64}" dt="2020-03-26T20:42:27.677" v="60" actId="1036"/>
          <ac:spMkLst>
            <pc:docMk/>
            <pc:sldMk cId="775669388" sldId="589"/>
            <ac:spMk id="121" creationId="{C78687CC-F6CB-448C-A4B1-85E9443E735B}"/>
          </ac:spMkLst>
        </pc:spChg>
        <pc:spChg chg="add mod">
          <ac:chgData name="Renata Festa" userId="6f22df47-533b-4c2a-a3c1-7f9ad1d63e10" providerId="ADAL" clId="{D9D6212D-B474-44D1-8C31-1C18EFD4DC64}" dt="2020-03-26T20:45:51.677" v="97" actId="1076"/>
          <ac:spMkLst>
            <pc:docMk/>
            <pc:sldMk cId="775669388" sldId="589"/>
            <ac:spMk id="122" creationId="{B2C7901B-6B75-42BF-877C-4E603C76587E}"/>
          </ac:spMkLst>
        </pc:spChg>
        <pc:spChg chg="add mod">
          <ac:chgData name="Renata Festa" userId="6f22df47-533b-4c2a-a3c1-7f9ad1d63e10" providerId="ADAL" clId="{D9D6212D-B474-44D1-8C31-1C18EFD4DC64}" dt="2020-03-26T20:45:55.176" v="98" actId="1076"/>
          <ac:spMkLst>
            <pc:docMk/>
            <pc:sldMk cId="775669388" sldId="589"/>
            <ac:spMk id="123" creationId="{4F8F6952-11A9-4B23-AAE4-50DF063546AB}"/>
          </ac:spMkLst>
        </pc:spChg>
        <pc:spChg chg="add del mod">
          <ac:chgData name="Renata Festa" userId="6f22df47-533b-4c2a-a3c1-7f9ad1d63e10" providerId="ADAL" clId="{D9D6212D-B474-44D1-8C31-1C18EFD4DC64}" dt="2020-03-26T20:43:12.122" v="66" actId="478"/>
          <ac:spMkLst>
            <pc:docMk/>
            <pc:sldMk cId="775669388" sldId="589"/>
            <ac:spMk id="124" creationId="{0E1FF8C2-DB7C-44A8-B21A-35C1CB0BD70B}"/>
          </ac:spMkLst>
        </pc:spChg>
        <pc:grpChg chg="add mod">
          <ac:chgData name="Renata Festa" userId="6f22df47-533b-4c2a-a3c1-7f9ad1d63e10" providerId="ADAL" clId="{D9D6212D-B474-44D1-8C31-1C18EFD4DC64}" dt="2020-03-26T20:42:27.677" v="60" actId="1036"/>
          <ac:grpSpMkLst>
            <pc:docMk/>
            <pc:sldMk cId="775669388" sldId="589"/>
            <ac:grpSpMk id="41" creationId="{D39CB476-C862-47FE-9242-852932AAD96D}"/>
          </ac:grpSpMkLst>
        </pc:grpChg>
        <pc:grpChg chg="mod">
          <ac:chgData name="Renata Festa" userId="6f22df47-533b-4c2a-a3c1-7f9ad1d63e10" providerId="ADAL" clId="{D9D6212D-B474-44D1-8C31-1C18EFD4DC64}" dt="2020-03-26T20:42:27.677" v="60" actId="1036"/>
          <ac:grpSpMkLst>
            <pc:docMk/>
            <pc:sldMk cId="775669388" sldId="589"/>
            <ac:grpSpMk id="42" creationId="{267F7226-203A-4957-83D4-50A8CF090108}"/>
          </ac:grpSpMkLst>
        </pc:grpChg>
        <pc:grpChg chg="mod">
          <ac:chgData name="Renata Festa" userId="6f22df47-533b-4c2a-a3c1-7f9ad1d63e10" providerId="ADAL" clId="{D9D6212D-B474-44D1-8C31-1C18EFD4DC64}" dt="2020-03-26T20:42:27.677" v="60" actId="1036"/>
          <ac:grpSpMkLst>
            <pc:docMk/>
            <pc:sldMk cId="775669388" sldId="589"/>
            <ac:grpSpMk id="45" creationId="{05820E52-B05D-47B4-864A-7DD9A9B1B7AF}"/>
          </ac:grpSpMkLst>
        </pc:grpChg>
        <pc:grpChg chg="mod">
          <ac:chgData name="Renata Festa" userId="6f22df47-533b-4c2a-a3c1-7f9ad1d63e10" providerId="ADAL" clId="{D9D6212D-B474-44D1-8C31-1C18EFD4DC64}" dt="2020-03-26T20:42:27.677" v="60" actId="1036"/>
          <ac:grpSpMkLst>
            <pc:docMk/>
            <pc:sldMk cId="775669388" sldId="589"/>
            <ac:grpSpMk id="46" creationId="{928C5A4A-E590-4B66-997C-FD7A4166AC4A}"/>
          </ac:grpSpMkLst>
        </pc:grpChg>
        <pc:grpChg chg="add mod">
          <ac:chgData name="Renata Festa" userId="6f22df47-533b-4c2a-a3c1-7f9ad1d63e10" providerId="ADAL" clId="{D9D6212D-B474-44D1-8C31-1C18EFD4DC64}" dt="2020-03-26T20:42:27.677" v="60" actId="1036"/>
          <ac:grpSpMkLst>
            <pc:docMk/>
            <pc:sldMk cId="775669388" sldId="589"/>
            <ac:grpSpMk id="55" creationId="{20701D64-611D-4666-AC34-3008B5A348C8}"/>
          </ac:grpSpMkLst>
        </pc:grpChg>
        <pc:grpChg chg="mod">
          <ac:chgData name="Renata Festa" userId="6f22df47-533b-4c2a-a3c1-7f9ad1d63e10" providerId="ADAL" clId="{D9D6212D-B474-44D1-8C31-1C18EFD4DC64}" dt="2020-03-26T20:42:27.677" v="60" actId="1036"/>
          <ac:grpSpMkLst>
            <pc:docMk/>
            <pc:sldMk cId="775669388" sldId="589"/>
            <ac:grpSpMk id="58" creationId="{19D64ABD-42FB-406E-BC8F-E0D3A45C57B7}"/>
          </ac:grpSpMkLst>
        </pc:grpChg>
        <pc:grpChg chg="mod">
          <ac:chgData name="Renata Festa" userId="6f22df47-533b-4c2a-a3c1-7f9ad1d63e10" providerId="ADAL" clId="{D9D6212D-B474-44D1-8C31-1C18EFD4DC64}" dt="2020-03-26T20:42:27.677" v="60" actId="1036"/>
          <ac:grpSpMkLst>
            <pc:docMk/>
            <pc:sldMk cId="775669388" sldId="589"/>
            <ac:grpSpMk id="62" creationId="{50AEC9CD-2ECD-417F-A621-FE1E683F8135}"/>
          </ac:grpSpMkLst>
        </pc:grpChg>
        <pc:grpChg chg="mod">
          <ac:chgData name="Renata Festa" userId="6f22df47-533b-4c2a-a3c1-7f9ad1d63e10" providerId="ADAL" clId="{D9D6212D-B474-44D1-8C31-1C18EFD4DC64}" dt="2020-03-26T20:42:27.677" v="60" actId="1036"/>
          <ac:grpSpMkLst>
            <pc:docMk/>
            <pc:sldMk cId="775669388" sldId="589"/>
            <ac:grpSpMk id="63" creationId="{DDEC31F6-E67C-4ED7-85A2-DDA4CD3CE06F}"/>
          </ac:grpSpMkLst>
        </pc:grpChg>
        <pc:grpChg chg="add mod">
          <ac:chgData name="Renata Festa" userId="6f22df47-533b-4c2a-a3c1-7f9ad1d63e10" providerId="ADAL" clId="{D9D6212D-B474-44D1-8C31-1C18EFD4DC64}" dt="2020-03-26T20:42:27.677" v="60" actId="1036"/>
          <ac:grpSpMkLst>
            <pc:docMk/>
            <pc:sldMk cId="775669388" sldId="589"/>
            <ac:grpSpMk id="70" creationId="{23BFEA6A-8798-4137-B537-5C8B854E8695}"/>
          </ac:grpSpMkLst>
        </pc:grpChg>
        <pc:grpChg chg="mod">
          <ac:chgData name="Renata Festa" userId="6f22df47-533b-4c2a-a3c1-7f9ad1d63e10" providerId="ADAL" clId="{D9D6212D-B474-44D1-8C31-1C18EFD4DC64}" dt="2020-03-26T20:42:27.677" v="60" actId="1036"/>
          <ac:grpSpMkLst>
            <pc:docMk/>
            <pc:sldMk cId="775669388" sldId="589"/>
            <ac:grpSpMk id="73" creationId="{FA3EF8BB-D3B7-4A72-A2AA-03D3CA0F0F8B}"/>
          </ac:grpSpMkLst>
        </pc:grpChg>
        <pc:grpChg chg="mod">
          <ac:chgData name="Renata Festa" userId="6f22df47-533b-4c2a-a3c1-7f9ad1d63e10" providerId="ADAL" clId="{D9D6212D-B474-44D1-8C31-1C18EFD4DC64}" dt="2020-03-26T20:42:27.677" v="60" actId="1036"/>
          <ac:grpSpMkLst>
            <pc:docMk/>
            <pc:sldMk cId="775669388" sldId="589"/>
            <ac:grpSpMk id="77" creationId="{8DB7F9B7-19FA-457F-9DB8-FCAEF42CDDAE}"/>
          </ac:grpSpMkLst>
        </pc:grpChg>
        <pc:grpChg chg="mod">
          <ac:chgData name="Renata Festa" userId="6f22df47-533b-4c2a-a3c1-7f9ad1d63e10" providerId="ADAL" clId="{D9D6212D-B474-44D1-8C31-1C18EFD4DC64}" dt="2020-03-26T20:42:27.677" v="60" actId="1036"/>
          <ac:grpSpMkLst>
            <pc:docMk/>
            <pc:sldMk cId="775669388" sldId="589"/>
            <ac:grpSpMk id="78" creationId="{6B72C150-F1FD-464A-83D5-E03CB46CE25F}"/>
          </ac:grpSpMkLst>
        </pc:grpChg>
        <pc:grpChg chg="add mod">
          <ac:chgData name="Renata Festa" userId="6f22df47-533b-4c2a-a3c1-7f9ad1d63e10" providerId="ADAL" clId="{D9D6212D-B474-44D1-8C31-1C18EFD4DC64}" dt="2020-03-26T20:42:27.677" v="60" actId="1036"/>
          <ac:grpSpMkLst>
            <pc:docMk/>
            <pc:sldMk cId="775669388" sldId="589"/>
            <ac:grpSpMk id="88" creationId="{6E546D60-37D1-45F8-A845-62D7976E6A98}"/>
          </ac:grpSpMkLst>
        </pc:grpChg>
        <pc:grpChg chg="mod">
          <ac:chgData name="Renata Festa" userId="6f22df47-533b-4c2a-a3c1-7f9ad1d63e10" providerId="ADAL" clId="{D9D6212D-B474-44D1-8C31-1C18EFD4DC64}" dt="2020-03-26T20:42:27.677" v="60" actId="1036"/>
          <ac:grpSpMkLst>
            <pc:docMk/>
            <pc:sldMk cId="775669388" sldId="589"/>
            <ac:grpSpMk id="91" creationId="{46BBE44B-27CC-4D30-80D0-E77A15A40D2E}"/>
          </ac:grpSpMkLst>
        </pc:grpChg>
        <pc:grpChg chg="add mod">
          <ac:chgData name="Renata Festa" userId="6f22df47-533b-4c2a-a3c1-7f9ad1d63e10" providerId="ADAL" clId="{D9D6212D-B474-44D1-8C31-1C18EFD4DC64}" dt="2020-03-26T20:42:27.677" v="60" actId="1036"/>
          <ac:grpSpMkLst>
            <pc:docMk/>
            <pc:sldMk cId="775669388" sldId="589"/>
            <ac:grpSpMk id="94" creationId="{745EB03E-8666-4423-8295-6C383E613CF4}"/>
          </ac:grpSpMkLst>
        </pc:grpChg>
        <pc:grpChg chg="mod">
          <ac:chgData name="Renata Festa" userId="6f22df47-533b-4c2a-a3c1-7f9ad1d63e10" providerId="ADAL" clId="{D9D6212D-B474-44D1-8C31-1C18EFD4DC64}" dt="2020-03-26T20:42:27.677" v="60" actId="1036"/>
          <ac:grpSpMkLst>
            <pc:docMk/>
            <pc:sldMk cId="775669388" sldId="589"/>
            <ac:grpSpMk id="97" creationId="{361694EB-6C35-433D-889F-6268E71D695C}"/>
          </ac:grpSpMkLst>
        </pc:grpChg>
        <pc:grpChg chg="add mod">
          <ac:chgData name="Renata Festa" userId="6f22df47-533b-4c2a-a3c1-7f9ad1d63e10" providerId="ADAL" clId="{D9D6212D-B474-44D1-8C31-1C18EFD4DC64}" dt="2020-03-26T20:42:27.677" v="60" actId="1036"/>
          <ac:grpSpMkLst>
            <pc:docMk/>
            <pc:sldMk cId="775669388" sldId="589"/>
            <ac:grpSpMk id="100" creationId="{EFCEDE62-49BC-4EB8-AD31-F05556E07C50}"/>
          </ac:grpSpMkLst>
        </pc:grpChg>
        <pc:grpChg chg="mod">
          <ac:chgData name="Renata Festa" userId="6f22df47-533b-4c2a-a3c1-7f9ad1d63e10" providerId="ADAL" clId="{D9D6212D-B474-44D1-8C31-1C18EFD4DC64}" dt="2020-03-26T20:42:27.677" v="60" actId="1036"/>
          <ac:grpSpMkLst>
            <pc:docMk/>
            <pc:sldMk cId="775669388" sldId="589"/>
            <ac:grpSpMk id="103" creationId="{F9A99F63-D1D1-4402-81CD-F15AD3E810B4}"/>
          </ac:grpSpMkLst>
        </pc:grpChg>
        <pc:grpChg chg="add mod">
          <ac:chgData name="Renata Festa" userId="6f22df47-533b-4c2a-a3c1-7f9ad1d63e10" providerId="ADAL" clId="{D9D6212D-B474-44D1-8C31-1C18EFD4DC64}" dt="2020-03-26T20:42:27.677" v="60" actId="1036"/>
          <ac:grpSpMkLst>
            <pc:docMk/>
            <pc:sldMk cId="775669388" sldId="589"/>
            <ac:grpSpMk id="106" creationId="{11D717B3-3D7E-4B8D-A57C-291BFEBC1B3F}"/>
          </ac:grpSpMkLst>
        </pc:grpChg>
        <pc:grpChg chg="mod">
          <ac:chgData name="Renata Festa" userId="6f22df47-533b-4c2a-a3c1-7f9ad1d63e10" providerId="ADAL" clId="{D9D6212D-B474-44D1-8C31-1C18EFD4DC64}" dt="2020-03-26T20:42:27.677" v="60" actId="1036"/>
          <ac:grpSpMkLst>
            <pc:docMk/>
            <pc:sldMk cId="775669388" sldId="589"/>
            <ac:grpSpMk id="109" creationId="{402A9269-B26B-40F2-9832-0296303B86C3}"/>
          </ac:grpSpMkLst>
        </pc:grpChg>
        <pc:grpChg chg="add mod">
          <ac:chgData name="Renata Festa" userId="6f22df47-533b-4c2a-a3c1-7f9ad1d63e10" providerId="ADAL" clId="{D9D6212D-B474-44D1-8C31-1C18EFD4DC64}" dt="2020-03-26T20:42:27.677" v="60" actId="1036"/>
          <ac:grpSpMkLst>
            <pc:docMk/>
            <pc:sldMk cId="775669388" sldId="589"/>
            <ac:grpSpMk id="112" creationId="{B93DF57A-C181-49E7-B9E3-F8442FD8916D}"/>
          </ac:grpSpMkLst>
        </pc:grpChg>
        <pc:grpChg chg="mod">
          <ac:chgData name="Renata Festa" userId="6f22df47-533b-4c2a-a3c1-7f9ad1d63e10" providerId="ADAL" clId="{D9D6212D-B474-44D1-8C31-1C18EFD4DC64}" dt="2020-03-26T20:42:27.677" v="60" actId="1036"/>
          <ac:grpSpMkLst>
            <pc:docMk/>
            <pc:sldMk cId="775669388" sldId="589"/>
            <ac:grpSpMk id="115" creationId="{F9DFD1E5-99B0-441F-B275-34A4E8BDF55C}"/>
          </ac:grpSpMkLst>
        </pc:grpChg>
        <pc:cxnChg chg="add mod">
          <ac:chgData name="Renata Festa" userId="6f22df47-533b-4c2a-a3c1-7f9ad1d63e10" providerId="ADAL" clId="{D9D6212D-B474-44D1-8C31-1C18EFD4DC64}" dt="2020-03-26T20:42:27.677" v="60" actId="1036"/>
          <ac:cxnSpMkLst>
            <pc:docMk/>
            <pc:sldMk cId="775669388" sldId="589"/>
            <ac:cxnSpMk id="10" creationId="{55231E28-18A8-4FCD-95A7-952B8F19ACDD}"/>
          </ac:cxnSpMkLst>
        </pc:cxnChg>
        <pc:cxnChg chg="add mod">
          <ac:chgData name="Renata Festa" userId="6f22df47-533b-4c2a-a3c1-7f9ad1d63e10" providerId="ADAL" clId="{D9D6212D-B474-44D1-8C31-1C18EFD4DC64}" dt="2020-03-26T20:42:27.677" v="60" actId="1036"/>
          <ac:cxnSpMkLst>
            <pc:docMk/>
            <pc:sldMk cId="775669388" sldId="589"/>
            <ac:cxnSpMk id="11" creationId="{8D279833-343A-443F-985A-909ED5DAEA8D}"/>
          </ac:cxnSpMkLst>
        </pc:cxnChg>
        <pc:cxnChg chg="add mod">
          <ac:chgData name="Renata Festa" userId="6f22df47-533b-4c2a-a3c1-7f9ad1d63e10" providerId="ADAL" clId="{D9D6212D-B474-44D1-8C31-1C18EFD4DC64}" dt="2020-03-26T20:42:27.677" v="60" actId="1036"/>
          <ac:cxnSpMkLst>
            <pc:docMk/>
            <pc:sldMk cId="775669388" sldId="589"/>
            <ac:cxnSpMk id="27" creationId="{106E2D60-A99C-4AEF-8C69-8E1002E7F7F6}"/>
          </ac:cxnSpMkLst>
        </pc:cxnChg>
        <pc:cxnChg chg="add mod">
          <ac:chgData name="Renata Festa" userId="6f22df47-533b-4c2a-a3c1-7f9ad1d63e10" providerId="ADAL" clId="{D9D6212D-B474-44D1-8C31-1C18EFD4DC64}" dt="2020-03-26T20:42:27.677" v="60" actId="1036"/>
          <ac:cxnSpMkLst>
            <pc:docMk/>
            <pc:sldMk cId="775669388" sldId="589"/>
            <ac:cxnSpMk id="32" creationId="{C372660B-8C75-4261-97BE-907C5082EE3C}"/>
          </ac:cxnSpMkLst>
        </pc:cxnChg>
        <pc:cxnChg chg="add mod">
          <ac:chgData name="Renata Festa" userId="6f22df47-533b-4c2a-a3c1-7f9ad1d63e10" providerId="ADAL" clId="{D9D6212D-B474-44D1-8C31-1C18EFD4DC64}" dt="2020-03-26T20:42:27.677" v="60" actId="1036"/>
          <ac:cxnSpMkLst>
            <pc:docMk/>
            <pc:sldMk cId="775669388" sldId="589"/>
            <ac:cxnSpMk id="35" creationId="{947124B5-FC52-4B8A-90C9-D9B2ED76F7C9}"/>
          </ac:cxnSpMkLst>
        </pc:cxnChg>
        <pc:cxnChg chg="add mod">
          <ac:chgData name="Renata Festa" userId="6f22df47-533b-4c2a-a3c1-7f9ad1d63e10" providerId="ADAL" clId="{D9D6212D-B474-44D1-8C31-1C18EFD4DC64}" dt="2020-03-26T20:42:27.677" v="60" actId="1036"/>
          <ac:cxnSpMkLst>
            <pc:docMk/>
            <pc:sldMk cId="775669388" sldId="589"/>
            <ac:cxnSpMk id="36" creationId="{32198F80-4C04-4BAB-A47A-34B514B05C55}"/>
          </ac:cxnSpMkLst>
        </pc:cxnChg>
        <pc:cxnChg chg="add mod">
          <ac:chgData name="Renata Festa" userId="6f22df47-533b-4c2a-a3c1-7f9ad1d63e10" providerId="ADAL" clId="{D9D6212D-B474-44D1-8C31-1C18EFD4DC64}" dt="2020-03-26T20:42:27.677" v="60" actId="1036"/>
          <ac:cxnSpMkLst>
            <pc:docMk/>
            <pc:sldMk cId="775669388" sldId="589"/>
            <ac:cxnSpMk id="37" creationId="{3B74BDBD-A70D-4B14-BF6D-F28360B1105E}"/>
          </ac:cxnSpMkLst>
        </pc:cxnChg>
        <pc:cxnChg chg="add mod">
          <ac:chgData name="Renata Festa" userId="6f22df47-533b-4c2a-a3c1-7f9ad1d63e10" providerId="ADAL" clId="{D9D6212D-B474-44D1-8C31-1C18EFD4DC64}" dt="2020-03-26T20:42:27.677" v="60" actId="1036"/>
          <ac:cxnSpMkLst>
            <pc:docMk/>
            <pc:sldMk cId="775669388" sldId="589"/>
            <ac:cxnSpMk id="39" creationId="{804534ED-DBF8-42E4-AEF3-0F4A4C08D3DA}"/>
          </ac:cxnSpMkLst>
        </pc:cxnChg>
        <pc:cxnChg chg="add mod">
          <ac:chgData name="Renata Festa" userId="6f22df47-533b-4c2a-a3c1-7f9ad1d63e10" providerId="ADAL" clId="{D9D6212D-B474-44D1-8C31-1C18EFD4DC64}" dt="2020-03-26T20:42:27.677" v="60" actId="1036"/>
          <ac:cxnSpMkLst>
            <pc:docMk/>
            <pc:sldMk cId="775669388" sldId="589"/>
            <ac:cxnSpMk id="85" creationId="{AD736B50-8C12-4855-BEBE-D1657D11F2F1}"/>
          </ac:cxnSpMkLst>
        </pc:cxnChg>
      </pc:sldChg>
      <pc:sldChg chg="addSp delSp modSp add mod">
        <pc:chgData name="Renata Festa" userId="6f22df47-533b-4c2a-a3c1-7f9ad1d63e10" providerId="ADAL" clId="{D9D6212D-B474-44D1-8C31-1C18EFD4DC64}" dt="2020-03-26T20:48:00.523" v="128" actId="12084"/>
        <pc:sldMkLst>
          <pc:docMk/>
          <pc:sldMk cId="1584017650" sldId="590"/>
        </pc:sldMkLst>
        <pc:spChg chg="add mod">
          <ac:chgData name="Renata Festa" userId="6f22df47-533b-4c2a-a3c1-7f9ad1d63e10" providerId="ADAL" clId="{D9D6212D-B474-44D1-8C31-1C18EFD4DC64}" dt="2020-03-26T20:47:48.225" v="124" actId="1076"/>
          <ac:spMkLst>
            <pc:docMk/>
            <pc:sldMk cId="1584017650" sldId="590"/>
            <ac:spMk id="4" creationId="{D9EEBA85-03CA-42A6-9E33-CFDAB0C3AD47}"/>
          </ac:spMkLst>
        </pc:spChg>
        <pc:spChg chg="mod">
          <ac:chgData name="Renata Festa" userId="6f22df47-533b-4c2a-a3c1-7f9ad1d63e10" providerId="ADAL" clId="{D9D6212D-B474-44D1-8C31-1C18EFD4DC64}" dt="2020-03-26T20:47:33.445" v="122" actId="20577"/>
          <ac:spMkLst>
            <pc:docMk/>
            <pc:sldMk cId="1584017650" sldId="590"/>
            <ac:spMk id="5" creationId="{EE1AC3C7-034D-4D76-8A4B-7B32534D1BDE}"/>
          </ac:spMkLst>
        </pc:spChg>
        <pc:spChg chg="del mod">
          <ac:chgData name="Renata Festa" userId="6f22df47-533b-4c2a-a3c1-7f9ad1d63e10" providerId="ADAL" clId="{D9D6212D-B474-44D1-8C31-1C18EFD4DC64}" dt="2020-03-26T20:48:00.523" v="128" actId="12084"/>
          <ac:spMkLst>
            <pc:docMk/>
            <pc:sldMk cId="1584017650" sldId="590"/>
            <ac:spMk id="6" creationId="{15E9D984-8366-4EBA-8597-A8C841BF2633}"/>
          </ac:spMkLst>
        </pc:spChg>
        <pc:spChg chg="add mod">
          <ac:chgData name="Renata Festa" userId="6f22df47-533b-4c2a-a3c1-7f9ad1d63e10" providerId="ADAL" clId="{D9D6212D-B474-44D1-8C31-1C18EFD4DC64}" dt="2020-03-26T20:47:48.225" v="124" actId="1076"/>
          <ac:spMkLst>
            <pc:docMk/>
            <pc:sldMk cId="1584017650" sldId="590"/>
            <ac:spMk id="7" creationId="{58C62879-FF1D-4169-BD8B-EA323A74696A}"/>
          </ac:spMkLst>
        </pc:spChg>
        <pc:spChg chg="add mod">
          <ac:chgData name="Renata Festa" userId="6f22df47-533b-4c2a-a3c1-7f9ad1d63e10" providerId="ADAL" clId="{D9D6212D-B474-44D1-8C31-1C18EFD4DC64}" dt="2020-03-26T20:47:48.225" v="124" actId="1076"/>
          <ac:spMkLst>
            <pc:docMk/>
            <pc:sldMk cId="1584017650" sldId="590"/>
            <ac:spMk id="8" creationId="{D80CBE09-3B71-4A37-AF24-24494C79553D}"/>
          </ac:spMkLst>
        </pc:spChg>
        <pc:spChg chg="add mod">
          <ac:chgData name="Renata Festa" userId="6f22df47-533b-4c2a-a3c1-7f9ad1d63e10" providerId="ADAL" clId="{D9D6212D-B474-44D1-8C31-1C18EFD4DC64}" dt="2020-03-26T20:47:48.225" v="124" actId="1076"/>
          <ac:spMkLst>
            <pc:docMk/>
            <pc:sldMk cId="1584017650" sldId="590"/>
            <ac:spMk id="9" creationId="{9400E574-2D28-409D-8677-1BD98BEAED48}"/>
          </ac:spMkLst>
        </pc:spChg>
        <pc:spChg chg="add mod">
          <ac:chgData name="Renata Festa" userId="6f22df47-533b-4c2a-a3c1-7f9ad1d63e10" providerId="ADAL" clId="{D9D6212D-B474-44D1-8C31-1C18EFD4DC64}" dt="2020-03-26T20:47:48.225" v="124" actId="1076"/>
          <ac:spMkLst>
            <pc:docMk/>
            <pc:sldMk cId="1584017650" sldId="590"/>
            <ac:spMk id="10" creationId="{2F4269D5-90A6-4187-BEA4-74FBC2DF75C0}"/>
          </ac:spMkLst>
        </pc:spChg>
        <pc:spChg chg="add mod">
          <ac:chgData name="Renata Festa" userId="6f22df47-533b-4c2a-a3c1-7f9ad1d63e10" providerId="ADAL" clId="{D9D6212D-B474-44D1-8C31-1C18EFD4DC64}" dt="2020-03-26T20:47:48.225" v="124" actId="1076"/>
          <ac:spMkLst>
            <pc:docMk/>
            <pc:sldMk cId="1584017650" sldId="590"/>
            <ac:spMk id="11" creationId="{083B3F44-A591-49C8-947A-456CC626F9A4}"/>
          </ac:spMkLst>
        </pc:spChg>
        <pc:spChg chg="add mod">
          <ac:chgData name="Renata Festa" userId="6f22df47-533b-4c2a-a3c1-7f9ad1d63e10" providerId="ADAL" clId="{D9D6212D-B474-44D1-8C31-1C18EFD4DC64}" dt="2020-03-26T20:47:48.225" v="124" actId="1076"/>
          <ac:spMkLst>
            <pc:docMk/>
            <pc:sldMk cId="1584017650" sldId="590"/>
            <ac:spMk id="12" creationId="{A01D9C4E-F2DA-47A1-BCA5-F9FD114A93D3}"/>
          </ac:spMkLst>
        </pc:spChg>
        <pc:spChg chg="add mod">
          <ac:chgData name="Renata Festa" userId="6f22df47-533b-4c2a-a3c1-7f9ad1d63e10" providerId="ADAL" clId="{D9D6212D-B474-44D1-8C31-1C18EFD4DC64}" dt="2020-03-26T20:47:48.225" v="124" actId="1076"/>
          <ac:spMkLst>
            <pc:docMk/>
            <pc:sldMk cId="1584017650" sldId="590"/>
            <ac:spMk id="13" creationId="{46CC8BB2-F7E5-429D-9F1A-29A4CBC14F33}"/>
          </ac:spMkLst>
        </pc:spChg>
        <pc:spChg chg="add mod">
          <ac:chgData name="Renata Festa" userId="6f22df47-533b-4c2a-a3c1-7f9ad1d63e10" providerId="ADAL" clId="{D9D6212D-B474-44D1-8C31-1C18EFD4DC64}" dt="2020-03-26T20:47:48.225" v="124" actId="1076"/>
          <ac:spMkLst>
            <pc:docMk/>
            <pc:sldMk cId="1584017650" sldId="590"/>
            <ac:spMk id="14" creationId="{38EB3FA2-B598-4381-BDD9-58CF4787D890}"/>
          </ac:spMkLst>
        </pc:spChg>
        <pc:spChg chg="add mod">
          <ac:chgData name="Renata Festa" userId="6f22df47-533b-4c2a-a3c1-7f9ad1d63e10" providerId="ADAL" clId="{D9D6212D-B474-44D1-8C31-1C18EFD4DC64}" dt="2020-03-26T20:47:48.225" v="124" actId="1076"/>
          <ac:spMkLst>
            <pc:docMk/>
            <pc:sldMk cId="1584017650" sldId="590"/>
            <ac:spMk id="15" creationId="{9B209C50-FD75-47A7-9434-6C5403738133}"/>
          </ac:spMkLst>
        </pc:spChg>
        <pc:spChg chg="add mod">
          <ac:chgData name="Renata Festa" userId="6f22df47-533b-4c2a-a3c1-7f9ad1d63e10" providerId="ADAL" clId="{D9D6212D-B474-44D1-8C31-1C18EFD4DC64}" dt="2020-03-26T20:47:48.225" v="124" actId="1076"/>
          <ac:spMkLst>
            <pc:docMk/>
            <pc:sldMk cId="1584017650" sldId="590"/>
            <ac:spMk id="16" creationId="{BEEFF59E-2CA7-49A7-853A-54E24BB0235C}"/>
          </ac:spMkLst>
        </pc:spChg>
        <pc:spChg chg="add mod">
          <ac:chgData name="Renata Festa" userId="6f22df47-533b-4c2a-a3c1-7f9ad1d63e10" providerId="ADAL" clId="{D9D6212D-B474-44D1-8C31-1C18EFD4DC64}" dt="2020-03-26T20:47:48.225" v="124" actId="1076"/>
          <ac:spMkLst>
            <pc:docMk/>
            <pc:sldMk cId="1584017650" sldId="590"/>
            <ac:spMk id="17" creationId="{F60955DF-7A3A-40DB-91F2-A1F39200DABF}"/>
          </ac:spMkLst>
        </pc:spChg>
        <pc:spChg chg="add mod">
          <ac:chgData name="Renata Festa" userId="6f22df47-533b-4c2a-a3c1-7f9ad1d63e10" providerId="ADAL" clId="{D9D6212D-B474-44D1-8C31-1C18EFD4DC64}" dt="2020-03-26T20:47:48.225" v="124" actId="1076"/>
          <ac:spMkLst>
            <pc:docMk/>
            <pc:sldMk cId="1584017650" sldId="590"/>
            <ac:spMk id="30" creationId="{23665BF1-2004-426B-ABEE-A21529C42AB2}"/>
          </ac:spMkLst>
        </pc:spChg>
        <pc:spChg chg="add mod">
          <ac:chgData name="Renata Festa" userId="6f22df47-533b-4c2a-a3c1-7f9ad1d63e10" providerId="ADAL" clId="{D9D6212D-B474-44D1-8C31-1C18EFD4DC64}" dt="2020-03-26T20:47:48.225" v="124" actId="1076"/>
          <ac:spMkLst>
            <pc:docMk/>
            <pc:sldMk cId="1584017650" sldId="590"/>
            <ac:spMk id="31" creationId="{CAD884E2-BD41-47D7-8122-7D2848679D9E}"/>
          </ac:spMkLst>
        </pc:spChg>
        <pc:spChg chg="add mod">
          <ac:chgData name="Renata Festa" userId="6f22df47-533b-4c2a-a3c1-7f9ad1d63e10" providerId="ADAL" clId="{D9D6212D-B474-44D1-8C31-1C18EFD4DC64}" dt="2020-03-26T20:47:48.225" v="124" actId="1076"/>
          <ac:spMkLst>
            <pc:docMk/>
            <pc:sldMk cId="1584017650" sldId="590"/>
            <ac:spMk id="32" creationId="{2AE48E2D-C0B5-4E6B-8128-69F8154E5DCB}"/>
          </ac:spMkLst>
        </pc:spChg>
        <pc:spChg chg="add mod">
          <ac:chgData name="Renata Festa" userId="6f22df47-533b-4c2a-a3c1-7f9ad1d63e10" providerId="ADAL" clId="{D9D6212D-B474-44D1-8C31-1C18EFD4DC64}" dt="2020-03-26T20:47:48.225" v="124" actId="1076"/>
          <ac:spMkLst>
            <pc:docMk/>
            <pc:sldMk cId="1584017650" sldId="590"/>
            <ac:spMk id="33" creationId="{BA6DAE92-693E-4DAA-992B-DBE644E3E533}"/>
          </ac:spMkLst>
        </pc:spChg>
        <pc:spChg chg="add mod">
          <ac:chgData name="Renata Festa" userId="6f22df47-533b-4c2a-a3c1-7f9ad1d63e10" providerId="ADAL" clId="{D9D6212D-B474-44D1-8C31-1C18EFD4DC64}" dt="2020-03-26T20:47:48.225" v="124" actId="1076"/>
          <ac:spMkLst>
            <pc:docMk/>
            <pc:sldMk cId="1584017650" sldId="590"/>
            <ac:spMk id="34" creationId="{CEC60D55-3753-4C8A-8778-6E52393374D3}"/>
          </ac:spMkLst>
        </pc:spChg>
        <pc:spChg chg="add mod">
          <ac:chgData name="Renata Festa" userId="6f22df47-533b-4c2a-a3c1-7f9ad1d63e10" providerId="ADAL" clId="{D9D6212D-B474-44D1-8C31-1C18EFD4DC64}" dt="2020-03-26T20:47:48.225" v="124" actId="1076"/>
          <ac:spMkLst>
            <pc:docMk/>
            <pc:sldMk cId="1584017650" sldId="590"/>
            <ac:spMk id="35" creationId="{DA295EEA-9EAD-4322-B353-37E51AC4F5F4}"/>
          </ac:spMkLst>
        </pc:spChg>
        <pc:spChg chg="add mod">
          <ac:chgData name="Renata Festa" userId="6f22df47-533b-4c2a-a3c1-7f9ad1d63e10" providerId="ADAL" clId="{D9D6212D-B474-44D1-8C31-1C18EFD4DC64}" dt="2020-03-26T20:47:48.225" v="124" actId="1076"/>
          <ac:spMkLst>
            <pc:docMk/>
            <pc:sldMk cId="1584017650" sldId="590"/>
            <ac:spMk id="36" creationId="{9489101B-E8ED-46EE-B5DF-44B7E54A0125}"/>
          </ac:spMkLst>
        </pc:spChg>
        <pc:spChg chg="add mod">
          <ac:chgData name="Renata Festa" userId="6f22df47-533b-4c2a-a3c1-7f9ad1d63e10" providerId="ADAL" clId="{D9D6212D-B474-44D1-8C31-1C18EFD4DC64}" dt="2020-03-26T20:47:48.225" v="124" actId="1076"/>
          <ac:spMkLst>
            <pc:docMk/>
            <pc:sldMk cId="1584017650" sldId="590"/>
            <ac:spMk id="37" creationId="{8DB2D4DC-59F8-4647-B942-C426BEFE3246}"/>
          </ac:spMkLst>
        </pc:spChg>
        <pc:spChg chg="add mod">
          <ac:chgData name="Renata Festa" userId="6f22df47-533b-4c2a-a3c1-7f9ad1d63e10" providerId="ADAL" clId="{D9D6212D-B474-44D1-8C31-1C18EFD4DC64}" dt="2020-03-26T20:47:48.225" v="124" actId="1076"/>
          <ac:spMkLst>
            <pc:docMk/>
            <pc:sldMk cId="1584017650" sldId="590"/>
            <ac:spMk id="38" creationId="{5677D566-4269-4736-BDEB-F7401C3D3190}"/>
          </ac:spMkLst>
        </pc:spChg>
        <pc:spChg chg="add mod">
          <ac:chgData name="Renata Festa" userId="6f22df47-533b-4c2a-a3c1-7f9ad1d63e10" providerId="ADAL" clId="{D9D6212D-B474-44D1-8C31-1C18EFD4DC64}" dt="2020-03-26T20:47:48.225" v="124" actId="1076"/>
          <ac:spMkLst>
            <pc:docMk/>
            <pc:sldMk cId="1584017650" sldId="590"/>
            <ac:spMk id="41" creationId="{26C0D77F-A57F-4051-82B0-704EB7FFDE38}"/>
          </ac:spMkLst>
        </pc:spChg>
        <pc:spChg chg="add mod">
          <ac:chgData name="Renata Festa" userId="6f22df47-533b-4c2a-a3c1-7f9ad1d63e10" providerId="ADAL" clId="{D9D6212D-B474-44D1-8C31-1C18EFD4DC64}" dt="2020-03-26T20:47:48.225" v="124" actId="1076"/>
          <ac:spMkLst>
            <pc:docMk/>
            <pc:sldMk cId="1584017650" sldId="590"/>
            <ac:spMk id="42" creationId="{EC56E932-B5B8-4229-9811-F354F5A2BAD9}"/>
          </ac:spMkLst>
        </pc:spChg>
        <pc:spChg chg="add mod">
          <ac:chgData name="Renata Festa" userId="6f22df47-533b-4c2a-a3c1-7f9ad1d63e10" providerId="ADAL" clId="{D9D6212D-B474-44D1-8C31-1C18EFD4DC64}" dt="2020-03-26T20:47:48.225" v="124" actId="1076"/>
          <ac:spMkLst>
            <pc:docMk/>
            <pc:sldMk cId="1584017650" sldId="590"/>
            <ac:spMk id="47" creationId="{D2DCB27E-D9EA-4D55-ACEC-2F3CB13DE87A}"/>
          </ac:spMkLst>
        </pc:spChg>
        <pc:spChg chg="add mod">
          <ac:chgData name="Renata Festa" userId="6f22df47-533b-4c2a-a3c1-7f9ad1d63e10" providerId="ADAL" clId="{D9D6212D-B474-44D1-8C31-1C18EFD4DC64}" dt="2020-03-26T20:47:48.225" v="124" actId="1076"/>
          <ac:spMkLst>
            <pc:docMk/>
            <pc:sldMk cId="1584017650" sldId="590"/>
            <ac:spMk id="51" creationId="{07F7B741-28B7-4FF4-8A1C-C1BCF720DE20}"/>
          </ac:spMkLst>
        </pc:spChg>
        <pc:spChg chg="add mod">
          <ac:chgData name="Renata Festa" userId="6f22df47-533b-4c2a-a3c1-7f9ad1d63e10" providerId="ADAL" clId="{D9D6212D-B474-44D1-8C31-1C18EFD4DC64}" dt="2020-03-26T20:47:48.225" v="124" actId="1076"/>
          <ac:spMkLst>
            <pc:docMk/>
            <pc:sldMk cId="1584017650" sldId="590"/>
            <ac:spMk id="52" creationId="{585F3BA6-0A6A-419E-BBDA-5F756BC24775}"/>
          </ac:spMkLst>
        </pc:spChg>
        <pc:spChg chg="add mod">
          <ac:chgData name="Renata Festa" userId="6f22df47-533b-4c2a-a3c1-7f9ad1d63e10" providerId="ADAL" clId="{D9D6212D-B474-44D1-8C31-1C18EFD4DC64}" dt="2020-03-26T20:47:48.225" v="124" actId="1076"/>
          <ac:spMkLst>
            <pc:docMk/>
            <pc:sldMk cId="1584017650" sldId="590"/>
            <ac:spMk id="53" creationId="{5CB4F544-0153-4EE3-926F-E8C408AD7F8B}"/>
          </ac:spMkLst>
        </pc:spChg>
        <pc:spChg chg="add mod">
          <ac:chgData name="Renata Festa" userId="6f22df47-533b-4c2a-a3c1-7f9ad1d63e10" providerId="ADAL" clId="{D9D6212D-B474-44D1-8C31-1C18EFD4DC64}" dt="2020-03-26T20:47:48.225" v="124" actId="1076"/>
          <ac:spMkLst>
            <pc:docMk/>
            <pc:sldMk cId="1584017650" sldId="590"/>
            <ac:spMk id="54" creationId="{67665782-5EE6-4C8D-A90F-CAC9C532DC01}"/>
          </ac:spMkLst>
        </pc:spChg>
        <pc:spChg chg="add mod">
          <ac:chgData name="Renata Festa" userId="6f22df47-533b-4c2a-a3c1-7f9ad1d63e10" providerId="ADAL" clId="{D9D6212D-B474-44D1-8C31-1C18EFD4DC64}" dt="2020-03-26T20:47:48.225" v="124" actId="1076"/>
          <ac:spMkLst>
            <pc:docMk/>
            <pc:sldMk cId="1584017650" sldId="590"/>
            <ac:spMk id="55" creationId="{AF37FAD9-F37E-4606-A8FA-FF72D3CB0A6C}"/>
          </ac:spMkLst>
        </pc:spChg>
        <pc:spChg chg="add mod">
          <ac:chgData name="Renata Festa" userId="6f22df47-533b-4c2a-a3c1-7f9ad1d63e10" providerId="ADAL" clId="{D9D6212D-B474-44D1-8C31-1C18EFD4DC64}" dt="2020-03-26T20:47:48.225" v="124" actId="1076"/>
          <ac:spMkLst>
            <pc:docMk/>
            <pc:sldMk cId="1584017650" sldId="590"/>
            <ac:spMk id="66" creationId="{96EAD4A7-8FCB-4E16-8CD6-0230DFBB5493}"/>
          </ac:spMkLst>
        </pc:spChg>
        <pc:spChg chg="add mod">
          <ac:chgData name="Renata Festa" userId="6f22df47-533b-4c2a-a3c1-7f9ad1d63e10" providerId="ADAL" clId="{D9D6212D-B474-44D1-8C31-1C18EFD4DC64}" dt="2020-03-26T20:47:48.225" v="124" actId="1076"/>
          <ac:spMkLst>
            <pc:docMk/>
            <pc:sldMk cId="1584017650" sldId="590"/>
            <ac:spMk id="77" creationId="{14242410-057C-419B-9189-30EFABD50385}"/>
          </ac:spMkLst>
        </pc:spChg>
        <pc:spChg chg="add mod">
          <ac:chgData name="Renata Festa" userId="6f22df47-533b-4c2a-a3c1-7f9ad1d63e10" providerId="ADAL" clId="{D9D6212D-B474-44D1-8C31-1C18EFD4DC64}" dt="2020-03-26T20:47:48.225" v="124" actId="1076"/>
          <ac:spMkLst>
            <pc:docMk/>
            <pc:sldMk cId="1584017650" sldId="590"/>
            <ac:spMk id="88" creationId="{67AB01F1-4E16-408C-A8AE-4EC51438261C}"/>
          </ac:spMkLst>
        </pc:spChg>
        <pc:spChg chg="add mod">
          <ac:chgData name="Renata Festa" userId="6f22df47-533b-4c2a-a3c1-7f9ad1d63e10" providerId="ADAL" clId="{D9D6212D-B474-44D1-8C31-1C18EFD4DC64}" dt="2020-03-26T20:47:48.225" v="124" actId="1076"/>
          <ac:spMkLst>
            <pc:docMk/>
            <pc:sldMk cId="1584017650" sldId="590"/>
            <ac:spMk id="89" creationId="{F8DFE981-2139-4394-9E07-CC49D097798D}"/>
          </ac:spMkLst>
        </pc:spChg>
        <pc:spChg chg="add mod">
          <ac:chgData name="Renata Festa" userId="6f22df47-533b-4c2a-a3c1-7f9ad1d63e10" providerId="ADAL" clId="{D9D6212D-B474-44D1-8C31-1C18EFD4DC64}" dt="2020-03-26T20:47:48.225" v="124" actId="1076"/>
          <ac:spMkLst>
            <pc:docMk/>
            <pc:sldMk cId="1584017650" sldId="590"/>
            <ac:spMk id="90" creationId="{9A9A804F-3D0C-42C0-BA24-137F715C495C}"/>
          </ac:spMkLst>
        </pc:spChg>
        <pc:spChg chg="add mod">
          <ac:chgData name="Renata Festa" userId="6f22df47-533b-4c2a-a3c1-7f9ad1d63e10" providerId="ADAL" clId="{D9D6212D-B474-44D1-8C31-1C18EFD4DC64}" dt="2020-03-26T20:47:48.225" v="124" actId="1076"/>
          <ac:spMkLst>
            <pc:docMk/>
            <pc:sldMk cId="1584017650" sldId="590"/>
            <ac:spMk id="91" creationId="{F480B291-51D2-486B-B75A-0E1B7981FF65}"/>
          </ac:spMkLst>
        </pc:spChg>
        <pc:spChg chg="add mod">
          <ac:chgData name="Renata Festa" userId="6f22df47-533b-4c2a-a3c1-7f9ad1d63e10" providerId="ADAL" clId="{D9D6212D-B474-44D1-8C31-1C18EFD4DC64}" dt="2020-03-26T20:47:48.225" v="124" actId="1076"/>
          <ac:spMkLst>
            <pc:docMk/>
            <pc:sldMk cId="1584017650" sldId="590"/>
            <ac:spMk id="102" creationId="{D3D6545B-03D7-43F5-8AA8-F8755D0529D4}"/>
          </ac:spMkLst>
        </pc:spChg>
        <pc:spChg chg="add mod">
          <ac:chgData name="Renata Festa" userId="6f22df47-533b-4c2a-a3c1-7f9ad1d63e10" providerId="ADAL" clId="{D9D6212D-B474-44D1-8C31-1C18EFD4DC64}" dt="2020-03-26T20:47:48.225" v="124" actId="1076"/>
          <ac:spMkLst>
            <pc:docMk/>
            <pc:sldMk cId="1584017650" sldId="590"/>
            <ac:spMk id="105" creationId="{E430DE63-4233-4A1F-ACC7-C41216F09FD3}"/>
          </ac:spMkLst>
        </pc:spChg>
        <pc:spChg chg="add mod">
          <ac:chgData name="Renata Festa" userId="6f22df47-533b-4c2a-a3c1-7f9ad1d63e10" providerId="ADAL" clId="{D9D6212D-B474-44D1-8C31-1C18EFD4DC64}" dt="2020-03-26T20:47:48.225" v="124" actId="1076"/>
          <ac:spMkLst>
            <pc:docMk/>
            <pc:sldMk cId="1584017650" sldId="590"/>
            <ac:spMk id="109" creationId="{D0E5A917-7F01-4328-A1E2-9A1041F7A31B}"/>
          </ac:spMkLst>
        </pc:spChg>
        <pc:grpChg chg="add mod">
          <ac:chgData name="Renata Festa" userId="6f22df47-533b-4c2a-a3c1-7f9ad1d63e10" providerId="ADAL" clId="{D9D6212D-B474-44D1-8C31-1C18EFD4DC64}" dt="2020-03-26T20:47:48.225" v="124" actId="1076"/>
          <ac:grpSpMkLst>
            <pc:docMk/>
            <pc:sldMk cId="1584017650" sldId="590"/>
            <ac:grpSpMk id="19" creationId="{A1E46452-18CB-4645-BAD9-46069C71CF50}"/>
          </ac:grpSpMkLst>
        </pc:grpChg>
        <pc:grpChg chg="mod">
          <ac:chgData name="Renata Festa" userId="6f22df47-533b-4c2a-a3c1-7f9ad1d63e10" providerId="ADAL" clId="{D9D6212D-B474-44D1-8C31-1C18EFD4DC64}" dt="2020-03-26T20:47:48.225" v="124" actId="1076"/>
          <ac:grpSpMkLst>
            <pc:docMk/>
            <pc:sldMk cId="1584017650" sldId="590"/>
            <ac:grpSpMk id="20" creationId="{88D96B5E-3273-4706-994C-9FE6B868E170}"/>
          </ac:grpSpMkLst>
        </pc:grpChg>
        <pc:grpChg chg="mod">
          <ac:chgData name="Renata Festa" userId="6f22df47-533b-4c2a-a3c1-7f9ad1d63e10" providerId="ADAL" clId="{D9D6212D-B474-44D1-8C31-1C18EFD4DC64}" dt="2020-03-26T20:47:48.225" v="124" actId="1076"/>
          <ac:grpSpMkLst>
            <pc:docMk/>
            <pc:sldMk cId="1584017650" sldId="590"/>
            <ac:grpSpMk id="21" creationId="{41640C24-72F0-4F35-AF31-9CEE64D6927F}"/>
          </ac:grpSpMkLst>
        </pc:grpChg>
        <pc:grpChg chg="mod">
          <ac:chgData name="Renata Festa" userId="6f22df47-533b-4c2a-a3c1-7f9ad1d63e10" providerId="ADAL" clId="{D9D6212D-B474-44D1-8C31-1C18EFD4DC64}" dt="2020-03-26T20:47:48.225" v="124" actId="1076"/>
          <ac:grpSpMkLst>
            <pc:docMk/>
            <pc:sldMk cId="1584017650" sldId="590"/>
            <ac:grpSpMk id="22" creationId="{6EBA8A71-ACB7-4094-8AC3-060F80A20B44}"/>
          </ac:grpSpMkLst>
        </pc:grpChg>
        <pc:grpChg chg="add mod">
          <ac:chgData name="Renata Festa" userId="6f22df47-533b-4c2a-a3c1-7f9ad1d63e10" providerId="ADAL" clId="{D9D6212D-B474-44D1-8C31-1C18EFD4DC64}" dt="2020-03-26T20:47:48.225" v="124" actId="1076"/>
          <ac:grpSpMkLst>
            <pc:docMk/>
            <pc:sldMk cId="1584017650" sldId="590"/>
            <ac:grpSpMk id="56" creationId="{4AB6B8B0-C299-4023-BB69-80078B7A651C}"/>
          </ac:grpSpMkLst>
        </pc:grpChg>
        <pc:grpChg chg="mod">
          <ac:chgData name="Renata Festa" userId="6f22df47-533b-4c2a-a3c1-7f9ad1d63e10" providerId="ADAL" clId="{D9D6212D-B474-44D1-8C31-1C18EFD4DC64}" dt="2020-03-26T20:47:48.225" v="124" actId="1076"/>
          <ac:grpSpMkLst>
            <pc:docMk/>
            <pc:sldMk cId="1584017650" sldId="590"/>
            <ac:grpSpMk id="57" creationId="{19262551-9797-4C8C-95DE-5EF03C4581B7}"/>
          </ac:grpSpMkLst>
        </pc:grpChg>
        <pc:grpChg chg="mod">
          <ac:chgData name="Renata Festa" userId="6f22df47-533b-4c2a-a3c1-7f9ad1d63e10" providerId="ADAL" clId="{D9D6212D-B474-44D1-8C31-1C18EFD4DC64}" dt="2020-03-26T20:47:48.225" v="124" actId="1076"/>
          <ac:grpSpMkLst>
            <pc:docMk/>
            <pc:sldMk cId="1584017650" sldId="590"/>
            <ac:grpSpMk id="58" creationId="{5F5F2C94-1DAC-462A-A1E0-2D715897DB5B}"/>
          </ac:grpSpMkLst>
        </pc:grpChg>
        <pc:grpChg chg="add mod">
          <ac:chgData name="Renata Festa" userId="6f22df47-533b-4c2a-a3c1-7f9ad1d63e10" providerId="ADAL" clId="{D9D6212D-B474-44D1-8C31-1C18EFD4DC64}" dt="2020-03-26T20:47:48.225" v="124" actId="1076"/>
          <ac:grpSpMkLst>
            <pc:docMk/>
            <pc:sldMk cId="1584017650" sldId="590"/>
            <ac:grpSpMk id="67" creationId="{ED34092F-3FCA-49CD-815A-2ACD8DB5E6DD}"/>
          </ac:grpSpMkLst>
        </pc:grpChg>
        <pc:grpChg chg="mod">
          <ac:chgData name="Renata Festa" userId="6f22df47-533b-4c2a-a3c1-7f9ad1d63e10" providerId="ADAL" clId="{D9D6212D-B474-44D1-8C31-1C18EFD4DC64}" dt="2020-03-26T20:47:48.225" v="124" actId="1076"/>
          <ac:grpSpMkLst>
            <pc:docMk/>
            <pc:sldMk cId="1584017650" sldId="590"/>
            <ac:grpSpMk id="68" creationId="{A3615B83-DEEF-4776-A12E-CE833B9103CC}"/>
          </ac:grpSpMkLst>
        </pc:grpChg>
        <pc:grpChg chg="mod">
          <ac:chgData name="Renata Festa" userId="6f22df47-533b-4c2a-a3c1-7f9ad1d63e10" providerId="ADAL" clId="{D9D6212D-B474-44D1-8C31-1C18EFD4DC64}" dt="2020-03-26T20:47:48.225" v="124" actId="1076"/>
          <ac:grpSpMkLst>
            <pc:docMk/>
            <pc:sldMk cId="1584017650" sldId="590"/>
            <ac:grpSpMk id="69" creationId="{A3B625F3-6EE2-455D-9CE3-D684805A8EB4}"/>
          </ac:grpSpMkLst>
        </pc:grpChg>
        <pc:grpChg chg="add mod">
          <ac:chgData name="Renata Festa" userId="6f22df47-533b-4c2a-a3c1-7f9ad1d63e10" providerId="ADAL" clId="{D9D6212D-B474-44D1-8C31-1C18EFD4DC64}" dt="2020-03-26T20:47:48.225" v="124" actId="1076"/>
          <ac:grpSpMkLst>
            <pc:docMk/>
            <pc:sldMk cId="1584017650" sldId="590"/>
            <ac:grpSpMk id="78" creationId="{775FD1E1-3E46-464A-8165-32185851F9F7}"/>
          </ac:grpSpMkLst>
        </pc:grpChg>
        <pc:grpChg chg="mod">
          <ac:chgData name="Renata Festa" userId="6f22df47-533b-4c2a-a3c1-7f9ad1d63e10" providerId="ADAL" clId="{D9D6212D-B474-44D1-8C31-1C18EFD4DC64}" dt="2020-03-26T20:47:48.225" v="124" actId="1076"/>
          <ac:grpSpMkLst>
            <pc:docMk/>
            <pc:sldMk cId="1584017650" sldId="590"/>
            <ac:grpSpMk id="79" creationId="{EDF93E06-A7EE-4CA5-BDB2-5A3D2C243728}"/>
          </ac:grpSpMkLst>
        </pc:grpChg>
        <pc:grpChg chg="mod">
          <ac:chgData name="Renata Festa" userId="6f22df47-533b-4c2a-a3c1-7f9ad1d63e10" providerId="ADAL" clId="{D9D6212D-B474-44D1-8C31-1C18EFD4DC64}" dt="2020-03-26T20:47:48.225" v="124" actId="1076"/>
          <ac:grpSpMkLst>
            <pc:docMk/>
            <pc:sldMk cId="1584017650" sldId="590"/>
            <ac:grpSpMk id="80" creationId="{DAEEE4B7-26E8-40EF-B10F-68173C1CD937}"/>
          </ac:grpSpMkLst>
        </pc:grpChg>
        <pc:grpChg chg="add mod">
          <ac:chgData name="Renata Festa" userId="6f22df47-533b-4c2a-a3c1-7f9ad1d63e10" providerId="ADAL" clId="{D9D6212D-B474-44D1-8C31-1C18EFD4DC64}" dt="2020-03-26T20:47:48.225" v="124" actId="1076"/>
          <ac:grpSpMkLst>
            <pc:docMk/>
            <pc:sldMk cId="1584017650" sldId="590"/>
            <ac:grpSpMk id="92" creationId="{1EE38260-F8B8-4DAC-9C5D-9149DB2D7082}"/>
          </ac:grpSpMkLst>
        </pc:grpChg>
        <pc:grpChg chg="mod">
          <ac:chgData name="Renata Festa" userId="6f22df47-533b-4c2a-a3c1-7f9ad1d63e10" providerId="ADAL" clId="{D9D6212D-B474-44D1-8C31-1C18EFD4DC64}" dt="2020-03-26T20:47:48.225" v="124" actId="1076"/>
          <ac:grpSpMkLst>
            <pc:docMk/>
            <pc:sldMk cId="1584017650" sldId="590"/>
            <ac:grpSpMk id="93" creationId="{D19F8EFC-D893-4E06-AF4F-FF8D3487A48E}"/>
          </ac:grpSpMkLst>
        </pc:grpChg>
        <pc:grpChg chg="mod">
          <ac:chgData name="Renata Festa" userId="6f22df47-533b-4c2a-a3c1-7f9ad1d63e10" providerId="ADAL" clId="{D9D6212D-B474-44D1-8C31-1C18EFD4DC64}" dt="2020-03-26T20:47:48.225" v="124" actId="1076"/>
          <ac:grpSpMkLst>
            <pc:docMk/>
            <pc:sldMk cId="1584017650" sldId="590"/>
            <ac:grpSpMk id="94" creationId="{20BF1B77-8154-46B3-BAE7-73C8788664FA}"/>
          </ac:grpSpMkLst>
        </pc:grpChg>
        <pc:graphicFrameChg chg="add mod">
          <ac:chgData name="Renata Festa" userId="6f22df47-533b-4c2a-a3c1-7f9ad1d63e10" providerId="ADAL" clId="{D9D6212D-B474-44D1-8C31-1C18EFD4DC64}" dt="2020-03-26T20:48:00.523" v="128" actId="12084"/>
          <ac:graphicFrameMkLst>
            <pc:docMk/>
            <pc:sldMk cId="1584017650" sldId="590"/>
            <ac:graphicFrameMk id="2" creationId="{379A31AE-F22F-4235-8226-276E242C2A3B}"/>
          </ac:graphicFrameMkLst>
        </pc:graphicFrameChg>
        <pc:cxnChg chg="add mod">
          <ac:chgData name="Renata Festa" userId="6f22df47-533b-4c2a-a3c1-7f9ad1d63e10" providerId="ADAL" clId="{D9D6212D-B474-44D1-8C31-1C18EFD4DC64}" dt="2020-03-26T20:47:48.225" v="124" actId="1076"/>
          <ac:cxnSpMkLst>
            <pc:docMk/>
            <pc:sldMk cId="1584017650" sldId="590"/>
            <ac:cxnSpMk id="18" creationId="{D6B56865-60B0-40BD-B158-76626342587E}"/>
          </ac:cxnSpMkLst>
        </pc:cxnChg>
        <pc:cxnChg chg="add mod">
          <ac:chgData name="Renata Festa" userId="6f22df47-533b-4c2a-a3c1-7f9ad1d63e10" providerId="ADAL" clId="{D9D6212D-B474-44D1-8C31-1C18EFD4DC64}" dt="2020-03-26T20:47:48.225" v="124" actId="1076"/>
          <ac:cxnSpMkLst>
            <pc:docMk/>
            <pc:sldMk cId="1584017650" sldId="590"/>
            <ac:cxnSpMk id="39" creationId="{D43EF267-5AFA-41F6-B24F-49DD2C610120}"/>
          </ac:cxnSpMkLst>
        </pc:cxnChg>
        <pc:cxnChg chg="add mod">
          <ac:chgData name="Renata Festa" userId="6f22df47-533b-4c2a-a3c1-7f9ad1d63e10" providerId="ADAL" clId="{D9D6212D-B474-44D1-8C31-1C18EFD4DC64}" dt="2020-03-26T20:47:48.225" v="124" actId="1076"/>
          <ac:cxnSpMkLst>
            <pc:docMk/>
            <pc:sldMk cId="1584017650" sldId="590"/>
            <ac:cxnSpMk id="40" creationId="{A6EC25D2-9A12-47B0-8EFF-7FE280948152}"/>
          </ac:cxnSpMkLst>
        </pc:cxnChg>
        <pc:cxnChg chg="add mod">
          <ac:chgData name="Renata Festa" userId="6f22df47-533b-4c2a-a3c1-7f9ad1d63e10" providerId="ADAL" clId="{D9D6212D-B474-44D1-8C31-1C18EFD4DC64}" dt="2020-03-26T20:47:48.225" v="124" actId="1076"/>
          <ac:cxnSpMkLst>
            <pc:docMk/>
            <pc:sldMk cId="1584017650" sldId="590"/>
            <ac:cxnSpMk id="43" creationId="{33AE2D92-14BF-4526-939C-B2920A612D0A}"/>
          </ac:cxnSpMkLst>
        </pc:cxnChg>
        <pc:cxnChg chg="add mod">
          <ac:chgData name="Renata Festa" userId="6f22df47-533b-4c2a-a3c1-7f9ad1d63e10" providerId="ADAL" clId="{D9D6212D-B474-44D1-8C31-1C18EFD4DC64}" dt="2020-03-26T20:47:48.225" v="124" actId="1076"/>
          <ac:cxnSpMkLst>
            <pc:docMk/>
            <pc:sldMk cId="1584017650" sldId="590"/>
            <ac:cxnSpMk id="44" creationId="{00DD597F-C702-4190-9F04-3257FFDDF0BB}"/>
          </ac:cxnSpMkLst>
        </pc:cxnChg>
        <pc:cxnChg chg="add mod">
          <ac:chgData name="Renata Festa" userId="6f22df47-533b-4c2a-a3c1-7f9ad1d63e10" providerId="ADAL" clId="{D9D6212D-B474-44D1-8C31-1C18EFD4DC64}" dt="2020-03-26T20:47:48.225" v="124" actId="1076"/>
          <ac:cxnSpMkLst>
            <pc:docMk/>
            <pc:sldMk cId="1584017650" sldId="590"/>
            <ac:cxnSpMk id="45" creationId="{838AABFA-E063-442D-A74E-DEA40DFC8DE8}"/>
          </ac:cxnSpMkLst>
        </pc:cxnChg>
        <pc:cxnChg chg="add mod">
          <ac:chgData name="Renata Festa" userId="6f22df47-533b-4c2a-a3c1-7f9ad1d63e10" providerId="ADAL" clId="{D9D6212D-B474-44D1-8C31-1C18EFD4DC64}" dt="2020-03-26T20:47:48.225" v="124" actId="1076"/>
          <ac:cxnSpMkLst>
            <pc:docMk/>
            <pc:sldMk cId="1584017650" sldId="590"/>
            <ac:cxnSpMk id="46" creationId="{6B919A00-C1B4-461B-82DB-2A021DBF30D7}"/>
          </ac:cxnSpMkLst>
        </pc:cxnChg>
        <pc:cxnChg chg="add mod">
          <ac:chgData name="Renata Festa" userId="6f22df47-533b-4c2a-a3c1-7f9ad1d63e10" providerId="ADAL" clId="{D9D6212D-B474-44D1-8C31-1C18EFD4DC64}" dt="2020-03-26T20:47:48.225" v="124" actId="1076"/>
          <ac:cxnSpMkLst>
            <pc:docMk/>
            <pc:sldMk cId="1584017650" sldId="590"/>
            <ac:cxnSpMk id="48" creationId="{71CDDB9B-131C-443D-81B6-19265DAD3DA6}"/>
          </ac:cxnSpMkLst>
        </pc:cxnChg>
        <pc:cxnChg chg="add mod">
          <ac:chgData name="Renata Festa" userId="6f22df47-533b-4c2a-a3c1-7f9ad1d63e10" providerId="ADAL" clId="{D9D6212D-B474-44D1-8C31-1C18EFD4DC64}" dt="2020-03-26T20:47:48.225" v="124" actId="1076"/>
          <ac:cxnSpMkLst>
            <pc:docMk/>
            <pc:sldMk cId="1584017650" sldId="590"/>
            <ac:cxnSpMk id="49" creationId="{F7F1ABBB-A1A7-4D0A-9B8A-E5C5C7056BF6}"/>
          </ac:cxnSpMkLst>
        </pc:cxnChg>
        <pc:cxnChg chg="add mod">
          <ac:chgData name="Renata Festa" userId="6f22df47-533b-4c2a-a3c1-7f9ad1d63e10" providerId="ADAL" clId="{D9D6212D-B474-44D1-8C31-1C18EFD4DC64}" dt="2020-03-26T20:47:48.225" v="124" actId="1076"/>
          <ac:cxnSpMkLst>
            <pc:docMk/>
            <pc:sldMk cId="1584017650" sldId="590"/>
            <ac:cxnSpMk id="50" creationId="{6450D365-4BF1-4F01-83B5-D3607826FFA8}"/>
          </ac:cxnSpMkLst>
        </pc:cxnChg>
        <pc:cxnChg chg="add mod">
          <ac:chgData name="Renata Festa" userId="6f22df47-533b-4c2a-a3c1-7f9ad1d63e10" providerId="ADAL" clId="{D9D6212D-B474-44D1-8C31-1C18EFD4DC64}" dt="2020-03-26T20:47:48.225" v="124" actId="1076"/>
          <ac:cxnSpMkLst>
            <pc:docMk/>
            <pc:sldMk cId="1584017650" sldId="590"/>
            <ac:cxnSpMk id="103" creationId="{A9D71534-D0AC-4180-B9C9-830B0C0A1304}"/>
          </ac:cxnSpMkLst>
        </pc:cxnChg>
        <pc:cxnChg chg="add mod">
          <ac:chgData name="Renata Festa" userId="6f22df47-533b-4c2a-a3c1-7f9ad1d63e10" providerId="ADAL" clId="{D9D6212D-B474-44D1-8C31-1C18EFD4DC64}" dt="2020-03-26T20:47:48.225" v="124" actId="1076"/>
          <ac:cxnSpMkLst>
            <pc:docMk/>
            <pc:sldMk cId="1584017650" sldId="590"/>
            <ac:cxnSpMk id="104" creationId="{51BED08D-CB7E-46F1-8ADF-51B16759422D}"/>
          </ac:cxnSpMkLst>
        </pc:cxnChg>
        <pc:cxnChg chg="add mod">
          <ac:chgData name="Renata Festa" userId="6f22df47-533b-4c2a-a3c1-7f9ad1d63e10" providerId="ADAL" clId="{D9D6212D-B474-44D1-8C31-1C18EFD4DC64}" dt="2020-03-26T20:47:48.225" v="124" actId="1076"/>
          <ac:cxnSpMkLst>
            <pc:docMk/>
            <pc:sldMk cId="1584017650" sldId="590"/>
            <ac:cxnSpMk id="106" creationId="{C662FF37-5936-499D-9310-A81A0C20E281}"/>
          </ac:cxnSpMkLst>
        </pc:cxnChg>
        <pc:cxnChg chg="add mod">
          <ac:chgData name="Renata Festa" userId="6f22df47-533b-4c2a-a3c1-7f9ad1d63e10" providerId="ADAL" clId="{D9D6212D-B474-44D1-8C31-1C18EFD4DC64}" dt="2020-03-26T20:47:48.225" v="124" actId="1076"/>
          <ac:cxnSpMkLst>
            <pc:docMk/>
            <pc:sldMk cId="1584017650" sldId="590"/>
            <ac:cxnSpMk id="107" creationId="{98EB62ED-6F3F-49F2-9BA7-0ED24C9AD705}"/>
          </ac:cxnSpMkLst>
        </pc:cxnChg>
        <pc:cxnChg chg="add mod">
          <ac:chgData name="Renata Festa" userId="6f22df47-533b-4c2a-a3c1-7f9ad1d63e10" providerId="ADAL" clId="{D9D6212D-B474-44D1-8C31-1C18EFD4DC64}" dt="2020-03-26T20:47:48.225" v="124" actId="1076"/>
          <ac:cxnSpMkLst>
            <pc:docMk/>
            <pc:sldMk cId="1584017650" sldId="590"/>
            <ac:cxnSpMk id="108" creationId="{9BCF258D-56C7-4ABF-B227-395D602A8057}"/>
          </ac:cxnSpMkLst>
        </pc:cxnChg>
      </pc:sldChg>
      <pc:sldChg chg="addSp delSp modSp add mod modAnim">
        <pc:chgData name="Renata Festa" userId="6f22df47-533b-4c2a-a3c1-7f9ad1d63e10" providerId="ADAL" clId="{D9D6212D-B474-44D1-8C31-1C18EFD4DC64}" dt="2020-03-26T20:58:37.220" v="295"/>
        <pc:sldMkLst>
          <pc:docMk/>
          <pc:sldMk cId="4091036838" sldId="591"/>
        </pc:sldMkLst>
        <pc:spChg chg="add del mod">
          <ac:chgData name="Renata Festa" userId="6f22df47-533b-4c2a-a3c1-7f9ad1d63e10" providerId="ADAL" clId="{D9D6212D-B474-44D1-8C31-1C18EFD4DC64}" dt="2020-03-26T20:58:09.051" v="294" actId="478"/>
          <ac:spMkLst>
            <pc:docMk/>
            <pc:sldMk cId="4091036838" sldId="591"/>
            <ac:spMk id="4" creationId="{2F103807-0610-4F18-B162-752ED8E741B9}"/>
          </ac:spMkLst>
        </pc:spChg>
        <pc:spChg chg="mod">
          <ac:chgData name="Renata Festa" userId="6f22df47-533b-4c2a-a3c1-7f9ad1d63e10" providerId="ADAL" clId="{D9D6212D-B474-44D1-8C31-1C18EFD4DC64}" dt="2020-03-26T20:56:32.330" v="247" actId="20577"/>
          <ac:spMkLst>
            <pc:docMk/>
            <pc:sldMk cId="4091036838" sldId="591"/>
            <ac:spMk id="5" creationId="{EE1AC3C7-034D-4D76-8A4B-7B32534D1BDE}"/>
          </ac:spMkLst>
        </pc:spChg>
        <pc:spChg chg="del mod">
          <ac:chgData name="Renata Festa" userId="6f22df47-533b-4c2a-a3c1-7f9ad1d63e10" providerId="ADAL" clId="{D9D6212D-B474-44D1-8C31-1C18EFD4DC64}" dt="2020-03-26T20:57:07.583" v="256" actId="12084"/>
          <ac:spMkLst>
            <pc:docMk/>
            <pc:sldMk cId="4091036838" sldId="591"/>
            <ac:spMk id="6" creationId="{15E9D984-8366-4EBA-8597-A8C841BF2633}"/>
          </ac:spMkLst>
        </pc:spChg>
        <pc:spChg chg="add mod">
          <ac:chgData name="Renata Festa" userId="6f22df47-533b-4c2a-a3c1-7f9ad1d63e10" providerId="ADAL" clId="{D9D6212D-B474-44D1-8C31-1C18EFD4DC64}" dt="2020-03-26T20:58:03.423" v="293" actId="14100"/>
          <ac:spMkLst>
            <pc:docMk/>
            <pc:sldMk cId="4091036838" sldId="591"/>
            <ac:spMk id="8" creationId="{36E1474B-DC93-4B9D-92C8-A4213A4F503B}"/>
          </ac:spMkLst>
        </pc:spChg>
        <pc:graphicFrameChg chg="add del mod">
          <ac:chgData name="Renata Festa" userId="6f22df47-533b-4c2a-a3c1-7f9ad1d63e10" providerId="ADAL" clId="{D9D6212D-B474-44D1-8C31-1C18EFD4DC64}" dt="2020-03-26T20:57:40.194" v="288" actId="478"/>
          <ac:graphicFrameMkLst>
            <pc:docMk/>
            <pc:sldMk cId="4091036838" sldId="591"/>
            <ac:graphicFrameMk id="2" creationId="{1161EC14-8871-483F-B70C-2CEC57441ABD}"/>
          </ac:graphicFrameMkLst>
        </pc:graphicFrameChg>
        <pc:graphicFrameChg chg="add mod">
          <ac:chgData name="Renata Festa" userId="6f22df47-533b-4c2a-a3c1-7f9ad1d63e10" providerId="ADAL" clId="{D9D6212D-B474-44D1-8C31-1C18EFD4DC64}" dt="2020-03-26T20:57:53.969" v="291" actId="14100"/>
          <ac:graphicFrameMkLst>
            <pc:docMk/>
            <pc:sldMk cId="4091036838" sldId="591"/>
            <ac:graphicFrameMk id="7" creationId="{A2B836F0-4298-4DF0-8696-7D4E92C7FB66}"/>
          </ac:graphicFrameMkLst>
        </pc:graphicFrameChg>
      </pc:sldChg>
      <pc:sldChg chg="addSp delSp modSp add mod modAnim">
        <pc:chgData name="Renata Festa" userId="6f22df47-533b-4c2a-a3c1-7f9ad1d63e10" providerId="ADAL" clId="{D9D6212D-B474-44D1-8C31-1C18EFD4DC64}" dt="2020-03-26T21:04:27.683" v="375" actId="478"/>
        <pc:sldMkLst>
          <pc:docMk/>
          <pc:sldMk cId="3359044363" sldId="592"/>
        </pc:sldMkLst>
        <pc:spChg chg="mod">
          <ac:chgData name="Renata Festa" userId="6f22df47-533b-4c2a-a3c1-7f9ad1d63e10" providerId="ADAL" clId="{D9D6212D-B474-44D1-8C31-1C18EFD4DC64}" dt="2020-03-26T20:59:58.608" v="316" actId="1035"/>
          <ac:spMkLst>
            <pc:docMk/>
            <pc:sldMk cId="3359044363" sldId="592"/>
            <ac:spMk id="5" creationId="{EE1AC3C7-034D-4D76-8A4B-7B32534D1BDE}"/>
          </ac:spMkLst>
        </pc:spChg>
        <pc:spChg chg="del mod">
          <ac:chgData name="Renata Festa" userId="6f22df47-533b-4c2a-a3c1-7f9ad1d63e10" providerId="ADAL" clId="{D9D6212D-B474-44D1-8C31-1C18EFD4DC64}" dt="2020-03-26T21:04:27.683" v="375" actId="478"/>
          <ac:spMkLst>
            <pc:docMk/>
            <pc:sldMk cId="3359044363" sldId="592"/>
            <ac:spMk id="6" creationId="{15E9D984-8366-4EBA-8597-A8C841BF2633}"/>
          </ac:spMkLst>
        </pc:spChg>
        <pc:spChg chg="add del mod">
          <ac:chgData name="Renata Festa" userId="6f22df47-533b-4c2a-a3c1-7f9ad1d63e10" providerId="ADAL" clId="{D9D6212D-B474-44D1-8C31-1C18EFD4DC64}" dt="2020-03-26T20:59:59.162" v="317"/>
          <ac:spMkLst>
            <pc:docMk/>
            <pc:sldMk cId="3359044363" sldId="592"/>
            <ac:spMk id="9" creationId="{8CD1BC8E-8113-4B1C-85F9-F294D8A94CDB}"/>
          </ac:spMkLst>
        </pc:spChg>
        <pc:spChg chg="add del mod">
          <ac:chgData name="Renata Festa" userId="6f22df47-533b-4c2a-a3c1-7f9ad1d63e10" providerId="ADAL" clId="{D9D6212D-B474-44D1-8C31-1C18EFD4DC64}" dt="2020-03-26T20:59:59.162" v="317"/>
          <ac:spMkLst>
            <pc:docMk/>
            <pc:sldMk cId="3359044363" sldId="592"/>
            <ac:spMk id="10" creationId="{2324ABB2-A09B-4C29-96DA-5EE88D9DC0BB}"/>
          </ac:spMkLst>
        </pc:spChg>
        <pc:spChg chg="add del mod">
          <ac:chgData name="Renata Festa" userId="6f22df47-533b-4c2a-a3c1-7f9ad1d63e10" providerId="ADAL" clId="{D9D6212D-B474-44D1-8C31-1C18EFD4DC64}" dt="2020-03-26T20:59:59.162" v="317"/>
          <ac:spMkLst>
            <pc:docMk/>
            <pc:sldMk cId="3359044363" sldId="592"/>
            <ac:spMk id="11" creationId="{AD0297C4-98F1-43AF-BD39-3042428398F4}"/>
          </ac:spMkLst>
        </pc:spChg>
        <pc:spChg chg="add del mod">
          <ac:chgData name="Renata Festa" userId="6f22df47-533b-4c2a-a3c1-7f9ad1d63e10" providerId="ADAL" clId="{D9D6212D-B474-44D1-8C31-1C18EFD4DC64}" dt="2020-03-26T20:59:59.162" v="317"/>
          <ac:spMkLst>
            <pc:docMk/>
            <pc:sldMk cId="3359044363" sldId="592"/>
            <ac:spMk id="14" creationId="{C2901921-F797-4C37-970C-A6A12B7E1EBA}"/>
          </ac:spMkLst>
        </pc:spChg>
        <pc:spChg chg="add del mod">
          <ac:chgData name="Renata Festa" userId="6f22df47-533b-4c2a-a3c1-7f9ad1d63e10" providerId="ADAL" clId="{D9D6212D-B474-44D1-8C31-1C18EFD4DC64}" dt="2020-03-26T20:59:59.162" v="317"/>
          <ac:spMkLst>
            <pc:docMk/>
            <pc:sldMk cId="3359044363" sldId="592"/>
            <ac:spMk id="15" creationId="{8812DA16-F313-4569-8D47-C0773A94910A}"/>
          </ac:spMkLst>
        </pc:spChg>
        <pc:spChg chg="add del mod">
          <ac:chgData name="Renata Festa" userId="6f22df47-533b-4c2a-a3c1-7f9ad1d63e10" providerId="ADAL" clId="{D9D6212D-B474-44D1-8C31-1C18EFD4DC64}" dt="2020-03-26T20:59:59.162" v="317"/>
          <ac:spMkLst>
            <pc:docMk/>
            <pc:sldMk cId="3359044363" sldId="592"/>
            <ac:spMk id="16" creationId="{0C8FBEE9-B562-4285-AFBA-E55C307C3492}"/>
          </ac:spMkLst>
        </pc:spChg>
        <pc:spChg chg="add del mod">
          <ac:chgData name="Renata Festa" userId="6f22df47-533b-4c2a-a3c1-7f9ad1d63e10" providerId="ADAL" clId="{D9D6212D-B474-44D1-8C31-1C18EFD4DC64}" dt="2020-03-26T20:59:59.162" v="317"/>
          <ac:spMkLst>
            <pc:docMk/>
            <pc:sldMk cId="3359044363" sldId="592"/>
            <ac:spMk id="17" creationId="{BC46B78D-D03E-4E82-BEEC-4DD4F4174DB9}"/>
          </ac:spMkLst>
        </pc:spChg>
        <pc:spChg chg="add del mod">
          <ac:chgData name="Renata Festa" userId="6f22df47-533b-4c2a-a3c1-7f9ad1d63e10" providerId="ADAL" clId="{D9D6212D-B474-44D1-8C31-1C18EFD4DC64}" dt="2020-03-26T20:59:59.162" v="317"/>
          <ac:spMkLst>
            <pc:docMk/>
            <pc:sldMk cId="3359044363" sldId="592"/>
            <ac:spMk id="21" creationId="{14ECF65C-623D-4FE6-A5BE-2B74D6BCAB7B}"/>
          </ac:spMkLst>
        </pc:spChg>
        <pc:spChg chg="add del mod">
          <ac:chgData name="Renata Festa" userId="6f22df47-533b-4c2a-a3c1-7f9ad1d63e10" providerId="ADAL" clId="{D9D6212D-B474-44D1-8C31-1C18EFD4DC64}" dt="2020-03-26T20:59:59.162" v="317"/>
          <ac:spMkLst>
            <pc:docMk/>
            <pc:sldMk cId="3359044363" sldId="592"/>
            <ac:spMk id="22" creationId="{067C1AEE-EDF3-48F5-9545-011360279133}"/>
          </ac:spMkLst>
        </pc:spChg>
        <pc:spChg chg="add del mod">
          <ac:chgData name="Renata Festa" userId="6f22df47-533b-4c2a-a3c1-7f9ad1d63e10" providerId="ADAL" clId="{D9D6212D-B474-44D1-8C31-1C18EFD4DC64}" dt="2020-03-26T20:59:59.162" v="317"/>
          <ac:spMkLst>
            <pc:docMk/>
            <pc:sldMk cId="3359044363" sldId="592"/>
            <ac:spMk id="23" creationId="{EC3F48D7-332D-4E3E-B577-44C9F20CBB2C}"/>
          </ac:spMkLst>
        </pc:spChg>
        <pc:spChg chg="add del mod">
          <ac:chgData name="Renata Festa" userId="6f22df47-533b-4c2a-a3c1-7f9ad1d63e10" providerId="ADAL" clId="{D9D6212D-B474-44D1-8C31-1C18EFD4DC64}" dt="2020-03-26T20:59:59.162" v="317"/>
          <ac:spMkLst>
            <pc:docMk/>
            <pc:sldMk cId="3359044363" sldId="592"/>
            <ac:spMk id="24" creationId="{0536B450-77E0-4C90-8CB0-F3F21D5969EF}"/>
          </ac:spMkLst>
        </pc:spChg>
        <pc:spChg chg="add del mod">
          <ac:chgData name="Renata Festa" userId="6f22df47-533b-4c2a-a3c1-7f9ad1d63e10" providerId="ADAL" clId="{D9D6212D-B474-44D1-8C31-1C18EFD4DC64}" dt="2020-03-26T20:59:59.162" v="317"/>
          <ac:spMkLst>
            <pc:docMk/>
            <pc:sldMk cId="3359044363" sldId="592"/>
            <ac:spMk id="25" creationId="{CEA43998-22EF-4027-8789-0422E80E1910}"/>
          </ac:spMkLst>
        </pc:spChg>
        <pc:spChg chg="add del mod">
          <ac:chgData name="Renata Festa" userId="6f22df47-533b-4c2a-a3c1-7f9ad1d63e10" providerId="ADAL" clId="{D9D6212D-B474-44D1-8C31-1C18EFD4DC64}" dt="2020-03-26T20:59:59.162" v="317"/>
          <ac:spMkLst>
            <pc:docMk/>
            <pc:sldMk cId="3359044363" sldId="592"/>
            <ac:spMk id="26" creationId="{74046D29-3107-4A04-B8A0-480AFA7355B3}"/>
          </ac:spMkLst>
        </pc:spChg>
        <pc:spChg chg="add del mod">
          <ac:chgData name="Renata Festa" userId="6f22df47-533b-4c2a-a3c1-7f9ad1d63e10" providerId="ADAL" clId="{D9D6212D-B474-44D1-8C31-1C18EFD4DC64}" dt="2020-03-26T20:59:59.162" v="317"/>
          <ac:spMkLst>
            <pc:docMk/>
            <pc:sldMk cId="3359044363" sldId="592"/>
            <ac:spMk id="27" creationId="{46D05625-6FF7-4B37-9966-E686E9837538}"/>
          </ac:spMkLst>
        </pc:spChg>
        <pc:spChg chg="add del mod">
          <ac:chgData name="Renata Festa" userId="6f22df47-533b-4c2a-a3c1-7f9ad1d63e10" providerId="ADAL" clId="{D9D6212D-B474-44D1-8C31-1C18EFD4DC64}" dt="2020-03-26T20:59:59.162" v="317"/>
          <ac:spMkLst>
            <pc:docMk/>
            <pc:sldMk cId="3359044363" sldId="592"/>
            <ac:spMk id="28" creationId="{5E45C09B-7F60-41CF-AED3-1AFC1E651779}"/>
          </ac:spMkLst>
        </pc:spChg>
        <pc:spChg chg="add del mod">
          <ac:chgData name="Renata Festa" userId="6f22df47-533b-4c2a-a3c1-7f9ad1d63e10" providerId="ADAL" clId="{D9D6212D-B474-44D1-8C31-1C18EFD4DC64}" dt="2020-03-26T20:59:59.162" v="317"/>
          <ac:spMkLst>
            <pc:docMk/>
            <pc:sldMk cId="3359044363" sldId="592"/>
            <ac:spMk id="29" creationId="{6015022C-586C-4394-883D-0B72445EC4EF}"/>
          </ac:spMkLst>
        </pc:spChg>
        <pc:spChg chg="add del mod">
          <ac:chgData name="Renata Festa" userId="6f22df47-533b-4c2a-a3c1-7f9ad1d63e10" providerId="ADAL" clId="{D9D6212D-B474-44D1-8C31-1C18EFD4DC64}" dt="2020-03-26T20:59:59.162" v="317"/>
          <ac:spMkLst>
            <pc:docMk/>
            <pc:sldMk cId="3359044363" sldId="592"/>
            <ac:spMk id="30" creationId="{CD18A217-358C-44CE-BCC8-8F686C7CD779}"/>
          </ac:spMkLst>
        </pc:spChg>
        <pc:spChg chg="add del mod">
          <ac:chgData name="Renata Festa" userId="6f22df47-533b-4c2a-a3c1-7f9ad1d63e10" providerId="ADAL" clId="{D9D6212D-B474-44D1-8C31-1C18EFD4DC64}" dt="2020-03-26T20:59:59.162" v="317"/>
          <ac:spMkLst>
            <pc:docMk/>
            <pc:sldMk cId="3359044363" sldId="592"/>
            <ac:spMk id="31" creationId="{54FB1EAE-9AC2-48F2-AA8B-17C5A4E7B065}"/>
          </ac:spMkLst>
        </pc:spChg>
        <pc:spChg chg="add del mod">
          <ac:chgData name="Renata Festa" userId="6f22df47-533b-4c2a-a3c1-7f9ad1d63e10" providerId="ADAL" clId="{D9D6212D-B474-44D1-8C31-1C18EFD4DC64}" dt="2020-03-26T20:59:59.162" v="317"/>
          <ac:spMkLst>
            <pc:docMk/>
            <pc:sldMk cId="3359044363" sldId="592"/>
            <ac:spMk id="32" creationId="{F0B4CEC4-7F05-452A-94BB-09CAF9E8A0F1}"/>
          </ac:spMkLst>
        </pc:spChg>
        <pc:spChg chg="add del mod">
          <ac:chgData name="Renata Festa" userId="6f22df47-533b-4c2a-a3c1-7f9ad1d63e10" providerId="ADAL" clId="{D9D6212D-B474-44D1-8C31-1C18EFD4DC64}" dt="2020-03-26T20:59:59.162" v="317"/>
          <ac:spMkLst>
            <pc:docMk/>
            <pc:sldMk cId="3359044363" sldId="592"/>
            <ac:spMk id="33" creationId="{BF15D45E-01EA-455F-81CB-6841D6AA54D3}"/>
          </ac:spMkLst>
        </pc:spChg>
        <pc:spChg chg="add del mod">
          <ac:chgData name="Renata Festa" userId="6f22df47-533b-4c2a-a3c1-7f9ad1d63e10" providerId="ADAL" clId="{D9D6212D-B474-44D1-8C31-1C18EFD4DC64}" dt="2020-03-26T20:59:59.162" v="317"/>
          <ac:spMkLst>
            <pc:docMk/>
            <pc:sldMk cId="3359044363" sldId="592"/>
            <ac:spMk id="35" creationId="{321F24D0-781A-4811-9396-EFA510DB7668}"/>
          </ac:spMkLst>
        </pc:spChg>
        <pc:spChg chg="add del mod">
          <ac:chgData name="Renata Festa" userId="6f22df47-533b-4c2a-a3c1-7f9ad1d63e10" providerId="ADAL" clId="{D9D6212D-B474-44D1-8C31-1C18EFD4DC64}" dt="2020-03-26T20:59:59.162" v="317"/>
          <ac:spMkLst>
            <pc:docMk/>
            <pc:sldMk cId="3359044363" sldId="592"/>
            <ac:spMk id="36" creationId="{AD833FDF-2519-4052-934D-EDC765BD5317}"/>
          </ac:spMkLst>
        </pc:spChg>
        <pc:spChg chg="add del mod">
          <ac:chgData name="Renata Festa" userId="6f22df47-533b-4c2a-a3c1-7f9ad1d63e10" providerId="ADAL" clId="{D9D6212D-B474-44D1-8C31-1C18EFD4DC64}" dt="2020-03-26T20:59:59.162" v="317"/>
          <ac:spMkLst>
            <pc:docMk/>
            <pc:sldMk cId="3359044363" sldId="592"/>
            <ac:spMk id="39" creationId="{80560ECB-37E9-4D19-B063-416E4C6158BE}"/>
          </ac:spMkLst>
        </pc:spChg>
        <pc:spChg chg="add del mod">
          <ac:chgData name="Renata Festa" userId="6f22df47-533b-4c2a-a3c1-7f9ad1d63e10" providerId="ADAL" clId="{D9D6212D-B474-44D1-8C31-1C18EFD4DC64}" dt="2020-03-26T20:59:59.162" v="317"/>
          <ac:spMkLst>
            <pc:docMk/>
            <pc:sldMk cId="3359044363" sldId="592"/>
            <ac:spMk id="40" creationId="{4F2C5F39-50A3-44DA-8081-FB8E87495836}"/>
          </ac:spMkLst>
        </pc:spChg>
        <pc:spChg chg="add del mod">
          <ac:chgData name="Renata Festa" userId="6f22df47-533b-4c2a-a3c1-7f9ad1d63e10" providerId="ADAL" clId="{D9D6212D-B474-44D1-8C31-1C18EFD4DC64}" dt="2020-03-26T20:59:59.162" v="317"/>
          <ac:spMkLst>
            <pc:docMk/>
            <pc:sldMk cId="3359044363" sldId="592"/>
            <ac:spMk id="41" creationId="{98F80CDE-0465-4C3C-8230-96FE25E23751}"/>
          </ac:spMkLst>
        </pc:spChg>
        <pc:spChg chg="add del mod">
          <ac:chgData name="Renata Festa" userId="6f22df47-533b-4c2a-a3c1-7f9ad1d63e10" providerId="ADAL" clId="{D9D6212D-B474-44D1-8C31-1C18EFD4DC64}" dt="2020-03-26T20:59:59.162" v="317"/>
          <ac:spMkLst>
            <pc:docMk/>
            <pc:sldMk cId="3359044363" sldId="592"/>
            <ac:spMk id="42" creationId="{5EB6B756-0305-4A7B-947F-5C8B0DB61832}"/>
          </ac:spMkLst>
        </pc:spChg>
        <pc:spChg chg="add del mod">
          <ac:chgData name="Renata Festa" userId="6f22df47-533b-4c2a-a3c1-7f9ad1d63e10" providerId="ADAL" clId="{D9D6212D-B474-44D1-8C31-1C18EFD4DC64}" dt="2020-03-26T20:59:59.162" v="317"/>
          <ac:spMkLst>
            <pc:docMk/>
            <pc:sldMk cId="3359044363" sldId="592"/>
            <ac:spMk id="43" creationId="{437FF58B-DB8A-4EBA-B899-E176724FE57D}"/>
          </ac:spMkLst>
        </pc:spChg>
        <pc:spChg chg="add del mod">
          <ac:chgData name="Renata Festa" userId="6f22df47-533b-4c2a-a3c1-7f9ad1d63e10" providerId="ADAL" clId="{D9D6212D-B474-44D1-8C31-1C18EFD4DC64}" dt="2020-03-26T20:59:59.162" v="317"/>
          <ac:spMkLst>
            <pc:docMk/>
            <pc:sldMk cId="3359044363" sldId="592"/>
            <ac:spMk id="44" creationId="{DEE6AD79-5BB9-404C-8BAB-5808FD22580C}"/>
          </ac:spMkLst>
        </pc:spChg>
        <pc:spChg chg="add del mod">
          <ac:chgData name="Renata Festa" userId="6f22df47-533b-4c2a-a3c1-7f9ad1d63e10" providerId="ADAL" clId="{D9D6212D-B474-44D1-8C31-1C18EFD4DC64}" dt="2020-03-26T20:59:59.162" v="317"/>
          <ac:spMkLst>
            <pc:docMk/>
            <pc:sldMk cId="3359044363" sldId="592"/>
            <ac:spMk id="45" creationId="{5ACAC35E-16C0-43B6-A75F-8700AD60D239}"/>
          </ac:spMkLst>
        </pc:spChg>
        <pc:spChg chg="add del mod">
          <ac:chgData name="Renata Festa" userId="6f22df47-533b-4c2a-a3c1-7f9ad1d63e10" providerId="ADAL" clId="{D9D6212D-B474-44D1-8C31-1C18EFD4DC64}" dt="2020-03-26T20:59:59.162" v="317"/>
          <ac:spMkLst>
            <pc:docMk/>
            <pc:sldMk cId="3359044363" sldId="592"/>
            <ac:spMk id="46" creationId="{28B5AF26-A9B4-42A7-8989-B9D101FBE6A5}"/>
          </ac:spMkLst>
        </pc:spChg>
        <pc:spChg chg="add del mod">
          <ac:chgData name="Renata Festa" userId="6f22df47-533b-4c2a-a3c1-7f9ad1d63e10" providerId="ADAL" clId="{D9D6212D-B474-44D1-8C31-1C18EFD4DC64}" dt="2020-03-26T20:59:59.162" v="317"/>
          <ac:spMkLst>
            <pc:docMk/>
            <pc:sldMk cId="3359044363" sldId="592"/>
            <ac:spMk id="47" creationId="{C2EFA146-2C76-494D-9E7D-C1867020AD09}"/>
          </ac:spMkLst>
        </pc:spChg>
        <pc:spChg chg="add del mod">
          <ac:chgData name="Renata Festa" userId="6f22df47-533b-4c2a-a3c1-7f9ad1d63e10" providerId="ADAL" clId="{D9D6212D-B474-44D1-8C31-1C18EFD4DC64}" dt="2020-03-26T20:59:59.162" v="317"/>
          <ac:spMkLst>
            <pc:docMk/>
            <pc:sldMk cId="3359044363" sldId="592"/>
            <ac:spMk id="48" creationId="{D6058E59-5AFB-41D3-9C95-2C18204E2F24}"/>
          </ac:spMkLst>
        </pc:spChg>
        <pc:spChg chg="add del mod">
          <ac:chgData name="Renata Festa" userId="6f22df47-533b-4c2a-a3c1-7f9ad1d63e10" providerId="ADAL" clId="{D9D6212D-B474-44D1-8C31-1C18EFD4DC64}" dt="2020-03-26T20:59:59.162" v="317"/>
          <ac:spMkLst>
            <pc:docMk/>
            <pc:sldMk cId="3359044363" sldId="592"/>
            <ac:spMk id="49" creationId="{F8441ED8-0FA5-4DAC-AF3C-E9733467CA99}"/>
          </ac:spMkLst>
        </pc:spChg>
        <pc:spChg chg="add del mod">
          <ac:chgData name="Renata Festa" userId="6f22df47-533b-4c2a-a3c1-7f9ad1d63e10" providerId="ADAL" clId="{D9D6212D-B474-44D1-8C31-1C18EFD4DC64}" dt="2020-03-26T20:59:59.162" v="317"/>
          <ac:spMkLst>
            <pc:docMk/>
            <pc:sldMk cId="3359044363" sldId="592"/>
            <ac:spMk id="52" creationId="{04C56162-EFA1-4D59-8DED-F28BC8DC26A5}"/>
          </ac:spMkLst>
        </pc:spChg>
        <pc:spChg chg="add del mod">
          <ac:chgData name="Renata Festa" userId="6f22df47-533b-4c2a-a3c1-7f9ad1d63e10" providerId="ADAL" clId="{D9D6212D-B474-44D1-8C31-1C18EFD4DC64}" dt="2020-03-26T20:59:59.162" v="317"/>
          <ac:spMkLst>
            <pc:docMk/>
            <pc:sldMk cId="3359044363" sldId="592"/>
            <ac:spMk id="53" creationId="{5FD4D814-B466-4ECF-9F11-5015E7306CB6}"/>
          </ac:spMkLst>
        </pc:spChg>
        <pc:spChg chg="add del mod">
          <ac:chgData name="Renata Festa" userId="6f22df47-533b-4c2a-a3c1-7f9ad1d63e10" providerId="ADAL" clId="{D9D6212D-B474-44D1-8C31-1C18EFD4DC64}" dt="2020-03-26T20:59:59.162" v="317"/>
          <ac:spMkLst>
            <pc:docMk/>
            <pc:sldMk cId="3359044363" sldId="592"/>
            <ac:spMk id="54" creationId="{12E811CB-81D4-4AEC-929B-13B35A88577B}"/>
          </ac:spMkLst>
        </pc:spChg>
        <pc:spChg chg="add del mod">
          <ac:chgData name="Renata Festa" userId="6f22df47-533b-4c2a-a3c1-7f9ad1d63e10" providerId="ADAL" clId="{D9D6212D-B474-44D1-8C31-1C18EFD4DC64}" dt="2020-03-26T20:59:59.162" v="317"/>
          <ac:spMkLst>
            <pc:docMk/>
            <pc:sldMk cId="3359044363" sldId="592"/>
            <ac:spMk id="56" creationId="{FE557664-8D1F-44CF-8878-38CFF65FAEA0}"/>
          </ac:spMkLst>
        </pc:spChg>
        <pc:spChg chg="add del mod">
          <ac:chgData name="Renata Festa" userId="6f22df47-533b-4c2a-a3c1-7f9ad1d63e10" providerId="ADAL" clId="{D9D6212D-B474-44D1-8C31-1C18EFD4DC64}" dt="2020-03-26T20:59:59.162" v="317"/>
          <ac:spMkLst>
            <pc:docMk/>
            <pc:sldMk cId="3359044363" sldId="592"/>
            <ac:spMk id="58" creationId="{A06C6F6B-7F39-4CCC-AC98-4BB056BD6EDF}"/>
          </ac:spMkLst>
        </pc:spChg>
        <pc:spChg chg="add del mod">
          <ac:chgData name="Renata Festa" userId="6f22df47-533b-4c2a-a3c1-7f9ad1d63e10" providerId="ADAL" clId="{D9D6212D-B474-44D1-8C31-1C18EFD4DC64}" dt="2020-03-26T20:59:59.162" v="317"/>
          <ac:spMkLst>
            <pc:docMk/>
            <pc:sldMk cId="3359044363" sldId="592"/>
            <ac:spMk id="61" creationId="{D5EF0006-3073-4EF2-A828-3DF986524796}"/>
          </ac:spMkLst>
        </pc:spChg>
        <pc:spChg chg="add del mod">
          <ac:chgData name="Renata Festa" userId="6f22df47-533b-4c2a-a3c1-7f9ad1d63e10" providerId="ADAL" clId="{D9D6212D-B474-44D1-8C31-1C18EFD4DC64}" dt="2020-03-26T20:59:59.162" v="317"/>
          <ac:spMkLst>
            <pc:docMk/>
            <pc:sldMk cId="3359044363" sldId="592"/>
            <ac:spMk id="63" creationId="{486C8AFE-4209-47A1-9AC3-ECF6D3A3CB36}"/>
          </ac:spMkLst>
        </pc:spChg>
        <pc:spChg chg="add mod">
          <ac:chgData name="Renata Festa" userId="6f22df47-533b-4c2a-a3c1-7f9ad1d63e10" providerId="ADAL" clId="{D9D6212D-B474-44D1-8C31-1C18EFD4DC64}" dt="2020-03-26T21:02:24.385" v="349" actId="1035"/>
          <ac:spMkLst>
            <pc:docMk/>
            <pc:sldMk cId="3359044363" sldId="592"/>
            <ac:spMk id="67" creationId="{C40E23CE-BE95-4686-8827-681238548FA2}"/>
          </ac:spMkLst>
        </pc:spChg>
        <pc:spChg chg="add mod">
          <ac:chgData name="Renata Festa" userId="6f22df47-533b-4c2a-a3c1-7f9ad1d63e10" providerId="ADAL" clId="{D9D6212D-B474-44D1-8C31-1C18EFD4DC64}" dt="2020-03-26T21:02:24.385" v="349" actId="1035"/>
          <ac:spMkLst>
            <pc:docMk/>
            <pc:sldMk cId="3359044363" sldId="592"/>
            <ac:spMk id="68" creationId="{0C7889E0-144D-4E83-9100-E3D977E69965}"/>
          </ac:spMkLst>
        </pc:spChg>
        <pc:spChg chg="add mod">
          <ac:chgData name="Renata Festa" userId="6f22df47-533b-4c2a-a3c1-7f9ad1d63e10" providerId="ADAL" clId="{D9D6212D-B474-44D1-8C31-1C18EFD4DC64}" dt="2020-03-26T21:02:52.267" v="363" actId="1076"/>
          <ac:spMkLst>
            <pc:docMk/>
            <pc:sldMk cId="3359044363" sldId="592"/>
            <ac:spMk id="69" creationId="{5A5FB8B6-5B20-4F6A-8396-990E5348D573}"/>
          </ac:spMkLst>
        </pc:spChg>
        <pc:spChg chg="add mod">
          <ac:chgData name="Renata Festa" userId="6f22df47-533b-4c2a-a3c1-7f9ad1d63e10" providerId="ADAL" clId="{D9D6212D-B474-44D1-8C31-1C18EFD4DC64}" dt="2020-03-26T21:02:24.385" v="349" actId="1035"/>
          <ac:spMkLst>
            <pc:docMk/>
            <pc:sldMk cId="3359044363" sldId="592"/>
            <ac:spMk id="72" creationId="{97CA30E2-907C-4AAC-B088-0654D150308E}"/>
          </ac:spMkLst>
        </pc:spChg>
        <pc:spChg chg="add mod">
          <ac:chgData name="Renata Festa" userId="6f22df47-533b-4c2a-a3c1-7f9ad1d63e10" providerId="ADAL" clId="{D9D6212D-B474-44D1-8C31-1C18EFD4DC64}" dt="2020-03-26T21:02:24.385" v="349" actId="1035"/>
          <ac:spMkLst>
            <pc:docMk/>
            <pc:sldMk cId="3359044363" sldId="592"/>
            <ac:spMk id="73" creationId="{A9A8786C-2131-47CA-AF83-0F06BF23600C}"/>
          </ac:spMkLst>
        </pc:spChg>
        <pc:spChg chg="add mod">
          <ac:chgData name="Renata Festa" userId="6f22df47-533b-4c2a-a3c1-7f9ad1d63e10" providerId="ADAL" clId="{D9D6212D-B474-44D1-8C31-1C18EFD4DC64}" dt="2020-03-26T21:03:05.938" v="370" actId="1035"/>
          <ac:spMkLst>
            <pc:docMk/>
            <pc:sldMk cId="3359044363" sldId="592"/>
            <ac:spMk id="74" creationId="{DE5E89CA-789C-4DE9-99A9-59EF4C5FD114}"/>
          </ac:spMkLst>
        </pc:spChg>
        <pc:spChg chg="add mod">
          <ac:chgData name="Renata Festa" userId="6f22df47-533b-4c2a-a3c1-7f9ad1d63e10" providerId="ADAL" clId="{D9D6212D-B474-44D1-8C31-1C18EFD4DC64}" dt="2020-03-26T21:02:24.385" v="349" actId="1035"/>
          <ac:spMkLst>
            <pc:docMk/>
            <pc:sldMk cId="3359044363" sldId="592"/>
            <ac:spMk id="75" creationId="{3BC497A6-DB73-49C7-BF13-BE0FFC7A67EB}"/>
          </ac:spMkLst>
        </pc:spChg>
        <pc:spChg chg="add mod">
          <ac:chgData name="Renata Festa" userId="6f22df47-533b-4c2a-a3c1-7f9ad1d63e10" providerId="ADAL" clId="{D9D6212D-B474-44D1-8C31-1C18EFD4DC64}" dt="2020-03-26T21:00:18.906" v="332" actId="1036"/>
          <ac:spMkLst>
            <pc:docMk/>
            <pc:sldMk cId="3359044363" sldId="592"/>
            <ac:spMk id="79" creationId="{BCFC89A9-349E-4678-A16A-91B4EA76A105}"/>
          </ac:spMkLst>
        </pc:spChg>
        <pc:spChg chg="add mod">
          <ac:chgData name="Renata Festa" userId="6f22df47-533b-4c2a-a3c1-7f9ad1d63e10" providerId="ADAL" clId="{D9D6212D-B474-44D1-8C31-1C18EFD4DC64}" dt="2020-03-26T21:00:18.906" v="332" actId="1036"/>
          <ac:spMkLst>
            <pc:docMk/>
            <pc:sldMk cId="3359044363" sldId="592"/>
            <ac:spMk id="80" creationId="{889F290B-59CB-421B-9E39-77C373DA4C96}"/>
          </ac:spMkLst>
        </pc:spChg>
        <pc:spChg chg="add mod">
          <ac:chgData name="Renata Festa" userId="6f22df47-533b-4c2a-a3c1-7f9ad1d63e10" providerId="ADAL" clId="{D9D6212D-B474-44D1-8C31-1C18EFD4DC64}" dt="2020-03-26T21:00:18.906" v="332" actId="1036"/>
          <ac:spMkLst>
            <pc:docMk/>
            <pc:sldMk cId="3359044363" sldId="592"/>
            <ac:spMk id="81" creationId="{108DE5D7-73D2-4E8C-941A-5853A58005A5}"/>
          </ac:spMkLst>
        </pc:spChg>
        <pc:spChg chg="add mod">
          <ac:chgData name="Renata Festa" userId="6f22df47-533b-4c2a-a3c1-7f9ad1d63e10" providerId="ADAL" clId="{D9D6212D-B474-44D1-8C31-1C18EFD4DC64}" dt="2020-03-26T21:00:18.906" v="332" actId="1036"/>
          <ac:spMkLst>
            <pc:docMk/>
            <pc:sldMk cId="3359044363" sldId="592"/>
            <ac:spMk id="82" creationId="{4AD607A2-B9A8-417F-89DA-03F699C0BCE8}"/>
          </ac:spMkLst>
        </pc:spChg>
        <pc:spChg chg="add mod">
          <ac:chgData name="Renata Festa" userId="6f22df47-533b-4c2a-a3c1-7f9ad1d63e10" providerId="ADAL" clId="{D9D6212D-B474-44D1-8C31-1C18EFD4DC64}" dt="2020-03-26T21:00:18.906" v="332" actId="1036"/>
          <ac:spMkLst>
            <pc:docMk/>
            <pc:sldMk cId="3359044363" sldId="592"/>
            <ac:spMk id="83" creationId="{682A069A-1E46-4289-BF05-8C3AFC0EFC81}"/>
          </ac:spMkLst>
        </pc:spChg>
        <pc:spChg chg="add mod">
          <ac:chgData name="Renata Festa" userId="6f22df47-533b-4c2a-a3c1-7f9ad1d63e10" providerId="ADAL" clId="{D9D6212D-B474-44D1-8C31-1C18EFD4DC64}" dt="2020-03-26T21:00:18.906" v="332" actId="1036"/>
          <ac:spMkLst>
            <pc:docMk/>
            <pc:sldMk cId="3359044363" sldId="592"/>
            <ac:spMk id="84" creationId="{8EF89D21-73CB-4E27-AC9E-EA27335D1C43}"/>
          </ac:spMkLst>
        </pc:spChg>
        <pc:spChg chg="add mod">
          <ac:chgData name="Renata Festa" userId="6f22df47-533b-4c2a-a3c1-7f9ad1d63e10" providerId="ADAL" clId="{D9D6212D-B474-44D1-8C31-1C18EFD4DC64}" dt="2020-03-26T21:00:18.906" v="332" actId="1036"/>
          <ac:spMkLst>
            <pc:docMk/>
            <pc:sldMk cId="3359044363" sldId="592"/>
            <ac:spMk id="85" creationId="{B93189EB-00DD-4F2E-80E9-C9F40EEBDF8E}"/>
          </ac:spMkLst>
        </pc:spChg>
        <pc:spChg chg="add mod">
          <ac:chgData name="Renata Festa" userId="6f22df47-533b-4c2a-a3c1-7f9ad1d63e10" providerId="ADAL" clId="{D9D6212D-B474-44D1-8C31-1C18EFD4DC64}" dt="2020-03-26T21:00:18.906" v="332" actId="1036"/>
          <ac:spMkLst>
            <pc:docMk/>
            <pc:sldMk cId="3359044363" sldId="592"/>
            <ac:spMk id="86" creationId="{91CD0B52-7AD0-4A9D-AFCD-55D111B273CC}"/>
          </ac:spMkLst>
        </pc:spChg>
        <pc:spChg chg="add mod">
          <ac:chgData name="Renata Festa" userId="6f22df47-533b-4c2a-a3c1-7f9ad1d63e10" providerId="ADAL" clId="{D9D6212D-B474-44D1-8C31-1C18EFD4DC64}" dt="2020-03-26T21:00:18.906" v="332" actId="1036"/>
          <ac:spMkLst>
            <pc:docMk/>
            <pc:sldMk cId="3359044363" sldId="592"/>
            <ac:spMk id="87" creationId="{E8ACD260-2770-4F70-8A01-A275D9070CC8}"/>
          </ac:spMkLst>
        </pc:spChg>
        <pc:spChg chg="add mod">
          <ac:chgData name="Renata Festa" userId="6f22df47-533b-4c2a-a3c1-7f9ad1d63e10" providerId="ADAL" clId="{D9D6212D-B474-44D1-8C31-1C18EFD4DC64}" dt="2020-03-26T21:02:01.572" v="341" actId="1076"/>
          <ac:spMkLst>
            <pc:docMk/>
            <pc:sldMk cId="3359044363" sldId="592"/>
            <ac:spMk id="88" creationId="{6EF36829-C660-4CC2-A9AA-04A1AE2662C3}"/>
          </ac:spMkLst>
        </pc:spChg>
        <pc:spChg chg="add mod">
          <ac:chgData name="Renata Festa" userId="6f22df47-533b-4c2a-a3c1-7f9ad1d63e10" providerId="ADAL" clId="{D9D6212D-B474-44D1-8C31-1C18EFD4DC64}" dt="2020-03-26T21:01:43.215" v="339" actId="1076"/>
          <ac:spMkLst>
            <pc:docMk/>
            <pc:sldMk cId="3359044363" sldId="592"/>
            <ac:spMk id="89" creationId="{90173A10-7846-4D8A-AA1D-BB5B4AF53250}"/>
          </ac:spMkLst>
        </pc:spChg>
        <pc:spChg chg="add mod">
          <ac:chgData name="Renata Festa" userId="6f22df47-533b-4c2a-a3c1-7f9ad1d63e10" providerId="ADAL" clId="{D9D6212D-B474-44D1-8C31-1C18EFD4DC64}" dt="2020-03-26T21:01:54.894" v="340" actId="1076"/>
          <ac:spMkLst>
            <pc:docMk/>
            <pc:sldMk cId="3359044363" sldId="592"/>
            <ac:spMk id="90" creationId="{A7A5165F-D245-4B97-B0F5-004AA7A66F32}"/>
          </ac:spMkLst>
        </pc:spChg>
        <pc:spChg chg="add mod">
          <ac:chgData name="Renata Festa" userId="6f22df47-533b-4c2a-a3c1-7f9ad1d63e10" providerId="ADAL" clId="{D9D6212D-B474-44D1-8C31-1C18EFD4DC64}" dt="2020-03-26T21:03:05.938" v="370" actId="1035"/>
          <ac:spMkLst>
            <pc:docMk/>
            <pc:sldMk cId="3359044363" sldId="592"/>
            <ac:spMk id="91" creationId="{E1C549A1-08BA-453D-9399-C0F2253FFF51}"/>
          </ac:spMkLst>
        </pc:spChg>
        <pc:spChg chg="add mod">
          <ac:chgData name="Renata Festa" userId="6f22df47-533b-4c2a-a3c1-7f9ad1d63e10" providerId="ADAL" clId="{D9D6212D-B474-44D1-8C31-1C18EFD4DC64}" dt="2020-03-26T21:02:24.385" v="349" actId="1035"/>
          <ac:spMkLst>
            <pc:docMk/>
            <pc:sldMk cId="3359044363" sldId="592"/>
            <ac:spMk id="93" creationId="{9EDF78C8-771C-40ED-93D6-7207A8961FB6}"/>
          </ac:spMkLst>
        </pc:spChg>
        <pc:spChg chg="add mod">
          <ac:chgData name="Renata Festa" userId="6f22df47-533b-4c2a-a3c1-7f9ad1d63e10" providerId="ADAL" clId="{D9D6212D-B474-44D1-8C31-1C18EFD4DC64}" dt="2020-03-26T21:00:18.906" v="332" actId="1036"/>
          <ac:spMkLst>
            <pc:docMk/>
            <pc:sldMk cId="3359044363" sldId="592"/>
            <ac:spMk id="94" creationId="{F8A44A94-A24E-45DA-909C-CBD30FD94D51}"/>
          </ac:spMkLst>
        </pc:spChg>
        <pc:spChg chg="add mod">
          <ac:chgData name="Renata Festa" userId="6f22df47-533b-4c2a-a3c1-7f9ad1d63e10" providerId="ADAL" clId="{D9D6212D-B474-44D1-8C31-1C18EFD4DC64}" dt="2020-03-26T21:03:47.518" v="374" actId="14100"/>
          <ac:spMkLst>
            <pc:docMk/>
            <pc:sldMk cId="3359044363" sldId="592"/>
            <ac:spMk id="97" creationId="{56BD8ABD-D5AA-4049-A944-7885467D6B42}"/>
          </ac:spMkLst>
        </pc:spChg>
        <pc:spChg chg="add mod">
          <ac:chgData name="Renata Festa" userId="6f22df47-533b-4c2a-a3c1-7f9ad1d63e10" providerId="ADAL" clId="{D9D6212D-B474-44D1-8C31-1C18EFD4DC64}" dt="2020-03-26T21:00:18.906" v="332" actId="1036"/>
          <ac:spMkLst>
            <pc:docMk/>
            <pc:sldMk cId="3359044363" sldId="592"/>
            <ac:spMk id="98" creationId="{F8752B7C-506F-4BD1-8102-0CE782841439}"/>
          </ac:spMkLst>
        </pc:spChg>
        <pc:spChg chg="add mod">
          <ac:chgData name="Renata Festa" userId="6f22df47-533b-4c2a-a3c1-7f9ad1d63e10" providerId="ADAL" clId="{D9D6212D-B474-44D1-8C31-1C18EFD4DC64}" dt="2020-03-26T21:02:24.385" v="349" actId="1035"/>
          <ac:spMkLst>
            <pc:docMk/>
            <pc:sldMk cId="3359044363" sldId="592"/>
            <ac:spMk id="99" creationId="{B4DC25CF-7269-4FE5-A404-16E8914B0BD9}"/>
          </ac:spMkLst>
        </pc:spChg>
        <pc:spChg chg="add mod">
          <ac:chgData name="Renata Festa" userId="6f22df47-533b-4c2a-a3c1-7f9ad1d63e10" providerId="ADAL" clId="{D9D6212D-B474-44D1-8C31-1C18EFD4DC64}" dt="2020-03-26T21:00:18.906" v="332" actId="1036"/>
          <ac:spMkLst>
            <pc:docMk/>
            <pc:sldMk cId="3359044363" sldId="592"/>
            <ac:spMk id="100" creationId="{2170AAFA-8F82-4E39-A097-95EEA3FA4C46}"/>
          </ac:spMkLst>
        </pc:spChg>
        <pc:spChg chg="add mod">
          <ac:chgData name="Renata Festa" userId="6f22df47-533b-4c2a-a3c1-7f9ad1d63e10" providerId="ADAL" clId="{D9D6212D-B474-44D1-8C31-1C18EFD4DC64}" dt="2020-03-26T21:00:18.906" v="332" actId="1036"/>
          <ac:spMkLst>
            <pc:docMk/>
            <pc:sldMk cId="3359044363" sldId="592"/>
            <ac:spMk id="101" creationId="{659A8765-B24E-46BD-91A9-0E03D95955FF}"/>
          </ac:spMkLst>
        </pc:spChg>
        <pc:spChg chg="add mod">
          <ac:chgData name="Renata Festa" userId="6f22df47-533b-4c2a-a3c1-7f9ad1d63e10" providerId="ADAL" clId="{D9D6212D-B474-44D1-8C31-1C18EFD4DC64}" dt="2020-03-26T21:00:18.906" v="332" actId="1036"/>
          <ac:spMkLst>
            <pc:docMk/>
            <pc:sldMk cId="3359044363" sldId="592"/>
            <ac:spMk id="102" creationId="{7A6D000E-4DF2-4BD6-BF74-7194D306BB42}"/>
          </ac:spMkLst>
        </pc:spChg>
        <pc:spChg chg="add mod">
          <ac:chgData name="Renata Festa" userId="6f22df47-533b-4c2a-a3c1-7f9ad1d63e10" providerId="ADAL" clId="{D9D6212D-B474-44D1-8C31-1C18EFD4DC64}" dt="2020-03-26T21:03:05.938" v="370" actId="1035"/>
          <ac:spMkLst>
            <pc:docMk/>
            <pc:sldMk cId="3359044363" sldId="592"/>
            <ac:spMk id="103" creationId="{9C77A10A-E00B-4548-9B9D-DCB587C1FC43}"/>
          </ac:spMkLst>
        </pc:spChg>
        <pc:spChg chg="add mod">
          <ac:chgData name="Renata Festa" userId="6f22df47-533b-4c2a-a3c1-7f9ad1d63e10" providerId="ADAL" clId="{D9D6212D-B474-44D1-8C31-1C18EFD4DC64}" dt="2020-03-26T21:03:05.938" v="370" actId="1035"/>
          <ac:spMkLst>
            <pc:docMk/>
            <pc:sldMk cId="3359044363" sldId="592"/>
            <ac:spMk id="104" creationId="{B9974719-2FC0-4B2E-A898-1DDDE9C49920}"/>
          </ac:spMkLst>
        </pc:spChg>
        <pc:spChg chg="add mod">
          <ac:chgData name="Renata Festa" userId="6f22df47-533b-4c2a-a3c1-7f9ad1d63e10" providerId="ADAL" clId="{D9D6212D-B474-44D1-8C31-1C18EFD4DC64}" dt="2020-03-26T21:02:24.385" v="349" actId="1035"/>
          <ac:spMkLst>
            <pc:docMk/>
            <pc:sldMk cId="3359044363" sldId="592"/>
            <ac:spMk id="105" creationId="{796FD5AA-BB37-4544-B577-9D07DEA0D384}"/>
          </ac:spMkLst>
        </pc:spChg>
        <pc:spChg chg="add mod">
          <ac:chgData name="Renata Festa" userId="6f22df47-533b-4c2a-a3c1-7f9ad1d63e10" providerId="ADAL" clId="{D9D6212D-B474-44D1-8C31-1C18EFD4DC64}" dt="2020-03-26T21:02:24.385" v="349" actId="1035"/>
          <ac:spMkLst>
            <pc:docMk/>
            <pc:sldMk cId="3359044363" sldId="592"/>
            <ac:spMk id="106" creationId="{9E86A300-6CA3-4836-A71B-7666722EB57E}"/>
          </ac:spMkLst>
        </pc:spChg>
        <pc:spChg chg="add mod">
          <ac:chgData name="Renata Festa" userId="6f22df47-533b-4c2a-a3c1-7f9ad1d63e10" providerId="ADAL" clId="{D9D6212D-B474-44D1-8C31-1C18EFD4DC64}" dt="2020-03-26T21:02:24.385" v="349" actId="1035"/>
          <ac:spMkLst>
            <pc:docMk/>
            <pc:sldMk cId="3359044363" sldId="592"/>
            <ac:spMk id="107" creationId="{06F8C0E2-3F70-49F6-84FE-3A770CE330AD}"/>
          </ac:spMkLst>
        </pc:spChg>
        <pc:spChg chg="add mod">
          <ac:chgData name="Renata Festa" userId="6f22df47-533b-4c2a-a3c1-7f9ad1d63e10" providerId="ADAL" clId="{D9D6212D-B474-44D1-8C31-1C18EFD4DC64}" dt="2020-03-26T21:02:24.385" v="349" actId="1035"/>
          <ac:spMkLst>
            <pc:docMk/>
            <pc:sldMk cId="3359044363" sldId="592"/>
            <ac:spMk id="110" creationId="{B2C6D271-C2EF-4E9B-880C-A50F0396CE4C}"/>
          </ac:spMkLst>
        </pc:spChg>
        <pc:spChg chg="add mod">
          <ac:chgData name="Renata Festa" userId="6f22df47-533b-4c2a-a3c1-7f9ad1d63e10" providerId="ADAL" clId="{D9D6212D-B474-44D1-8C31-1C18EFD4DC64}" dt="2020-03-26T21:02:24.385" v="349" actId="1035"/>
          <ac:spMkLst>
            <pc:docMk/>
            <pc:sldMk cId="3359044363" sldId="592"/>
            <ac:spMk id="111" creationId="{1E1F4E21-64D9-4E1C-8C28-E77A73E7C847}"/>
          </ac:spMkLst>
        </pc:spChg>
        <pc:spChg chg="add mod">
          <ac:chgData name="Renata Festa" userId="6f22df47-533b-4c2a-a3c1-7f9ad1d63e10" providerId="ADAL" clId="{D9D6212D-B474-44D1-8C31-1C18EFD4DC64}" dt="2020-03-26T21:03:05.938" v="370" actId="1035"/>
          <ac:spMkLst>
            <pc:docMk/>
            <pc:sldMk cId="3359044363" sldId="592"/>
            <ac:spMk id="112" creationId="{61FEDF3E-8895-422B-AF05-46F290196A53}"/>
          </ac:spMkLst>
        </pc:spChg>
        <pc:spChg chg="add mod">
          <ac:chgData name="Renata Festa" userId="6f22df47-533b-4c2a-a3c1-7f9ad1d63e10" providerId="ADAL" clId="{D9D6212D-B474-44D1-8C31-1C18EFD4DC64}" dt="2020-03-26T21:03:05.938" v="370" actId="1035"/>
          <ac:spMkLst>
            <pc:docMk/>
            <pc:sldMk cId="3359044363" sldId="592"/>
            <ac:spMk id="114" creationId="{8789105E-9A39-4F02-8189-C881196985A6}"/>
          </ac:spMkLst>
        </pc:spChg>
        <pc:spChg chg="add mod">
          <ac:chgData name="Renata Festa" userId="6f22df47-533b-4c2a-a3c1-7f9ad1d63e10" providerId="ADAL" clId="{D9D6212D-B474-44D1-8C31-1C18EFD4DC64}" dt="2020-03-26T21:03:05.938" v="370" actId="1035"/>
          <ac:spMkLst>
            <pc:docMk/>
            <pc:sldMk cId="3359044363" sldId="592"/>
            <ac:spMk id="116" creationId="{A70A5297-7730-4951-97B1-38A753061B90}"/>
          </ac:spMkLst>
        </pc:spChg>
        <pc:spChg chg="add mod">
          <ac:chgData name="Renata Festa" userId="6f22df47-533b-4c2a-a3c1-7f9ad1d63e10" providerId="ADAL" clId="{D9D6212D-B474-44D1-8C31-1C18EFD4DC64}" dt="2020-03-26T21:02:24.385" v="349" actId="1035"/>
          <ac:spMkLst>
            <pc:docMk/>
            <pc:sldMk cId="3359044363" sldId="592"/>
            <ac:spMk id="119" creationId="{C9C2F855-293F-46B8-83E7-340C964E8299}"/>
          </ac:spMkLst>
        </pc:spChg>
        <pc:spChg chg="add mod">
          <ac:chgData name="Renata Festa" userId="6f22df47-533b-4c2a-a3c1-7f9ad1d63e10" providerId="ADAL" clId="{D9D6212D-B474-44D1-8C31-1C18EFD4DC64}" dt="2020-03-26T21:00:42.885" v="337" actId="1076"/>
          <ac:spMkLst>
            <pc:docMk/>
            <pc:sldMk cId="3359044363" sldId="592"/>
            <ac:spMk id="121" creationId="{46D7940F-E44E-4875-9649-BA4A73FB0CE9}"/>
          </ac:spMkLst>
        </pc:spChg>
        <pc:cxnChg chg="add del mod">
          <ac:chgData name="Renata Festa" userId="6f22df47-533b-4c2a-a3c1-7f9ad1d63e10" providerId="ADAL" clId="{D9D6212D-B474-44D1-8C31-1C18EFD4DC64}" dt="2020-03-26T20:59:59.162" v="317"/>
          <ac:cxnSpMkLst>
            <pc:docMk/>
            <pc:sldMk cId="3359044363" sldId="592"/>
            <ac:cxnSpMk id="4" creationId="{60755C6E-92A9-45C2-98D7-89A0084871A7}"/>
          </ac:cxnSpMkLst>
        </pc:cxnChg>
        <pc:cxnChg chg="add del mod">
          <ac:chgData name="Renata Festa" userId="6f22df47-533b-4c2a-a3c1-7f9ad1d63e10" providerId="ADAL" clId="{D9D6212D-B474-44D1-8C31-1C18EFD4DC64}" dt="2020-03-26T20:59:59.162" v="317"/>
          <ac:cxnSpMkLst>
            <pc:docMk/>
            <pc:sldMk cId="3359044363" sldId="592"/>
            <ac:cxnSpMk id="7" creationId="{6CC6B218-492A-4BE7-B5C4-CDE0B5F74A6B}"/>
          </ac:cxnSpMkLst>
        </pc:cxnChg>
        <pc:cxnChg chg="add del mod">
          <ac:chgData name="Renata Festa" userId="6f22df47-533b-4c2a-a3c1-7f9ad1d63e10" providerId="ADAL" clId="{D9D6212D-B474-44D1-8C31-1C18EFD4DC64}" dt="2020-03-26T20:59:59.162" v="317"/>
          <ac:cxnSpMkLst>
            <pc:docMk/>
            <pc:sldMk cId="3359044363" sldId="592"/>
            <ac:cxnSpMk id="8" creationId="{4D9E2033-4268-4F7C-9FB2-CAC95EC679FB}"/>
          </ac:cxnSpMkLst>
        </pc:cxnChg>
        <pc:cxnChg chg="add del mod">
          <ac:chgData name="Renata Festa" userId="6f22df47-533b-4c2a-a3c1-7f9ad1d63e10" providerId="ADAL" clId="{D9D6212D-B474-44D1-8C31-1C18EFD4DC64}" dt="2020-03-26T20:59:59.162" v="317"/>
          <ac:cxnSpMkLst>
            <pc:docMk/>
            <pc:sldMk cId="3359044363" sldId="592"/>
            <ac:cxnSpMk id="12" creationId="{ACD97820-0F8B-4BA5-886B-FAA9AF9F7B25}"/>
          </ac:cxnSpMkLst>
        </pc:cxnChg>
        <pc:cxnChg chg="add del mod">
          <ac:chgData name="Renata Festa" userId="6f22df47-533b-4c2a-a3c1-7f9ad1d63e10" providerId="ADAL" clId="{D9D6212D-B474-44D1-8C31-1C18EFD4DC64}" dt="2020-03-26T20:59:59.162" v="317"/>
          <ac:cxnSpMkLst>
            <pc:docMk/>
            <pc:sldMk cId="3359044363" sldId="592"/>
            <ac:cxnSpMk id="13" creationId="{398F208F-E2A0-49F1-AD1C-1521D6BD6402}"/>
          </ac:cxnSpMkLst>
        </pc:cxnChg>
        <pc:cxnChg chg="add del mod">
          <ac:chgData name="Renata Festa" userId="6f22df47-533b-4c2a-a3c1-7f9ad1d63e10" providerId="ADAL" clId="{D9D6212D-B474-44D1-8C31-1C18EFD4DC64}" dt="2020-03-26T20:59:59.162" v="317"/>
          <ac:cxnSpMkLst>
            <pc:docMk/>
            <pc:sldMk cId="3359044363" sldId="592"/>
            <ac:cxnSpMk id="18" creationId="{CFC6FCD5-3201-49F0-8D75-D19434BB05BF}"/>
          </ac:cxnSpMkLst>
        </pc:cxnChg>
        <pc:cxnChg chg="add del mod">
          <ac:chgData name="Renata Festa" userId="6f22df47-533b-4c2a-a3c1-7f9ad1d63e10" providerId="ADAL" clId="{D9D6212D-B474-44D1-8C31-1C18EFD4DC64}" dt="2020-03-26T20:59:59.162" v="317"/>
          <ac:cxnSpMkLst>
            <pc:docMk/>
            <pc:sldMk cId="3359044363" sldId="592"/>
            <ac:cxnSpMk id="19" creationId="{83172851-A1BE-4444-B6BD-3250983E306D}"/>
          </ac:cxnSpMkLst>
        </pc:cxnChg>
        <pc:cxnChg chg="add del mod">
          <ac:chgData name="Renata Festa" userId="6f22df47-533b-4c2a-a3c1-7f9ad1d63e10" providerId="ADAL" clId="{D9D6212D-B474-44D1-8C31-1C18EFD4DC64}" dt="2020-03-26T20:59:59.162" v="317"/>
          <ac:cxnSpMkLst>
            <pc:docMk/>
            <pc:sldMk cId="3359044363" sldId="592"/>
            <ac:cxnSpMk id="20" creationId="{5B0FCEF1-AEBE-4124-8FC3-7BA910071830}"/>
          </ac:cxnSpMkLst>
        </pc:cxnChg>
        <pc:cxnChg chg="add del mod">
          <ac:chgData name="Renata Festa" userId="6f22df47-533b-4c2a-a3c1-7f9ad1d63e10" providerId="ADAL" clId="{D9D6212D-B474-44D1-8C31-1C18EFD4DC64}" dt="2020-03-26T20:59:59.162" v="317"/>
          <ac:cxnSpMkLst>
            <pc:docMk/>
            <pc:sldMk cId="3359044363" sldId="592"/>
            <ac:cxnSpMk id="34" creationId="{7C577822-E4B8-443B-B42F-6CE31FE8513E}"/>
          </ac:cxnSpMkLst>
        </pc:cxnChg>
        <pc:cxnChg chg="add del mod">
          <ac:chgData name="Renata Festa" userId="6f22df47-533b-4c2a-a3c1-7f9ad1d63e10" providerId="ADAL" clId="{D9D6212D-B474-44D1-8C31-1C18EFD4DC64}" dt="2020-03-26T20:59:59.162" v="317"/>
          <ac:cxnSpMkLst>
            <pc:docMk/>
            <pc:sldMk cId="3359044363" sldId="592"/>
            <ac:cxnSpMk id="37" creationId="{6A96B215-8ADE-447D-B572-FCB3D9A723FC}"/>
          </ac:cxnSpMkLst>
        </pc:cxnChg>
        <pc:cxnChg chg="add del mod">
          <ac:chgData name="Renata Festa" userId="6f22df47-533b-4c2a-a3c1-7f9ad1d63e10" providerId="ADAL" clId="{D9D6212D-B474-44D1-8C31-1C18EFD4DC64}" dt="2020-03-26T20:59:59.162" v="317"/>
          <ac:cxnSpMkLst>
            <pc:docMk/>
            <pc:sldMk cId="3359044363" sldId="592"/>
            <ac:cxnSpMk id="38" creationId="{47EA58EB-884C-4C22-88F0-7307181E364F}"/>
          </ac:cxnSpMkLst>
        </pc:cxnChg>
        <pc:cxnChg chg="add del mod">
          <ac:chgData name="Renata Festa" userId="6f22df47-533b-4c2a-a3c1-7f9ad1d63e10" providerId="ADAL" clId="{D9D6212D-B474-44D1-8C31-1C18EFD4DC64}" dt="2020-03-26T20:59:59.162" v="317"/>
          <ac:cxnSpMkLst>
            <pc:docMk/>
            <pc:sldMk cId="3359044363" sldId="592"/>
            <ac:cxnSpMk id="50" creationId="{DA6D3B0C-DAC4-4EB7-8B49-4B9196445944}"/>
          </ac:cxnSpMkLst>
        </pc:cxnChg>
        <pc:cxnChg chg="add del mod">
          <ac:chgData name="Renata Festa" userId="6f22df47-533b-4c2a-a3c1-7f9ad1d63e10" providerId="ADAL" clId="{D9D6212D-B474-44D1-8C31-1C18EFD4DC64}" dt="2020-03-26T20:59:59.162" v="317"/>
          <ac:cxnSpMkLst>
            <pc:docMk/>
            <pc:sldMk cId="3359044363" sldId="592"/>
            <ac:cxnSpMk id="51" creationId="{C7979906-5429-4842-B188-A54E412233C3}"/>
          </ac:cxnSpMkLst>
        </pc:cxnChg>
        <pc:cxnChg chg="add del mod">
          <ac:chgData name="Renata Festa" userId="6f22df47-533b-4c2a-a3c1-7f9ad1d63e10" providerId="ADAL" clId="{D9D6212D-B474-44D1-8C31-1C18EFD4DC64}" dt="2020-03-26T20:59:59.162" v="317"/>
          <ac:cxnSpMkLst>
            <pc:docMk/>
            <pc:sldMk cId="3359044363" sldId="592"/>
            <ac:cxnSpMk id="55" creationId="{9CE6D794-52BF-4DA6-9F02-097F765DB823}"/>
          </ac:cxnSpMkLst>
        </pc:cxnChg>
        <pc:cxnChg chg="add del mod">
          <ac:chgData name="Renata Festa" userId="6f22df47-533b-4c2a-a3c1-7f9ad1d63e10" providerId="ADAL" clId="{D9D6212D-B474-44D1-8C31-1C18EFD4DC64}" dt="2020-03-26T20:59:59.162" v="317"/>
          <ac:cxnSpMkLst>
            <pc:docMk/>
            <pc:sldMk cId="3359044363" sldId="592"/>
            <ac:cxnSpMk id="57" creationId="{7AE8B403-0C9E-4A24-9BCD-8481B5F66221}"/>
          </ac:cxnSpMkLst>
        </pc:cxnChg>
        <pc:cxnChg chg="add del mod">
          <ac:chgData name="Renata Festa" userId="6f22df47-533b-4c2a-a3c1-7f9ad1d63e10" providerId="ADAL" clId="{D9D6212D-B474-44D1-8C31-1C18EFD4DC64}" dt="2020-03-26T20:59:59.162" v="317"/>
          <ac:cxnSpMkLst>
            <pc:docMk/>
            <pc:sldMk cId="3359044363" sldId="592"/>
            <ac:cxnSpMk id="59" creationId="{D74AAA82-B3DA-4C54-8C35-DBBCD722D5E8}"/>
          </ac:cxnSpMkLst>
        </pc:cxnChg>
        <pc:cxnChg chg="add del mod">
          <ac:chgData name="Renata Festa" userId="6f22df47-533b-4c2a-a3c1-7f9ad1d63e10" providerId="ADAL" clId="{D9D6212D-B474-44D1-8C31-1C18EFD4DC64}" dt="2020-03-26T20:59:59.162" v="317"/>
          <ac:cxnSpMkLst>
            <pc:docMk/>
            <pc:sldMk cId="3359044363" sldId="592"/>
            <ac:cxnSpMk id="60" creationId="{E8378EDD-BAC4-42FF-A26D-91C80C510C0E}"/>
          </ac:cxnSpMkLst>
        </pc:cxnChg>
        <pc:cxnChg chg="add del mod">
          <ac:chgData name="Renata Festa" userId="6f22df47-533b-4c2a-a3c1-7f9ad1d63e10" providerId="ADAL" clId="{D9D6212D-B474-44D1-8C31-1C18EFD4DC64}" dt="2020-03-26T20:59:59.162" v="317"/>
          <ac:cxnSpMkLst>
            <pc:docMk/>
            <pc:sldMk cId="3359044363" sldId="592"/>
            <ac:cxnSpMk id="62" creationId="{026265AC-126C-4304-A41E-DA65F4127DF7}"/>
          </ac:cxnSpMkLst>
        </pc:cxnChg>
        <pc:cxnChg chg="add mod">
          <ac:chgData name="Renata Festa" userId="6f22df47-533b-4c2a-a3c1-7f9ad1d63e10" providerId="ADAL" clId="{D9D6212D-B474-44D1-8C31-1C18EFD4DC64}" dt="2020-03-26T21:03:05.938" v="370" actId="1035"/>
          <ac:cxnSpMkLst>
            <pc:docMk/>
            <pc:sldMk cId="3359044363" sldId="592"/>
            <ac:cxnSpMk id="64" creationId="{C95B2096-F69B-4490-A876-452311C6D687}"/>
          </ac:cxnSpMkLst>
        </pc:cxnChg>
        <pc:cxnChg chg="add mod">
          <ac:chgData name="Renata Festa" userId="6f22df47-533b-4c2a-a3c1-7f9ad1d63e10" providerId="ADAL" clId="{D9D6212D-B474-44D1-8C31-1C18EFD4DC64}" dt="2020-03-26T21:03:05.938" v="370" actId="1035"/>
          <ac:cxnSpMkLst>
            <pc:docMk/>
            <pc:sldMk cId="3359044363" sldId="592"/>
            <ac:cxnSpMk id="65" creationId="{CCB84055-3A58-4EB7-9EEE-AD6143CF820C}"/>
          </ac:cxnSpMkLst>
        </pc:cxnChg>
        <pc:cxnChg chg="add mod">
          <ac:chgData name="Renata Festa" userId="6f22df47-533b-4c2a-a3c1-7f9ad1d63e10" providerId="ADAL" clId="{D9D6212D-B474-44D1-8C31-1C18EFD4DC64}" dt="2020-03-26T21:03:05.938" v="370" actId="1035"/>
          <ac:cxnSpMkLst>
            <pc:docMk/>
            <pc:sldMk cId="3359044363" sldId="592"/>
            <ac:cxnSpMk id="66" creationId="{D7BC0A8B-38FE-4C3C-A69A-C4FD872A1952}"/>
          </ac:cxnSpMkLst>
        </pc:cxnChg>
        <pc:cxnChg chg="add mod">
          <ac:chgData name="Renata Festa" userId="6f22df47-533b-4c2a-a3c1-7f9ad1d63e10" providerId="ADAL" clId="{D9D6212D-B474-44D1-8C31-1C18EFD4DC64}" dt="2020-03-26T21:02:24.385" v="349" actId="1035"/>
          <ac:cxnSpMkLst>
            <pc:docMk/>
            <pc:sldMk cId="3359044363" sldId="592"/>
            <ac:cxnSpMk id="70" creationId="{0A24AA3C-41F8-4BC5-9B4D-DEDF83C998F4}"/>
          </ac:cxnSpMkLst>
        </pc:cxnChg>
        <pc:cxnChg chg="add mod">
          <ac:chgData name="Renata Festa" userId="6f22df47-533b-4c2a-a3c1-7f9ad1d63e10" providerId="ADAL" clId="{D9D6212D-B474-44D1-8C31-1C18EFD4DC64}" dt="2020-03-26T21:02:24.385" v="349" actId="1035"/>
          <ac:cxnSpMkLst>
            <pc:docMk/>
            <pc:sldMk cId="3359044363" sldId="592"/>
            <ac:cxnSpMk id="71" creationId="{58CBA61E-F34D-494F-96E2-9407655AFA65}"/>
          </ac:cxnSpMkLst>
        </pc:cxnChg>
        <pc:cxnChg chg="add mod">
          <ac:chgData name="Renata Festa" userId="6f22df47-533b-4c2a-a3c1-7f9ad1d63e10" providerId="ADAL" clId="{D9D6212D-B474-44D1-8C31-1C18EFD4DC64}" dt="2020-03-26T21:00:18.906" v="332" actId="1036"/>
          <ac:cxnSpMkLst>
            <pc:docMk/>
            <pc:sldMk cId="3359044363" sldId="592"/>
            <ac:cxnSpMk id="76" creationId="{4F57D30C-C480-4727-AFE6-D660DC6B6898}"/>
          </ac:cxnSpMkLst>
        </pc:cxnChg>
        <pc:cxnChg chg="add mod">
          <ac:chgData name="Renata Festa" userId="6f22df47-533b-4c2a-a3c1-7f9ad1d63e10" providerId="ADAL" clId="{D9D6212D-B474-44D1-8C31-1C18EFD4DC64}" dt="2020-03-26T21:00:18.906" v="332" actId="1036"/>
          <ac:cxnSpMkLst>
            <pc:docMk/>
            <pc:sldMk cId="3359044363" sldId="592"/>
            <ac:cxnSpMk id="77" creationId="{D49C0F38-D168-414E-8088-ECA840A9FB6F}"/>
          </ac:cxnSpMkLst>
        </pc:cxnChg>
        <pc:cxnChg chg="add mod">
          <ac:chgData name="Renata Festa" userId="6f22df47-533b-4c2a-a3c1-7f9ad1d63e10" providerId="ADAL" clId="{D9D6212D-B474-44D1-8C31-1C18EFD4DC64}" dt="2020-03-26T21:00:18.906" v="332" actId="1036"/>
          <ac:cxnSpMkLst>
            <pc:docMk/>
            <pc:sldMk cId="3359044363" sldId="592"/>
            <ac:cxnSpMk id="78" creationId="{F671FF1F-B674-4A60-90C8-C6BE8CE560AD}"/>
          </ac:cxnSpMkLst>
        </pc:cxnChg>
        <pc:cxnChg chg="add mod">
          <ac:chgData name="Renata Festa" userId="6f22df47-533b-4c2a-a3c1-7f9ad1d63e10" providerId="ADAL" clId="{D9D6212D-B474-44D1-8C31-1C18EFD4DC64}" dt="2020-03-26T21:00:18.906" v="332" actId="1036"/>
          <ac:cxnSpMkLst>
            <pc:docMk/>
            <pc:sldMk cId="3359044363" sldId="592"/>
            <ac:cxnSpMk id="92" creationId="{F63AFE8E-79C2-457D-8B90-57E56783C5AA}"/>
          </ac:cxnSpMkLst>
        </pc:cxnChg>
        <pc:cxnChg chg="add mod">
          <ac:chgData name="Renata Festa" userId="6f22df47-533b-4c2a-a3c1-7f9ad1d63e10" providerId="ADAL" clId="{D9D6212D-B474-44D1-8C31-1C18EFD4DC64}" dt="2020-03-26T21:02:44.818" v="361" actId="1035"/>
          <ac:cxnSpMkLst>
            <pc:docMk/>
            <pc:sldMk cId="3359044363" sldId="592"/>
            <ac:cxnSpMk id="95" creationId="{E12485BE-A155-49FE-9358-A58D004C13B4}"/>
          </ac:cxnSpMkLst>
        </pc:cxnChg>
        <pc:cxnChg chg="add mod">
          <ac:chgData name="Renata Festa" userId="6f22df47-533b-4c2a-a3c1-7f9ad1d63e10" providerId="ADAL" clId="{D9D6212D-B474-44D1-8C31-1C18EFD4DC64}" dt="2020-03-26T21:02:24.385" v="349" actId="1035"/>
          <ac:cxnSpMkLst>
            <pc:docMk/>
            <pc:sldMk cId="3359044363" sldId="592"/>
            <ac:cxnSpMk id="96" creationId="{DD9792EB-DB6B-41C0-BA64-76E4B61D5711}"/>
          </ac:cxnSpMkLst>
        </pc:cxnChg>
        <pc:cxnChg chg="add mod">
          <ac:chgData name="Renata Festa" userId="6f22df47-533b-4c2a-a3c1-7f9ad1d63e10" providerId="ADAL" clId="{D9D6212D-B474-44D1-8C31-1C18EFD4DC64}" dt="2020-03-26T21:02:24.385" v="349" actId="1035"/>
          <ac:cxnSpMkLst>
            <pc:docMk/>
            <pc:sldMk cId="3359044363" sldId="592"/>
            <ac:cxnSpMk id="108" creationId="{59899825-3E6F-4CA6-8897-2FFDB217A3EA}"/>
          </ac:cxnSpMkLst>
        </pc:cxnChg>
        <pc:cxnChg chg="add mod">
          <ac:chgData name="Renata Festa" userId="6f22df47-533b-4c2a-a3c1-7f9ad1d63e10" providerId="ADAL" clId="{D9D6212D-B474-44D1-8C31-1C18EFD4DC64}" dt="2020-03-26T21:02:24.385" v="349" actId="1035"/>
          <ac:cxnSpMkLst>
            <pc:docMk/>
            <pc:sldMk cId="3359044363" sldId="592"/>
            <ac:cxnSpMk id="109" creationId="{90873CD0-740E-46DD-99AF-9DF7BA839FE9}"/>
          </ac:cxnSpMkLst>
        </pc:cxnChg>
        <pc:cxnChg chg="add mod">
          <ac:chgData name="Renata Festa" userId="6f22df47-533b-4c2a-a3c1-7f9ad1d63e10" providerId="ADAL" clId="{D9D6212D-B474-44D1-8C31-1C18EFD4DC64}" dt="2020-03-26T21:03:41.382" v="373" actId="14100"/>
          <ac:cxnSpMkLst>
            <pc:docMk/>
            <pc:sldMk cId="3359044363" sldId="592"/>
            <ac:cxnSpMk id="113" creationId="{B8105367-D6F3-4A42-B2E5-53C7EC91CB4F}"/>
          </ac:cxnSpMkLst>
        </pc:cxnChg>
        <pc:cxnChg chg="add mod">
          <ac:chgData name="Renata Festa" userId="6f22df47-533b-4c2a-a3c1-7f9ad1d63e10" providerId="ADAL" clId="{D9D6212D-B474-44D1-8C31-1C18EFD4DC64}" dt="2020-03-26T21:02:28.608" v="353" actId="1036"/>
          <ac:cxnSpMkLst>
            <pc:docMk/>
            <pc:sldMk cId="3359044363" sldId="592"/>
            <ac:cxnSpMk id="115" creationId="{11271414-F724-4910-AB26-4A486238322F}"/>
          </ac:cxnSpMkLst>
        </pc:cxnChg>
        <pc:cxnChg chg="add mod">
          <ac:chgData name="Renata Festa" userId="6f22df47-533b-4c2a-a3c1-7f9ad1d63e10" providerId="ADAL" clId="{D9D6212D-B474-44D1-8C31-1C18EFD4DC64}" dt="2020-03-26T21:02:24.385" v="349" actId="1035"/>
          <ac:cxnSpMkLst>
            <pc:docMk/>
            <pc:sldMk cId="3359044363" sldId="592"/>
            <ac:cxnSpMk id="117" creationId="{97BD28A7-38C1-4ADD-B651-7EE02F2AC205}"/>
          </ac:cxnSpMkLst>
        </pc:cxnChg>
        <pc:cxnChg chg="add mod">
          <ac:chgData name="Renata Festa" userId="6f22df47-533b-4c2a-a3c1-7f9ad1d63e10" providerId="ADAL" clId="{D9D6212D-B474-44D1-8C31-1C18EFD4DC64}" dt="2020-03-26T21:02:24.385" v="349" actId="1035"/>
          <ac:cxnSpMkLst>
            <pc:docMk/>
            <pc:sldMk cId="3359044363" sldId="592"/>
            <ac:cxnSpMk id="118" creationId="{43F745D3-637F-4320-8661-4C42B177B590}"/>
          </ac:cxnSpMkLst>
        </pc:cxnChg>
        <pc:cxnChg chg="add mod">
          <ac:chgData name="Renata Festa" userId="6f22df47-533b-4c2a-a3c1-7f9ad1d63e10" providerId="ADAL" clId="{D9D6212D-B474-44D1-8C31-1C18EFD4DC64}" dt="2020-03-26T21:03:05.938" v="370" actId="1035"/>
          <ac:cxnSpMkLst>
            <pc:docMk/>
            <pc:sldMk cId="3359044363" sldId="592"/>
            <ac:cxnSpMk id="120" creationId="{CDF675B1-A996-4AA6-A338-07093C380CC9}"/>
          </ac:cxnSpMkLst>
        </pc:cxnChg>
      </pc:sldChg>
      <pc:sldChg chg="addSp delSp modSp add mod modAnim">
        <pc:chgData name="Renata Festa" userId="6f22df47-533b-4c2a-a3c1-7f9ad1d63e10" providerId="ADAL" clId="{D9D6212D-B474-44D1-8C31-1C18EFD4DC64}" dt="2020-03-26T20:51:59.240" v="175"/>
        <pc:sldMkLst>
          <pc:docMk/>
          <pc:sldMk cId="1021463189" sldId="593"/>
        </pc:sldMkLst>
        <pc:spChg chg="add del mod">
          <ac:chgData name="Renata Festa" userId="6f22df47-533b-4c2a-a3c1-7f9ad1d63e10" providerId="ADAL" clId="{D9D6212D-B474-44D1-8C31-1C18EFD4DC64}" dt="2020-03-26T20:50:09.433" v="160"/>
          <ac:spMkLst>
            <pc:docMk/>
            <pc:sldMk cId="1021463189" sldId="593"/>
            <ac:spMk id="2" creationId="{4D767F22-EA8B-4263-824C-4DB3D4D03379}"/>
          </ac:spMkLst>
        </pc:spChg>
        <pc:spChg chg="add del mod">
          <ac:chgData name="Renata Festa" userId="6f22df47-533b-4c2a-a3c1-7f9ad1d63e10" providerId="ADAL" clId="{D9D6212D-B474-44D1-8C31-1C18EFD4DC64}" dt="2020-03-26T20:50:19.008" v="162" actId="12084"/>
          <ac:spMkLst>
            <pc:docMk/>
            <pc:sldMk cId="1021463189" sldId="593"/>
            <ac:spMk id="3" creationId="{280FF2E4-252C-4EAC-AFBA-67473F4527E4}"/>
          </ac:spMkLst>
        </pc:spChg>
        <pc:spChg chg="mod">
          <ac:chgData name="Renata Festa" userId="6f22df47-533b-4c2a-a3c1-7f9ad1d63e10" providerId="ADAL" clId="{D9D6212D-B474-44D1-8C31-1C18EFD4DC64}" dt="2020-03-26T20:48:23.551" v="131" actId="20577"/>
          <ac:spMkLst>
            <pc:docMk/>
            <pc:sldMk cId="1021463189" sldId="593"/>
            <ac:spMk id="5" creationId="{EE1AC3C7-034D-4D76-8A4B-7B32534D1BDE}"/>
          </ac:spMkLst>
        </pc:spChg>
        <pc:spChg chg="del mod">
          <ac:chgData name="Renata Festa" userId="6f22df47-533b-4c2a-a3c1-7f9ad1d63e10" providerId="ADAL" clId="{D9D6212D-B474-44D1-8C31-1C18EFD4DC64}" dt="2020-03-26T20:49:57.616" v="159"/>
          <ac:spMkLst>
            <pc:docMk/>
            <pc:sldMk cId="1021463189" sldId="593"/>
            <ac:spMk id="6" creationId="{15E9D984-8366-4EBA-8597-A8C841BF2633}"/>
          </ac:spMkLst>
        </pc:spChg>
        <pc:graphicFrameChg chg="add mod">
          <ac:chgData name="Renata Festa" userId="6f22df47-533b-4c2a-a3c1-7f9ad1d63e10" providerId="ADAL" clId="{D9D6212D-B474-44D1-8C31-1C18EFD4DC64}" dt="2020-03-26T20:50:30.556" v="167" actId="20577"/>
          <ac:graphicFrameMkLst>
            <pc:docMk/>
            <pc:sldMk cId="1021463189" sldId="593"/>
            <ac:graphicFrameMk id="4" creationId="{81E203B4-8B06-4228-B371-2015C728D433}"/>
          </ac:graphicFrameMkLst>
        </pc:graphicFrameChg>
      </pc:sldChg>
      <pc:sldChg chg="addSp delSp modSp add mod">
        <pc:chgData name="Renata Festa" userId="6f22df47-533b-4c2a-a3c1-7f9ad1d63e10" providerId="ADAL" clId="{D9D6212D-B474-44D1-8C31-1C18EFD4DC64}" dt="2020-03-26T20:54:01.918" v="206" actId="478"/>
        <pc:sldMkLst>
          <pc:docMk/>
          <pc:sldMk cId="4037294255" sldId="594"/>
        </pc:sldMkLst>
        <pc:spChg chg="add del">
          <ac:chgData name="Renata Festa" userId="6f22df47-533b-4c2a-a3c1-7f9ad1d63e10" providerId="ADAL" clId="{D9D6212D-B474-44D1-8C31-1C18EFD4DC64}" dt="2020-03-26T20:52:23.578" v="179"/>
          <ac:spMkLst>
            <pc:docMk/>
            <pc:sldMk cId="4037294255" sldId="594"/>
            <ac:spMk id="4" creationId="{53AFB209-4E70-4604-92D3-814CA17D732D}"/>
          </ac:spMkLst>
        </pc:spChg>
        <pc:spChg chg="mod">
          <ac:chgData name="Renata Festa" userId="6f22df47-533b-4c2a-a3c1-7f9ad1d63e10" providerId="ADAL" clId="{D9D6212D-B474-44D1-8C31-1C18EFD4DC64}" dt="2020-03-26T20:52:16.781" v="177" actId="20577"/>
          <ac:spMkLst>
            <pc:docMk/>
            <pc:sldMk cId="4037294255" sldId="594"/>
            <ac:spMk id="5" creationId="{EE1AC3C7-034D-4D76-8A4B-7B32534D1BDE}"/>
          </ac:spMkLst>
        </pc:spChg>
        <pc:spChg chg="del mod">
          <ac:chgData name="Renata Festa" userId="6f22df47-533b-4c2a-a3c1-7f9ad1d63e10" providerId="ADAL" clId="{D9D6212D-B474-44D1-8C31-1C18EFD4DC64}" dt="2020-03-26T20:52:54.031" v="186" actId="12084"/>
          <ac:spMkLst>
            <pc:docMk/>
            <pc:sldMk cId="4037294255" sldId="594"/>
            <ac:spMk id="6" creationId="{15E9D984-8366-4EBA-8597-A8C841BF2633}"/>
          </ac:spMkLst>
        </pc:spChg>
        <pc:spChg chg="add mod">
          <ac:chgData name="Renata Festa" userId="6f22df47-533b-4c2a-a3c1-7f9ad1d63e10" providerId="ADAL" clId="{D9D6212D-B474-44D1-8C31-1C18EFD4DC64}" dt="2020-03-26T20:52:32.150" v="181" actId="1076"/>
          <ac:spMkLst>
            <pc:docMk/>
            <pc:sldMk cId="4037294255" sldId="594"/>
            <ac:spMk id="7" creationId="{B2C77D08-DB22-48BD-92B3-237A393DFA94}"/>
          </ac:spMkLst>
        </pc:spChg>
        <pc:spChg chg="add del mod">
          <ac:chgData name="Renata Festa" userId="6f22df47-533b-4c2a-a3c1-7f9ad1d63e10" providerId="ADAL" clId="{D9D6212D-B474-44D1-8C31-1C18EFD4DC64}" dt="2020-03-26T20:54:01.918" v="206" actId="478"/>
          <ac:spMkLst>
            <pc:docMk/>
            <pc:sldMk cId="4037294255" sldId="594"/>
            <ac:spMk id="8" creationId="{6952A52C-A171-4388-A6F9-0E205075086E}"/>
          </ac:spMkLst>
        </pc:spChg>
        <pc:spChg chg="add mod">
          <ac:chgData name="Renata Festa" userId="6f22df47-533b-4c2a-a3c1-7f9ad1d63e10" providerId="ADAL" clId="{D9D6212D-B474-44D1-8C31-1C18EFD4DC64}" dt="2020-03-26T20:53:47.047" v="205" actId="1037"/>
          <ac:spMkLst>
            <pc:docMk/>
            <pc:sldMk cId="4037294255" sldId="594"/>
            <ac:spMk id="9" creationId="{B9D9FA9C-5301-495B-90E4-6E5288DDBB9A}"/>
          </ac:spMkLst>
        </pc:spChg>
        <pc:graphicFrameChg chg="add del mod">
          <ac:chgData name="Renata Festa" userId="6f22df47-533b-4c2a-a3c1-7f9ad1d63e10" providerId="ADAL" clId="{D9D6212D-B474-44D1-8C31-1C18EFD4DC64}" dt="2020-03-26T20:53:20.800" v="187" actId="478"/>
          <ac:graphicFrameMkLst>
            <pc:docMk/>
            <pc:sldMk cId="4037294255" sldId="594"/>
            <ac:graphicFrameMk id="2" creationId="{E0FDF2EF-E5D0-48F3-BDFC-9D63874BA30B}"/>
          </ac:graphicFrameMkLst>
        </pc:graphicFrameChg>
        <pc:graphicFrameChg chg="add mod">
          <ac:chgData name="Renata Festa" userId="6f22df47-533b-4c2a-a3c1-7f9ad1d63e10" providerId="ADAL" clId="{D9D6212D-B474-44D1-8C31-1C18EFD4DC64}" dt="2020-03-26T20:53:47.047" v="205" actId="1037"/>
          <ac:graphicFrameMkLst>
            <pc:docMk/>
            <pc:sldMk cId="4037294255" sldId="594"/>
            <ac:graphicFrameMk id="10" creationId="{39CC9AA5-3B6D-45E2-B80F-55A95E3BC088}"/>
          </ac:graphicFrameMkLst>
        </pc:graphicFrameChg>
      </pc:sldChg>
      <pc:sldChg chg="addSp delSp modSp add mod">
        <pc:chgData name="Renata Festa" userId="6f22df47-533b-4c2a-a3c1-7f9ad1d63e10" providerId="ADAL" clId="{D9D6212D-B474-44D1-8C31-1C18EFD4DC64}" dt="2020-03-26T20:55:28.454" v="233" actId="14100"/>
        <pc:sldMkLst>
          <pc:docMk/>
          <pc:sldMk cId="4157876676" sldId="595"/>
        </pc:sldMkLst>
        <pc:spChg chg="add del mod">
          <ac:chgData name="Renata Festa" userId="6f22df47-533b-4c2a-a3c1-7f9ad1d63e10" providerId="ADAL" clId="{D9D6212D-B474-44D1-8C31-1C18EFD4DC64}" dt="2020-03-26T20:55:17.840" v="231" actId="12084"/>
          <ac:spMkLst>
            <pc:docMk/>
            <pc:sldMk cId="4157876676" sldId="595"/>
            <ac:spMk id="3" creationId="{F24861C1-8087-4401-B1A5-C7BE231FAE07}"/>
          </ac:spMkLst>
        </pc:spChg>
        <pc:spChg chg="mod">
          <ac:chgData name="Renata Festa" userId="6f22df47-533b-4c2a-a3c1-7f9ad1d63e10" providerId="ADAL" clId="{D9D6212D-B474-44D1-8C31-1C18EFD4DC64}" dt="2020-03-26T20:54:08.956" v="208" actId="20577"/>
          <ac:spMkLst>
            <pc:docMk/>
            <pc:sldMk cId="4157876676" sldId="595"/>
            <ac:spMk id="5" creationId="{EE1AC3C7-034D-4D76-8A4B-7B32534D1BDE}"/>
          </ac:spMkLst>
        </pc:spChg>
        <pc:spChg chg="del mod">
          <ac:chgData name="Renata Festa" userId="6f22df47-533b-4c2a-a3c1-7f9ad1d63e10" providerId="ADAL" clId="{D9D6212D-B474-44D1-8C31-1C18EFD4DC64}" dt="2020-03-26T20:54:34.722" v="214" actId="12084"/>
          <ac:spMkLst>
            <pc:docMk/>
            <pc:sldMk cId="4157876676" sldId="595"/>
            <ac:spMk id="6" creationId="{15E9D984-8366-4EBA-8597-A8C841BF2633}"/>
          </ac:spMkLst>
        </pc:spChg>
        <pc:spChg chg="add mod">
          <ac:chgData name="Renata Festa" userId="6f22df47-533b-4c2a-a3c1-7f9ad1d63e10" providerId="ADAL" clId="{D9D6212D-B474-44D1-8C31-1C18EFD4DC64}" dt="2020-03-26T20:55:24.297" v="232" actId="404"/>
          <ac:spMkLst>
            <pc:docMk/>
            <pc:sldMk cId="4157876676" sldId="595"/>
            <ac:spMk id="7" creationId="{398C9860-0CD7-4A35-B297-F5AA93E73866}"/>
          </ac:spMkLst>
        </pc:spChg>
        <pc:graphicFrameChg chg="add mod">
          <ac:chgData name="Renata Festa" userId="6f22df47-533b-4c2a-a3c1-7f9ad1d63e10" providerId="ADAL" clId="{D9D6212D-B474-44D1-8C31-1C18EFD4DC64}" dt="2020-03-26T20:54:39.889" v="217" actId="14100"/>
          <ac:graphicFrameMkLst>
            <pc:docMk/>
            <pc:sldMk cId="4157876676" sldId="595"/>
            <ac:graphicFrameMk id="2" creationId="{4E5B9921-BA6F-425F-9456-DEB6BE36FC01}"/>
          </ac:graphicFrameMkLst>
        </pc:graphicFrameChg>
        <pc:graphicFrameChg chg="add mod">
          <ac:chgData name="Renata Festa" userId="6f22df47-533b-4c2a-a3c1-7f9ad1d63e10" providerId="ADAL" clId="{D9D6212D-B474-44D1-8C31-1C18EFD4DC64}" dt="2020-03-26T20:55:28.454" v="233" actId="14100"/>
          <ac:graphicFrameMkLst>
            <pc:docMk/>
            <pc:sldMk cId="4157876676" sldId="595"/>
            <ac:graphicFrameMk id="4" creationId="{6ADD3C1B-6481-4E37-A456-6601AFDB735B}"/>
          </ac:graphicFrameMkLst>
        </pc:graphicFrameChg>
      </pc:sldChg>
      <pc:sldChg chg="addSp delSp modSp add mod modAnim">
        <pc:chgData name="Renata Festa" userId="6f22df47-533b-4c2a-a3c1-7f9ad1d63e10" providerId="ADAL" clId="{D9D6212D-B474-44D1-8C31-1C18EFD4DC64}" dt="2020-03-26T20:56:23.375" v="245"/>
        <pc:sldMkLst>
          <pc:docMk/>
          <pc:sldMk cId="1446222115" sldId="596"/>
        </pc:sldMkLst>
        <pc:spChg chg="mod">
          <ac:chgData name="Renata Festa" userId="6f22df47-533b-4c2a-a3c1-7f9ad1d63e10" providerId="ADAL" clId="{D9D6212D-B474-44D1-8C31-1C18EFD4DC64}" dt="2020-03-26T20:55:42.879" v="234"/>
          <ac:spMkLst>
            <pc:docMk/>
            <pc:sldMk cId="1446222115" sldId="596"/>
            <ac:spMk id="5" creationId="{EE1AC3C7-034D-4D76-8A4B-7B32534D1BDE}"/>
          </ac:spMkLst>
        </pc:spChg>
        <pc:spChg chg="del mod">
          <ac:chgData name="Renata Festa" userId="6f22df47-533b-4c2a-a3c1-7f9ad1d63e10" providerId="ADAL" clId="{D9D6212D-B474-44D1-8C31-1C18EFD4DC64}" dt="2020-03-26T20:56:10.276" v="243" actId="12084"/>
          <ac:spMkLst>
            <pc:docMk/>
            <pc:sldMk cId="1446222115" sldId="596"/>
            <ac:spMk id="6" creationId="{15E9D984-8366-4EBA-8597-A8C841BF2633}"/>
          </ac:spMkLst>
        </pc:spChg>
        <pc:graphicFrameChg chg="add mod">
          <ac:chgData name="Renata Festa" userId="6f22df47-533b-4c2a-a3c1-7f9ad1d63e10" providerId="ADAL" clId="{D9D6212D-B474-44D1-8C31-1C18EFD4DC64}" dt="2020-03-26T20:56:10.276" v="243" actId="12084"/>
          <ac:graphicFrameMkLst>
            <pc:docMk/>
            <pc:sldMk cId="1446222115" sldId="596"/>
            <ac:graphicFrameMk id="2" creationId="{D13A9BFA-6359-4899-8FF4-A0A768E3D020}"/>
          </ac:graphicFrameMkLst>
        </pc:graphicFrameChg>
      </pc:sldChg>
      <pc:sldChg chg="addSp modSp add mod">
        <pc:chgData name="Renata Festa" userId="6f22df47-533b-4c2a-a3c1-7f9ad1d63e10" providerId="ADAL" clId="{D9D6212D-B474-44D1-8C31-1C18EFD4DC64}" dt="2020-03-26T21:07:53.052" v="489" actId="1035"/>
        <pc:sldMkLst>
          <pc:docMk/>
          <pc:sldMk cId="505804855" sldId="597"/>
        </pc:sldMkLst>
        <pc:spChg chg="mod">
          <ac:chgData name="Renata Festa" userId="6f22df47-533b-4c2a-a3c1-7f9ad1d63e10" providerId="ADAL" clId="{D9D6212D-B474-44D1-8C31-1C18EFD4DC64}" dt="2020-03-26T21:05:16.419" v="391"/>
          <ac:spMkLst>
            <pc:docMk/>
            <pc:sldMk cId="505804855" sldId="597"/>
            <ac:spMk id="2" creationId="{E3764662-7A48-4243-8DD0-F3BC7494DF84}"/>
          </ac:spMkLst>
        </pc:spChg>
        <pc:spChg chg="add mod">
          <ac:chgData name="Renata Festa" userId="6f22df47-533b-4c2a-a3c1-7f9ad1d63e10" providerId="ADAL" clId="{D9D6212D-B474-44D1-8C31-1C18EFD4DC64}" dt="2020-03-26T21:05:47.503" v="413" actId="1076"/>
          <ac:spMkLst>
            <pc:docMk/>
            <pc:sldMk cId="505804855" sldId="597"/>
            <ac:spMk id="5" creationId="{A59E6C2A-B93E-4ACF-B49C-F18A484273C1}"/>
          </ac:spMkLst>
        </pc:spChg>
        <pc:graphicFrameChg chg="add mod">
          <ac:chgData name="Renata Festa" userId="6f22df47-533b-4c2a-a3c1-7f9ad1d63e10" providerId="ADAL" clId="{D9D6212D-B474-44D1-8C31-1C18EFD4DC64}" dt="2020-03-26T21:07:53.052" v="489" actId="1035"/>
          <ac:graphicFrameMkLst>
            <pc:docMk/>
            <pc:sldMk cId="505804855" sldId="597"/>
            <ac:graphicFrameMk id="4" creationId="{F245A662-90E0-42AC-AE6A-575DE840297E}"/>
          </ac:graphicFrameMkLst>
        </pc:graphicFrameChg>
      </pc:sldChg>
      <pc:sldChg chg="add del">
        <pc:chgData name="Renata Festa" userId="6f22df47-533b-4c2a-a3c1-7f9ad1d63e10" providerId="ADAL" clId="{D9D6212D-B474-44D1-8C31-1C18EFD4DC64}" dt="2020-03-26T21:04:40.736" v="376" actId="47"/>
        <pc:sldMkLst>
          <pc:docMk/>
          <pc:sldMk cId="2797115359" sldId="597"/>
        </pc:sldMkLst>
      </pc:sldChg>
      <pc:sldChg chg="addSp modSp add mod modAnim">
        <pc:chgData name="Renata Festa" userId="6f22df47-533b-4c2a-a3c1-7f9ad1d63e10" providerId="ADAL" clId="{D9D6212D-B474-44D1-8C31-1C18EFD4DC64}" dt="2020-03-26T21:08:51.747" v="505" actId="1037"/>
        <pc:sldMkLst>
          <pc:docMk/>
          <pc:sldMk cId="634441832" sldId="598"/>
        </pc:sldMkLst>
        <pc:spChg chg="mod">
          <ac:chgData name="Renata Festa" userId="6f22df47-533b-4c2a-a3c1-7f9ad1d63e10" providerId="ADAL" clId="{D9D6212D-B474-44D1-8C31-1C18EFD4DC64}" dt="2020-03-26T21:08:48.607" v="498" actId="1037"/>
          <ac:spMkLst>
            <pc:docMk/>
            <pc:sldMk cId="634441832" sldId="598"/>
            <ac:spMk id="2" creationId="{E3764662-7A48-4243-8DD0-F3BC7494DF84}"/>
          </ac:spMkLst>
        </pc:spChg>
        <pc:spChg chg="add mod">
          <ac:chgData name="Renata Festa" userId="6f22df47-533b-4c2a-a3c1-7f9ad1d63e10" providerId="ADAL" clId="{D9D6212D-B474-44D1-8C31-1C18EFD4DC64}" dt="2020-03-26T21:08:51.747" v="505" actId="1037"/>
          <ac:spMkLst>
            <pc:docMk/>
            <pc:sldMk cId="634441832" sldId="598"/>
            <ac:spMk id="4" creationId="{F7385D95-557E-4F00-ABF3-7B72F25BF1D1}"/>
          </ac:spMkLst>
        </pc:spChg>
        <pc:spChg chg="add mod">
          <ac:chgData name="Renata Festa" userId="6f22df47-533b-4c2a-a3c1-7f9ad1d63e10" providerId="ADAL" clId="{D9D6212D-B474-44D1-8C31-1C18EFD4DC64}" dt="2020-03-26T21:08:51.747" v="505" actId="1037"/>
          <ac:spMkLst>
            <pc:docMk/>
            <pc:sldMk cId="634441832" sldId="598"/>
            <ac:spMk id="5" creationId="{E664A4B4-7072-4993-9F37-DCBD9AB832CE}"/>
          </ac:spMkLst>
        </pc:spChg>
        <pc:spChg chg="add mod">
          <ac:chgData name="Renata Festa" userId="6f22df47-533b-4c2a-a3c1-7f9ad1d63e10" providerId="ADAL" clId="{D9D6212D-B474-44D1-8C31-1C18EFD4DC64}" dt="2020-03-26T21:08:51.747" v="505" actId="1037"/>
          <ac:spMkLst>
            <pc:docMk/>
            <pc:sldMk cId="634441832" sldId="598"/>
            <ac:spMk id="9" creationId="{61AFEE99-500B-4D08-BAE5-A38C5E733D17}"/>
          </ac:spMkLst>
        </pc:spChg>
        <pc:spChg chg="add mod">
          <ac:chgData name="Renata Festa" userId="6f22df47-533b-4c2a-a3c1-7f9ad1d63e10" providerId="ADAL" clId="{D9D6212D-B474-44D1-8C31-1C18EFD4DC64}" dt="2020-03-26T21:08:51.747" v="505" actId="1037"/>
          <ac:spMkLst>
            <pc:docMk/>
            <pc:sldMk cId="634441832" sldId="598"/>
            <ac:spMk id="43" creationId="{B743B9F4-6AFA-4BB5-A86F-D183736BF6B1}"/>
          </ac:spMkLst>
        </pc:spChg>
        <pc:spChg chg="add mod">
          <ac:chgData name="Renata Festa" userId="6f22df47-533b-4c2a-a3c1-7f9ad1d63e10" providerId="ADAL" clId="{D9D6212D-B474-44D1-8C31-1C18EFD4DC64}" dt="2020-03-26T21:08:51.747" v="505" actId="1037"/>
          <ac:spMkLst>
            <pc:docMk/>
            <pc:sldMk cId="634441832" sldId="598"/>
            <ac:spMk id="44" creationId="{4B636B37-0731-4990-B214-7BAB854AC5AE}"/>
          </ac:spMkLst>
        </pc:spChg>
        <pc:spChg chg="add mod">
          <ac:chgData name="Renata Festa" userId="6f22df47-533b-4c2a-a3c1-7f9ad1d63e10" providerId="ADAL" clId="{D9D6212D-B474-44D1-8C31-1C18EFD4DC64}" dt="2020-03-26T21:08:51.747" v="505" actId="1037"/>
          <ac:spMkLst>
            <pc:docMk/>
            <pc:sldMk cId="634441832" sldId="598"/>
            <ac:spMk id="79" creationId="{DBBE7F17-9CA9-478A-ABE3-F8179FB24DA8}"/>
          </ac:spMkLst>
        </pc:spChg>
        <pc:spChg chg="add mod">
          <ac:chgData name="Renata Festa" userId="6f22df47-533b-4c2a-a3c1-7f9ad1d63e10" providerId="ADAL" clId="{D9D6212D-B474-44D1-8C31-1C18EFD4DC64}" dt="2020-03-26T21:08:51.747" v="505" actId="1037"/>
          <ac:spMkLst>
            <pc:docMk/>
            <pc:sldMk cId="634441832" sldId="598"/>
            <ac:spMk id="85" creationId="{241E9430-691F-4000-B9DE-0F2586CC171A}"/>
          </ac:spMkLst>
        </pc:spChg>
        <pc:spChg chg="add mod">
          <ac:chgData name="Renata Festa" userId="6f22df47-533b-4c2a-a3c1-7f9ad1d63e10" providerId="ADAL" clId="{D9D6212D-B474-44D1-8C31-1C18EFD4DC64}" dt="2020-03-26T21:08:51.747" v="505" actId="1037"/>
          <ac:spMkLst>
            <pc:docMk/>
            <pc:sldMk cId="634441832" sldId="598"/>
            <ac:spMk id="86" creationId="{885F664D-1BFF-4F38-9236-685AA3D5E2A7}"/>
          </ac:spMkLst>
        </pc:spChg>
        <pc:grpChg chg="add mod">
          <ac:chgData name="Renata Festa" userId="6f22df47-533b-4c2a-a3c1-7f9ad1d63e10" providerId="ADAL" clId="{D9D6212D-B474-44D1-8C31-1C18EFD4DC64}" dt="2020-03-26T21:08:51.747" v="505" actId="1037"/>
          <ac:grpSpMkLst>
            <pc:docMk/>
            <pc:sldMk cId="634441832" sldId="598"/>
            <ac:grpSpMk id="6" creationId="{19957935-C45B-4E78-95D2-1ED97CA68EFA}"/>
          </ac:grpSpMkLst>
        </pc:grpChg>
        <pc:grpChg chg="add mod">
          <ac:chgData name="Renata Festa" userId="6f22df47-533b-4c2a-a3c1-7f9ad1d63e10" providerId="ADAL" clId="{D9D6212D-B474-44D1-8C31-1C18EFD4DC64}" dt="2020-03-26T21:08:51.747" v="505" actId="1037"/>
          <ac:grpSpMkLst>
            <pc:docMk/>
            <pc:sldMk cId="634441832" sldId="598"/>
            <ac:grpSpMk id="10" creationId="{ECDD1A3E-AC82-45AC-9453-3A8E3634A00B}"/>
          </ac:grpSpMkLst>
        </pc:grpChg>
        <pc:grpChg chg="add mod">
          <ac:chgData name="Renata Festa" userId="6f22df47-533b-4c2a-a3c1-7f9ad1d63e10" providerId="ADAL" clId="{D9D6212D-B474-44D1-8C31-1C18EFD4DC64}" dt="2020-03-26T21:08:51.747" v="505" actId="1037"/>
          <ac:grpSpMkLst>
            <pc:docMk/>
            <pc:sldMk cId="634441832" sldId="598"/>
            <ac:grpSpMk id="13" creationId="{43066C08-CA8B-41E6-B27B-21C48DFFB0BB}"/>
          </ac:grpSpMkLst>
        </pc:grpChg>
        <pc:grpChg chg="add mod">
          <ac:chgData name="Renata Festa" userId="6f22df47-533b-4c2a-a3c1-7f9ad1d63e10" providerId="ADAL" clId="{D9D6212D-B474-44D1-8C31-1C18EFD4DC64}" dt="2020-03-26T21:08:51.747" v="505" actId="1037"/>
          <ac:grpSpMkLst>
            <pc:docMk/>
            <pc:sldMk cId="634441832" sldId="598"/>
            <ac:grpSpMk id="45" creationId="{FC2DD0E4-7D76-4418-A07D-7AB75027D334}"/>
          </ac:grpSpMkLst>
        </pc:grpChg>
        <pc:grpChg chg="mod">
          <ac:chgData name="Renata Festa" userId="6f22df47-533b-4c2a-a3c1-7f9ad1d63e10" providerId="ADAL" clId="{D9D6212D-B474-44D1-8C31-1C18EFD4DC64}" dt="2020-03-26T21:08:51.747" v="505" actId="1037"/>
          <ac:grpSpMkLst>
            <pc:docMk/>
            <pc:sldMk cId="634441832" sldId="598"/>
            <ac:grpSpMk id="46" creationId="{22BD93FA-7ABA-4D46-B1B2-BA131742D732}"/>
          </ac:grpSpMkLst>
        </pc:grpChg>
        <pc:grpChg chg="mod">
          <ac:chgData name="Renata Festa" userId="6f22df47-533b-4c2a-a3c1-7f9ad1d63e10" providerId="ADAL" clId="{D9D6212D-B474-44D1-8C31-1C18EFD4DC64}" dt="2020-03-26T21:08:51.747" v="505" actId="1037"/>
          <ac:grpSpMkLst>
            <pc:docMk/>
            <pc:sldMk cId="634441832" sldId="598"/>
            <ac:grpSpMk id="47" creationId="{7FDF280E-A83D-433B-9EDA-66595D4BCBFF}"/>
          </ac:grpSpMkLst>
        </pc:grpChg>
        <pc:grpChg chg="mod">
          <ac:chgData name="Renata Festa" userId="6f22df47-533b-4c2a-a3c1-7f9ad1d63e10" providerId="ADAL" clId="{D9D6212D-B474-44D1-8C31-1C18EFD4DC64}" dt="2020-03-26T21:08:51.747" v="505" actId="1037"/>
          <ac:grpSpMkLst>
            <pc:docMk/>
            <pc:sldMk cId="634441832" sldId="598"/>
            <ac:grpSpMk id="48" creationId="{3170145F-7D1D-4963-8769-FA46A8A89F4D}"/>
          </ac:grpSpMkLst>
        </pc:grpChg>
        <pc:grpChg chg="add mod">
          <ac:chgData name="Renata Festa" userId="6f22df47-533b-4c2a-a3c1-7f9ad1d63e10" providerId="ADAL" clId="{D9D6212D-B474-44D1-8C31-1C18EFD4DC64}" dt="2020-03-26T21:08:51.747" v="505" actId="1037"/>
          <ac:grpSpMkLst>
            <pc:docMk/>
            <pc:sldMk cId="634441832" sldId="598"/>
            <ac:grpSpMk id="58" creationId="{39B04C75-F1CD-4970-B176-915341CEDD37}"/>
          </ac:grpSpMkLst>
        </pc:grpChg>
        <pc:grpChg chg="mod">
          <ac:chgData name="Renata Festa" userId="6f22df47-533b-4c2a-a3c1-7f9ad1d63e10" providerId="ADAL" clId="{D9D6212D-B474-44D1-8C31-1C18EFD4DC64}" dt="2020-03-26T21:08:51.747" v="505" actId="1037"/>
          <ac:grpSpMkLst>
            <pc:docMk/>
            <pc:sldMk cId="634441832" sldId="598"/>
            <ac:grpSpMk id="59" creationId="{7256E3FA-26AF-45FD-AB57-B266DCEF72A9}"/>
          </ac:grpSpMkLst>
        </pc:grpChg>
        <pc:grpChg chg="mod">
          <ac:chgData name="Renata Festa" userId="6f22df47-533b-4c2a-a3c1-7f9ad1d63e10" providerId="ADAL" clId="{D9D6212D-B474-44D1-8C31-1C18EFD4DC64}" dt="2020-03-26T21:08:51.747" v="505" actId="1037"/>
          <ac:grpSpMkLst>
            <pc:docMk/>
            <pc:sldMk cId="634441832" sldId="598"/>
            <ac:grpSpMk id="60" creationId="{83A26853-4DB0-4739-85BB-0D17E85B9B16}"/>
          </ac:grpSpMkLst>
        </pc:grpChg>
        <pc:grpChg chg="mod">
          <ac:chgData name="Renata Festa" userId="6f22df47-533b-4c2a-a3c1-7f9ad1d63e10" providerId="ADAL" clId="{D9D6212D-B474-44D1-8C31-1C18EFD4DC64}" dt="2020-03-26T21:08:51.747" v="505" actId="1037"/>
          <ac:grpSpMkLst>
            <pc:docMk/>
            <pc:sldMk cId="634441832" sldId="598"/>
            <ac:grpSpMk id="61" creationId="{080E1A67-B0EF-434C-9628-9A038494E981}"/>
          </ac:grpSpMkLst>
        </pc:grpChg>
        <pc:grpChg chg="add mod">
          <ac:chgData name="Renata Festa" userId="6f22df47-533b-4c2a-a3c1-7f9ad1d63e10" providerId="ADAL" clId="{D9D6212D-B474-44D1-8C31-1C18EFD4DC64}" dt="2020-03-26T21:08:51.747" v="505" actId="1037"/>
          <ac:grpSpMkLst>
            <pc:docMk/>
            <pc:sldMk cId="634441832" sldId="598"/>
            <ac:grpSpMk id="71" creationId="{F68DCC5E-6A60-431B-8EC5-E597DFF6B32A}"/>
          </ac:grpSpMkLst>
        </pc:grpChg>
        <pc:grpChg chg="add mod">
          <ac:chgData name="Renata Festa" userId="6f22df47-533b-4c2a-a3c1-7f9ad1d63e10" providerId="ADAL" clId="{D9D6212D-B474-44D1-8C31-1C18EFD4DC64}" dt="2020-03-26T21:08:51.747" v="505" actId="1037"/>
          <ac:grpSpMkLst>
            <pc:docMk/>
            <pc:sldMk cId="634441832" sldId="598"/>
            <ac:grpSpMk id="80" creationId="{EF3519F0-B28D-426B-85E4-BA996B8FF0A7}"/>
          </ac:grpSpMkLst>
        </pc:grpChg>
        <pc:graphicFrameChg chg="add mod">
          <ac:chgData name="Renata Festa" userId="6f22df47-533b-4c2a-a3c1-7f9ad1d63e10" providerId="ADAL" clId="{D9D6212D-B474-44D1-8C31-1C18EFD4DC64}" dt="2020-03-26T21:08:33.457" v="493" actId="1076"/>
          <ac:graphicFrameMkLst>
            <pc:docMk/>
            <pc:sldMk cId="634441832" sldId="598"/>
            <ac:graphicFrameMk id="78" creationId="{617BDB3C-9D44-43E1-831E-49CE22C4C6DD}"/>
          </ac:graphicFrameMkLst>
        </pc:graphicFrameChg>
        <pc:cxnChg chg="add mod">
          <ac:chgData name="Renata Festa" userId="6f22df47-533b-4c2a-a3c1-7f9ad1d63e10" providerId="ADAL" clId="{D9D6212D-B474-44D1-8C31-1C18EFD4DC64}" dt="2020-03-26T21:08:51.747" v="505" actId="1037"/>
          <ac:cxnSpMkLst>
            <pc:docMk/>
            <pc:sldMk cId="634441832" sldId="598"/>
            <ac:cxnSpMk id="76" creationId="{DC7B9862-532A-4FEF-A7C5-55C6B4A8656A}"/>
          </ac:cxnSpMkLst>
        </pc:cxnChg>
        <pc:cxnChg chg="add mod">
          <ac:chgData name="Renata Festa" userId="6f22df47-533b-4c2a-a3c1-7f9ad1d63e10" providerId="ADAL" clId="{D9D6212D-B474-44D1-8C31-1C18EFD4DC64}" dt="2020-03-26T21:08:51.747" v="505" actId="1037"/>
          <ac:cxnSpMkLst>
            <pc:docMk/>
            <pc:sldMk cId="634441832" sldId="598"/>
            <ac:cxnSpMk id="77" creationId="{87FA39A8-4145-4B32-9EB0-D0B69361CD0C}"/>
          </ac:cxnSpMkLst>
        </pc:cxnChg>
        <pc:cxnChg chg="add mod">
          <ac:chgData name="Renata Festa" userId="6f22df47-533b-4c2a-a3c1-7f9ad1d63e10" providerId="ADAL" clId="{D9D6212D-B474-44D1-8C31-1C18EFD4DC64}" dt="2020-03-26T21:08:51.747" v="505" actId="1037"/>
          <ac:cxnSpMkLst>
            <pc:docMk/>
            <pc:sldMk cId="634441832" sldId="598"/>
            <ac:cxnSpMk id="83" creationId="{E571A604-5D14-4D76-8128-C60552B06706}"/>
          </ac:cxnSpMkLst>
        </pc:cxnChg>
        <pc:cxnChg chg="add mod">
          <ac:chgData name="Renata Festa" userId="6f22df47-533b-4c2a-a3c1-7f9ad1d63e10" providerId="ADAL" clId="{D9D6212D-B474-44D1-8C31-1C18EFD4DC64}" dt="2020-03-26T21:08:51.747" v="505" actId="1037"/>
          <ac:cxnSpMkLst>
            <pc:docMk/>
            <pc:sldMk cId="634441832" sldId="598"/>
            <ac:cxnSpMk id="84" creationId="{DD729D37-426B-42E3-966F-04979558F752}"/>
          </ac:cxnSpMkLst>
        </pc:cxnChg>
      </pc:sldChg>
      <pc:sldChg chg="add del">
        <pc:chgData name="Renata Festa" userId="6f22df47-533b-4c2a-a3c1-7f9ad1d63e10" providerId="ADAL" clId="{D9D6212D-B474-44D1-8C31-1C18EFD4DC64}" dt="2020-03-26T21:04:40.979" v="377" actId="47"/>
        <pc:sldMkLst>
          <pc:docMk/>
          <pc:sldMk cId="3373618298" sldId="598"/>
        </pc:sldMkLst>
      </pc:sldChg>
      <pc:sldChg chg="addSp delSp modSp add mod modAnim">
        <pc:chgData name="Renata Festa" userId="6f22df47-533b-4c2a-a3c1-7f9ad1d63e10" providerId="ADAL" clId="{D9D6212D-B474-44D1-8C31-1C18EFD4DC64}" dt="2020-03-26T21:11:52.756" v="528" actId="13822"/>
        <pc:sldMkLst>
          <pc:docMk/>
          <pc:sldMk cId="630268016" sldId="599"/>
        </pc:sldMkLst>
        <pc:spChg chg="mod">
          <ac:chgData name="Renata Festa" userId="6f22df47-533b-4c2a-a3c1-7f9ad1d63e10" providerId="ADAL" clId="{D9D6212D-B474-44D1-8C31-1C18EFD4DC64}" dt="2020-03-26T21:09:18.801" v="506"/>
          <ac:spMkLst>
            <pc:docMk/>
            <pc:sldMk cId="630268016" sldId="599"/>
            <ac:spMk id="2" creationId="{E3764662-7A48-4243-8DD0-F3BC7494DF84}"/>
          </ac:spMkLst>
        </pc:spChg>
        <pc:spChg chg="del mod">
          <ac:chgData name="Renata Festa" userId="6f22df47-533b-4c2a-a3c1-7f9ad1d63e10" providerId="ADAL" clId="{D9D6212D-B474-44D1-8C31-1C18EFD4DC64}" dt="2020-03-26T21:11:02.183" v="522" actId="12084"/>
          <ac:spMkLst>
            <pc:docMk/>
            <pc:sldMk cId="630268016" sldId="599"/>
            <ac:spMk id="3" creationId="{3CCA43A9-01AD-451C-A62B-3B1E6F581713}"/>
          </ac:spMkLst>
        </pc:spChg>
        <pc:spChg chg="add del mod">
          <ac:chgData name="Renata Festa" userId="6f22df47-533b-4c2a-a3c1-7f9ad1d63e10" providerId="ADAL" clId="{D9D6212D-B474-44D1-8C31-1C18EFD4DC64}" dt="2020-03-26T21:11:25.688" v="525" actId="12084"/>
          <ac:spMkLst>
            <pc:docMk/>
            <pc:sldMk cId="630268016" sldId="599"/>
            <ac:spMk id="5" creationId="{7738BCFF-3252-4660-9B9F-C3241D1CC63B}"/>
          </ac:spMkLst>
        </pc:spChg>
        <pc:spChg chg="add mod">
          <ac:chgData name="Renata Festa" userId="6f22df47-533b-4c2a-a3c1-7f9ad1d63e10" providerId="ADAL" clId="{D9D6212D-B474-44D1-8C31-1C18EFD4DC64}" dt="2020-03-26T21:11:52.756" v="528" actId="13822"/>
          <ac:spMkLst>
            <pc:docMk/>
            <pc:sldMk cId="630268016" sldId="599"/>
            <ac:spMk id="7" creationId="{361D8761-9DE7-4AD1-93EB-8657E8415748}"/>
          </ac:spMkLst>
        </pc:spChg>
        <pc:graphicFrameChg chg="add del mod">
          <ac:chgData name="Renata Festa" userId="6f22df47-533b-4c2a-a3c1-7f9ad1d63e10" providerId="ADAL" clId="{D9D6212D-B474-44D1-8C31-1C18EFD4DC64}" dt="2020-03-26T21:11:17.293" v="523" actId="11529"/>
          <ac:graphicFrameMkLst>
            <pc:docMk/>
            <pc:sldMk cId="630268016" sldId="599"/>
            <ac:graphicFrameMk id="4" creationId="{EF642302-C5E2-47BD-B9BF-884E1A045168}"/>
          </ac:graphicFrameMkLst>
        </pc:graphicFrameChg>
        <pc:graphicFrameChg chg="add mod">
          <ac:chgData name="Renata Festa" userId="6f22df47-533b-4c2a-a3c1-7f9ad1d63e10" providerId="ADAL" clId="{D9D6212D-B474-44D1-8C31-1C18EFD4DC64}" dt="2020-03-26T21:11:25.688" v="525" actId="12084"/>
          <ac:graphicFrameMkLst>
            <pc:docMk/>
            <pc:sldMk cId="630268016" sldId="599"/>
            <ac:graphicFrameMk id="6" creationId="{7504E345-8A22-4FAF-B750-E90E175EF302}"/>
          </ac:graphicFrameMkLst>
        </pc:graphicFrameChg>
      </pc:sldChg>
      <pc:sldChg chg="add del">
        <pc:chgData name="Renata Festa" userId="6f22df47-533b-4c2a-a3c1-7f9ad1d63e10" providerId="ADAL" clId="{D9D6212D-B474-44D1-8C31-1C18EFD4DC64}" dt="2020-03-26T21:04:41.298" v="378" actId="47"/>
        <pc:sldMkLst>
          <pc:docMk/>
          <pc:sldMk cId="960323488" sldId="599"/>
        </pc:sldMkLst>
      </pc:sldChg>
      <pc:sldChg chg="addSp delSp modSp add mod modAnim modNotesTx">
        <pc:chgData name="Renata Festa" userId="6f22df47-533b-4c2a-a3c1-7f9ad1d63e10" providerId="ADAL" clId="{D9D6212D-B474-44D1-8C31-1C18EFD4DC64}" dt="2020-03-26T23:28:21.992" v="561" actId="478"/>
        <pc:sldMkLst>
          <pc:docMk/>
          <pc:sldMk cId="251758242" sldId="600"/>
        </pc:sldMkLst>
        <pc:spChg chg="mod">
          <ac:chgData name="Renata Festa" userId="6f22df47-533b-4c2a-a3c1-7f9ad1d63e10" providerId="ADAL" clId="{D9D6212D-B474-44D1-8C31-1C18EFD4DC64}" dt="2020-03-26T21:12:04.755" v="529"/>
          <ac:spMkLst>
            <pc:docMk/>
            <pc:sldMk cId="251758242" sldId="600"/>
            <ac:spMk id="2" creationId="{E3764662-7A48-4243-8DD0-F3BC7494DF84}"/>
          </ac:spMkLst>
        </pc:spChg>
        <pc:spChg chg="del mod">
          <ac:chgData name="Renata Festa" userId="6f22df47-533b-4c2a-a3c1-7f9ad1d63e10" providerId="ADAL" clId="{D9D6212D-B474-44D1-8C31-1C18EFD4DC64}" dt="2020-03-26T23:28:21.992" v="561" actId="478"/>
          <ac:spMkLst>
            <pc:docMk/>
            <pc:sldMk cId="251758242" sldId="600"/>
            <ac:spMk id="3" creationId="{3CCA43A9-01AD-451C-A62B-3B1E6F581713}"/>
          </ac:spMkLst>
        </pc:spChg>
        <pc:spChg chg="add mod">
          <ac:chgData name="Renata Festa" userId="6f22df47-533b-4c2a-a3c1-7f9ad1d63e10" providerId="ADAL" clId="{D9D6212D-B474-44D1-8C31-1C18EFD4DC64}" dt="2020-03-26T23:28:17.268" v="560" actId="1036"/>
          <ac:spMkLst>
            <pc:docMk/>
            <pc:sldMk cId="251758242" sldId="600"/>
            <ac:spMk id="20" creationId="{1E7DF91D-EE36-41AF-ABF6-9A9E384384E1}"/>
          </ac:spMkLst>
        </pc:spChg>
        <pc:spChg chg="add mod">
          <ac:chgData name="Renata Festa" userId="6f22df47-533b-4c2a-a3c1-7f9ad1d63e10" providerId="ADAL" clId="{D9D6212D-B474-44D1-8C31-1C18EFD4DC64}" dt="2020-03-26T23:28:17.268" v="560" actId="1036"/>
          <ac:spMkLst>
            <pc:docMk/>
            <pc:sldMk cId="251758242" sldId="600"/>
            <ac:spMk id="22" creationId="{52A065FD-0B2D-47AF-BA6E-6618385A8919}"/>
          </ac:spMkLst>
        </pc:spChg>
        <pc:spChg chg="add mod">
          <ac:chgData name="Renata Festa" userId="6f22df47-533b-4c2a-a3c1-7f9ad1d63e10" providerId="ADAL" clId="{D9D6212D-B474-44D1-8C31-1C18EFD4DC64}" dt="2020-03-26T23:28:17.268" v="560" actId="1036"/>
          <ac:spMkLst>
            <pc:docMk/>
            <pc:sldMk cId="251758242" sldId="600"/>
            <ac:spMk id="25" creationId="{E844AE87-3BFD-4F0A-9B32-3A800E5C21AF}"/>
          </ac:spMkLst>
        </pc:spChg>
        <pc:spChg chg="add mod">
          <ac:chgData name="Renata Festa" userId="6f22df47-533b-4c2a-a3c1-7f9ad1d63e10" providerId="ADAL" clId="{D9D6212D-B474-44D1-8C31-1C18EFD4DC64}" dt="2020-03-26T23:28:17.268" v="560" actId="1036"/>
          <ac:spMkLst>
            <pc:docMk/>
            <pc:sldMk cId="251758242" sldId="600"/>
            <ac:spMk id="26" creationId="{A48BAF6F-3DFC-467B-B20C-72BA389A594B}"/>
          </ac:spMkLst>
        </pc:spChg>
        <pc:spChg chg="add mod">
          <ac:chgData name="Renata Festa" userId="6f22df47-533b-4c2a-a3c1-7f9ad1d63e10" providerId="ADAL" clId="{D9D6212D-B474-44D1-8C31-1C18EFD4DC64}" dt="2020-03-26T23:28:17.268" v="560" actId="1036"/>
          <ac:spMkLst>
            <pc:docMk/>
            <pc:sldMk cId="251758242" sldId="600"/>
            <ac:spMk id="27" creationId="{8D40C58B-2B14-4D06-A23B-2C6FA6BEA689}"/>
          </ac:spMkLst>
        </pc:spChg>
        <pc:spChg chg="add mod">
          <ac:chgData name="Renata Festa" userId="6f22df47-533b-4c2a-a3c1-7f9ad1d63e10" providerId="ADAL" clId="{D9D6212D-B474-44D1-8C31-1C18EFD4DC64}" dt="2020-03-26T23:28:17.268" v="560" actId="1036"/>
          <ac:spMkLst>
            <pc:docMk/>
            <pc:sldMk cId="251758242" sldId="600"/>
            <ac:spMk id="28" creationId="{8BA48B22-DD78-4EC2-8C3C-28E505A5FD41}"/>
          </ac:spMkLst>
        </pc:spChg>
        <pc:spChg chg="add mod">
          <ac:chgData name="Renata Festa" userId="6f22df47-533b-4c2a-a3c1-7f9ad1d63e10" providerId="ADAL" clId="{D9D6212D-B474-44D1-8C31-1C18EFD4DC64}" dt="2020-03-26T23:28:17.268" v="560" actId="1036"/>
          <ac:spMkLst>
            <pc:docMk/>
            <pc:sldMk cId="251758242" sldId="600"/>
            <ac:spMk id="33" creationId="{9CD9EA2D-81F1-4267-9D38-CC0442439048}"/>
          </ac:spMkLst>
        </pc:spChg>
        <pc:spChg chg="add mod">
          <ac:chgData name="Renata Festa" userId="6f22df47-533b-4c2a-a3c1-7f9ad1d63e10" providerId="ADAL" clId="{D9D6212D-B474-44D1-8C31-1C18EFD4DC64}" dt="2020-03-26T23:28:17.268" v="560" actId="1036"/>
          <ac:spMkLst>
            <pc:docMk/>
            <pc:sldMk cId="251758242" sldId="600"/>
            <ac:spMk id="34" creationId="{ABD1C212-10B7-4A7D-89FB-B9B0BEB052F5}"/>
          </ac:spMkLst>
        </pc:spChg>
        <pc:spChg chg="add mod">
          <ac:chgData name="Renata Festa" userId="6f22df47-533b-4c2a-a3c1-7f9ad1d63e10" providerId="ADAL" clId="{D9D6212D-B474-44D1-8C31-1C18EFD4DC64}" dt="2020-03-26T23:28:17.268" v="560" actId="1036"/>
          <ac:spMkLst>
            <pc:docMk/>
            <pc:sldMk cId="251758242" sldId="600"/>
            <ac:spMk id="35" creationId="{3190D37A-CE71-413E-AD94-0B990DF0F2E7}"/>
          </ac:spMkLst>
        </pc:spChg>
        <pc:spChg chg="add mod">
          <ac:chgData name="Renata Festa" userId="6f22df47-533b-4c2a-a3c1-7f9ad1d63e10" providerId="ADAL" clId="{D9D6212D-B474-44D1-8C31-1C18EFD4DC64}" dt="2020-03-26T23:28:17.268" v="560" actId="1036"/>
          <ac:spMkLst>
            <pc:docMk/>
            <pc:sldMk cId="251758242" sldId="600"/>
            <ac:spMk id="36" creationId="{31E3C136-1D45-4A06-8FA8-4A8204E4EA55}"/>
          </ac:spMkLst>
        </pc:spChg>
        <pc:spChg chg="add del">
          <ac:chgData name="Renata Festa" userId="6f22df47-533b-4c2a-a3c1-7f9ad1d63e10" providerId="ADAL" clId="{D9D6212D-B474-44D1-8C31-1C18EFD4DC64}" dt="2020-03-26T23:28:07.207" v="553"/>
          <ac:spMkLst>
            <pc:docMk/>
            <pc:sldMk cId="251758242" sldId="600"/>
            <ac:spMk id="55" creationId="{0F909EFE-336E-4CA0-82CB-23FB960ED95D}"/>
          </ac:spMkLst>
        </pc:spChg>
        <pc:spChg chg="add del">
          <ac:chgData name="Renata Festa" userId="6f22df47-533b-4c2a-a3c1-7f9ad1d63e10" providerId="ADAL" clId="{D9D6212D-B474-44D1-8C31-1C18EFD4DC64}" dt="2020-03-26T23:28:07.207" v="553"/>
          <ac:spMkLst>
            <pc:docMk/>
            <pc:sldMk cId="251758242" sldId="600"/>
            <ac:spMk id="57" creationId="{70084B9F-ADD3-48C0-87D1-13A23CC891AC}"/>
          </ac:spMkLst>
        </pc:spChg>
        <pc:spChg chg="add del">
          <ac:chgData name="Renata Festa" userId="6f22df47-533b-4c2a-a3c1-7f9ad1d63e10" providerId="ADAL" clId="{D9D6212D-B474-44D1-8C31-1C18EFD4DC64}" dt="2020-03-26T23:28:07.207" v="553"/>
          <ac:spMkLst>
            <pc:docMk/>
            <pc:sldMk cId="251758242" sldId="600"/>
            <ac:spMk id="60" creationId="{E14596EC-BA7E-44B7-8E79-F4457AA27702}"/>
          </ac:spMkLst>
        </pc:spChg>
        <pc:spChg chg="add del">
          <ac:chgData name="Renata Festa" userId="6f22df47-533b-4c2a-a3c1-7f9ad1d63e10" providerId="ADAL" clId="{D9D6212D-B474-44D1-8C31-1C18EFD4DC64}" dt="2020-03-26T23:28:07.207" v="553"/>
          <ac:spMkLst>
            <pc:docMk/>
            <pc:sldMk cId="251758242" sldId="600"/>
            <ac:spMk id="61" creationId="{BC9250B3-1917-4040-9216-C6206288AFD9}"/>
          </ac:spMkLst>
        </pc:spChg>
        <pc:spChg chg="add del">
          <ac:chgData name="Renata Festa" userId="6f22df47-533b-4c2a-a3c1-7f9ad1d63e10" providerId="ADAL" clId="{D9D6212D-B474-44D1-8C31-1C18EFD4DC64}" dt="2020-03-26T23:28:07.207" v="553"/>
          <ac:spMkLst>
            <pc:docMk/>
            <pc:sldMk cId="251758242" sldId="600"/>
            <ac:spMk id="62" creationId="{485268C8-F8FC-48A0-AB0C-BE5FC42BC670}"/>
          </ac:spMkLst>
        </pc:spChg>
        <pc:spChg chg="add del">
          <ac:chgData name="Renata Festa" userId="6f22df47-533b-4c2a-a3c1-7f9ad1d63e10" providerId="ADAL" clId="{D9D6212D-B474-44D1-8C31-1C18EFD4DC64}" dt="2020-03-26T23:28:07.207" v="553"/>
          <ac:spMkLst>
            <pc:docMk/>
            <pc:sldMk cId="251758242" sldId="600"/>
            <ac:spMk id="63" creationId="{7E82938A-FB70-4ACA-917B-408469393E23}"/>
          </ac:spMkLst>
        </pc:spChg>
        <pc:spChg chg="add del">
          <ac:chgData name="Renata Festa" userId="6f22df47-533b-4c2a-a3c1-7f9ad1d63e10" providerId="ADAL" clId="{D9D6212D-B474-44D1-8C31-1C18EFD4DC64}" dt="2020-03-26T23:28:07.207" v="553"/>
          <ac:spMkLst>
            <pc:docMk/>
            <pc:sldMk cId="251758242" sldId="600"/>
            <ac:spMk id="68" creationId="{8990E79B-A0BF-4AAF-8AC1-D37ECA91D06B}"/>
          </ac:spMkLst>
        </pc:spChg>
        <pc:spChg chg="add del">
          <ac:chgData name="Renata Festa" userId="6f22df47-533b-4c2a-a3c1-7f9ad1d63e10" providerId="ADAL" clId="{D9D6212D-B474-44D1-8C31-1C18EFD4DC64}" dt="2020-03-26T23:28:07.207" v="553"/>
          <ac:spMkLst>
            <pc:docMk/>
            <pc:sldMk cId="251758242" sldId="600"/>
            <ac:spMk id="69" creationId="{AB111FF4-B8C4-4DC5-9711-062247BAEFD0}"/>
          </ac:spMkLst>
        </pc:spChg>
        <pc:spChg chg="add del">
          <ac:chgData name="Renata Festa" userId="6f22df47-533b-4c2a-a3c1-7f9ad1d63e10" providerId="ADAL" clId="{D9D6212D-B474-44D1-8C31-1C18EFD4DC64}" dt="2020-03-26T23:28:07.207" v="553"/>
          <ac:spMkLst>
            <pc:docMk/>
            <pc:sldMk cId="251758242" sldId="600"/>
            <ac:spMk id="70" creationId="{512C9E0F-A740-4137-976B-8DE9D8DECEE2}"/>
          </ac:spMkLst>
        </pc:spChg>
        <pc:spChg chg="add del">
          <ac:chgData name="Renata Festa" userId="6f22df47-533b-4c2a-a3c1-7f9ad1d63e10" providerId="ADAL" clId="{D9D6212D-B474-44D1-8C31-1C18EFD4DC64}" dt="2020-03-26T23:28:07.207" v="553"/>
          <ac:spMkLst>
            <pc:docMk/>
            <pc:sldMk cId="251758242" sldId="600"/>
            <ac:spMk id="71" creationId="{E363C184-8E11-4287-9E09-DD2D67CB210B}"/>
          </ac:spMkLst>
        </pc:spChg>
        <pc:grpChg chg="add mod">
          <ac:chgData name="Renata Festa" userId="6f22df47-533b-4c2a-a3c1-7f9ad1d63e10" providerId="ADAL" clId="{D9D6212D-B474-44D1-8C31-1C18EFD4DC64}" dt="2020-03-26T23:28:17.268" v="560" actId="1036"/>
          <ac:grpSpMkLst>
            <pc:docMk/>
            <pc:sldMk cId="251758242" sldId="600"/>
            <ac:grpSpMk id="4" creationId="{465C25D9-48D0-4DCE-9AE6-533146F1101A}"/>
          </ac:grpSpMkLst>
        </pc:grpChg>
        <pc:grpChg chg="add mod">
          <ac:chgData name="Renata Festa" userId="6f22df47-533b-4c2a-a3c1-7f9ad1d63e10" providerId="ADAL" clId="{D9D6212D-B474-44D1-8C31-1C18EFD4DC64}" dt="2020-03-26T23:28:17.268" v="560" actId="1036"/>
          <ac:grpSpMkLst>
            <pc:docMk/>
            <pc:sldMk cId="251758242" sldId="600"/>
            <ac:grpSpMk id="29" creationId="{16CA97D4-B81F-4795-AA1C-0A80C551BC9E}"/>
          </ac:grpSpMkLst>
        </pc:grpChg>
        <pc:grpChg chg="add del">
          <ac:chgData name="Renata Festa" userId="6f22df47-533b-4c2a-a3c1-7f9ad1d63e10" providerId="ADAL" clId="{D9D6212D-B474-44D1-8C31-1C18EFD4DC64}" dt="2020-03-26T23:28:07.207" v="553"/>
          <ac:grpSpMkLst>
            <pc:docMk/>
            <pc:sldMk cId="251758242" sldId="600"/>
            <ac:grpSpMk id="39" creationId="{9927526F-2187-4EE5-B397-76358A2D6A8C}"/>
          </ac:grpSpMkLst>
        </pc:grpChg>
        <pc:grpChg chg="add del">
          <ac:chgData name="Renata Festa" userId="6f22df47-533b-4c2a-a3c1-7f9ad1d63e10" providerId="ADAL" clId="{D9D6212D-B474-44D1-8C31-1C18EFD4DC64}" dt="2020-03-26T23:28:07.207" v="553"/>
          <ac:grpSpMkLst>
            <pc:docMk/>
            <pc:sldMk cId="251758242" sldId="600"/>
            <ac:grpSpMk id="64" creationId="{1BDE068E-62CB-4968-AA89-1AEE6B69C395}"/>
          </ac:grpSpMkLst>
        </pc:grpChg>
        <pc:picChg chg="add mod">
          <ac:chgData name="Renata Festa" userId="6f22df47-533b-4c2a-a3c1-7f9ad1d63e10" providerId="ADAL" clId="{D9D6212D-B474-44D1-8C31-1C18EFD4DC64}" dt="2020-03-26T23:28:17.268" v="560" actId="1036"/>
          <ac:picMkLst>
            <pc:docMk/>
            <pc:sldMk cId="251758242" sldId="600"/>
            <ac:picMk id="21" creationId="{6EF97822-1C45-4588-849D-8721ECD2A4C2}"/>
          </ac:picMkLst>
        </pc:picChg>
        <pc:picChg chg="add del">
          <ac:chgData name="Renata Festa" userId="6f22df47-533b-4c2a-a3c1-7f9ad1d63e10" providerId="ADAL" clId="{D9D6212D-B474-44D1-8C31-1C18EFD4DC64}" dt="2020-03-26T23:28:07.207" v="553"/>
          <ac:picMkLst>
            <pc:docMk/>
            <pc:sldMk cId="251758242" sldId="600"/>
            <ac:picMk id="56" creationId="{7A48749D-FDAB-4615-A5B4-3C08EB35EFEF}"/>
          </ac:picMkLst>
        </pc:picChg>
        <pc:cxnChg chg="add mod">
          <ac:chgData name="Renata Festa" userId="6f22df47-533b-4c2a-a3c1-7f9ad1d63e10" providerId="ADAL" clId="{D9D6212D-B474-44D1-8C31-1C18EFD4DC64}" dt="2020-03-26T23:28:17.268" v="560" actId="1036"/>
          <ac:cxnSpMkLst>
            <pc:docMk/>
            <pc:sldMk cId="251758242" sldId="600"/>
            <ac:cxnSpMk id="23" creationId="{54FE9F75-0390-4525-BC4A-7C011C247A0A}"/>
          </ac:cxnSpMkLst>
        </pc:cxnChg>
        <pc:cxnChg chg="add mod">
          <ac:chgData name="Renata Festa" userId="6f22df47-533b-4c2a-a3c1-7f9ad1d63e10" providerId="ADAL" clId="{D9D6212D-B474-44D1-8C31-1C18EFD4DC64}" dt="2020-03-26T23:28:17.268" v="560" actId="1036"/>
          <ac:cxnSpMkLst>
            <pc:docMk/>
            <pc:sldMk cId="251758242" sldId="600"/>
            <ac:cxnSpMk id="24" creationId="{EDFC82E2-E386-4525-9DE5-9E1F23811BC3}"/>
          </ac:cxnSpMkLst>
        </pc:cxnChg>
        <pc:cxnChg chg="add del">
          <ac:chgData name="Renata Festa" userId="6f22df47-533b-4c2a-a3c1-7f9ad1d63e10" providerId="ADAL" clId="{D9D6212D-B474-44D1-8C31-1C18EFD4DC64}" dt="2020-03-26T23:28:07.207" v="553"/>
          <ac:cxnSpMkLst>
            <pc:docMk/>
            <pc:sldMk cId="251758242" sldId="600"/>
            <ac:cxnSpMk id="58" creationId="{CA85F661-C4A3-4565-86F3-DE16C8DBA2E2}"/>
          </ac:cxnSpMkLst>
        </pc:cxnChg>
        <pc:cxnChg chg="add del">
          <ac:chgData name="Renata Festa" userId="6f22df47-533b-4c2a-a3c1-7f9ad1d63e10" providerId="ADAL" clId="{D9D6212D-B474-44D1-8C31-1C18EFD4DC64}" dt="2020-03-26T23:28:07.207" v="553"/>
          <ac:cxnSpMkLst>
            <pc:docMk/>
            <pc:sldMk cId="251758242" sldId="600"/>
            <ac:cxnSpMk id="59" creationId="{3C9D5CCB-C039-4096-B2ED-3C8194E5A813}"/>
          </ac:cxnSpMkLst>
        </pc:cxnChg>
      </pc:sldChg>
      <pc:sldChg chg="add del">
        <pc:chgData name="Renata Festa" userId="6f22df47-533b-4c2a-a3c1-7f9ad1d63e10" providerId="ADAL" clId="{D9D6212D-B474-44D1-8C31-1C18EFD4DC64}" dt="2020-03-26T21:04:41.689" v="379" actId="47"/>
        <pc:sldMkLst>
          <pc:docMk/>
          <pc:sldMk cId="2641550258" sldId="600"/>
        </pc:sldMkLst>
      </pc:sldChg>
      <pc:sldChg chg="add del">
        <pc:chgData name="Renata Festa" userId="6f22df47-533b-4c2a-a3c1-7f9ad1d63e10" providerId="ADAL" clId="{D9D6212D-B474-44D1-8C31-1C18EFD4DC64}" dt="2020-03-26T21:04:42.101" v="380" actId="47"/>
        <pc:sldMkLst>
          <pc:docMk/>
          <pc:sldMk cId="125598976" sldId="601"/>
        </pc:sldMkLst>
      </pc:sldChg>
      <pc:sldChg chg="add del">
        <pc:chgData name="Renata Festa" userId="6f22df47-533b-4c2a-a3c1-7f9ad1d63e10" providerId="ADAL" clId="{D9D6212D-B474-44D1-8C31-1C18EFD4DC64}" dt="2020-03-26T23:29:13.578" v="570" actId="47"/>
        <pc:sldMkLst>
          <pc:docMk/>
          <pc:sldMk cId="1232567173" sldId="601"/>
        </pc:sldMkLst>
      </pc:sldChg>
      <pc:sldChg chg="addSp delSp modSp add mod">
        <pc:chgData name="Renata Festa" userId="6f22df47-533b-4c2a-a3c1-7f9ad1d63e10" providerId="ADAL" clId="{D9D6212D-B474-44D1-8C31-1C18EFD4DC64}" dt="2020-03-26T23:29:04.722" v="567" actId="12084"/>
        <pc:sldMkLst>
          <pc:docMk/>
          <pc:sldMk cId="2577129183" sldId="602"/>
        </pc:sldMkLst>
        <pc:spChg chg="mod">
          <ac:chgData name="Renata Festa" userId="6f22df47-533b-4c2a-a3c1-7f9ad1d63e10" providerId="ADAL" clId="{D9D6212D-B474-44D1-8C31-1C18EFD4DC64}" dt="2020-03-26T23:28:32.989" v="562"/>
          <ac:spMkLst>
            <pc:docMk/>
            <pc:sldMk cId="2577129183" sldId="602"/>
            <ac:spMk id="2" creationId="{E3764662-7A48-4243-8DD0-F3BC7494DF84}"/>
          </ac:spMkLst>
        </pc:spChg>
        <pc:spChg chg="del mod">
          <ac:chgData name="Renata Festa" userId="6f22df47-533b-4c2a-a3c1-7f9ad1d63e10" providerId="ADAL" clId="{D9D6212D-B474-44D1-8C31-1C18EFD4DC64}" dt="2020-03-26T23:29:04.722" v="567" actId="12084"/>
          <ac:spMkLst>
            <pc:docMk/>
            <pc:sldMk cId="2577129183" sldId="602"/>
            <ac:spMk id="3" creationId="{3CCA43A9-01AD-451C-A62B-3B1E6F581713}"/>
          </ac:spMkLst>
        </pc:spChg>
        <pc:graphicFrameChg chg="add mod">
          <ac:chgData name="Renata Festa" userId="6f22df47-533b-4c2a-a3c1-7f9ad1d63e10" providerId="ADAL" clId="{D9D6212D-B474-44D1-8C31-1C18EFD4DC64}" dt="2020-03-26T23:29:04.722" v="567" actId="12084"/>
          <ac:graphicFrameMkLst>
            <pc:docMk/>
            <pc:sldMk cId="2577129183" sldId="602"/>
            <ac:graphicFrameMk id="4" creationId="{AFB5F888-008B-4020-8CE2-89D3A395718A}"/>
          </ac:graphicFrameMkLst>
        </pc:graphicFrameChg>
      </pc:sldChg>
      <pc:sldChg chg="add del">
        <pc:chgData name="Renata Festa" userId="6f22df47-533b-4c2a-a3c1-7f9ad1d63e10" providerId="ADAL" clId="{D9D6212D-B474-44D1-8C31-1C18EFD4DC64}" dt="2020-03-26T21:04:42.714" v="381" actId="47"/>
        <pc:sldMkLst>
          <pc:docMk/>
          <pc:sldMk cId="3938624113" sldId="602"/>
        </pc:sldMkLst>
      </pc:sldChg>
      <pc:sldChg chg="modSp add mod">
        <pc:chgData name="Renata Festa" userId="6f22df47-533b-4c2a-a3c1-7f9ad1d63e10" providerId="ADAL" clId="{D9D6212D-B474-44D1-8C31-1C18EFD4DC64}" dt="2020-03-26T23:29:41.347" v="578" actId="20577"/>
        <pc:sldMkLst>
          <pc:docMk/>
          <pc:sldMk cId="1226256449" sldId="603"/>
        </pc:sldMkLst>
        <pc:spChg chg="mod">
          <ac:chgData name="Renata Festa" userId="6f22df47-533b-4c2a-a3c1-7f9ad1d63e10" providerId="ADAL" clId="{D9D6212D-B474-44D1-8C31-1C18EFD4DC64}" dt="2020-03-26T23:29:41.347" v="578" actId="20577"/>
          <ac:spMkLst>
            <pc:docMk/>
            <pc:sldMk cId="1226256449" sldId="603"/>
            <ac:spMk id="3" creationId="{8F64A22E-2B43-4FC6-AF08-0CDB3F9E9269}"/>
          </ac:spMkLst>
        </pc:spChg>
        <pc:spChg chg="mod">
          <ac:chgData name="Renata Festa" userId="6f22df47-533b-4c2a-a3c1-7f9ad1d63e10" providerId="ADAL" clId="{D9D6212D-B474-44D1-8C31-1C18EFD4DC64}" dt="2020-03-26T23:29:29.530" v="574" actId="20577"/>
          <ac:spMkLst>
            <pc:docMk/>
            <pc:sldMk cId="1226256449" sldId="603"/>
            <ac:spMk id="6" creationId="{637E159C-9ACF-48AE-927A-D5FB13695C7F}"/>
          </ac:spMkLst>
        </pc:spChg>
      </pc:sldChg>
      <pc:sldChg chg="add del">
        <pc:chgData name="Renata Festa" userId="6f22df47-533b-4c2a-a3c1-7f9ad1d63e10" providerId="ADAL" clId="{D9D6212D-B474-44D1-8C31-1C18EFD4DC64}" dt="2020-03-26T23:29:12.612" v="568" actId="47"/>
        <pc:sldMkLst>
          <pc:docMk/>
          <pc:sldMk cId="3683400397" sldId="603"/>
        </pc:sldMkLst>
      </pc:sldChg>
      <pc:sldChg chg="add del">
        <pc:chgData name="Renata Festa" userId="6f22df47-533b-4c2a-a3c1-7f9ad1d63e10" providerId="ADAL" clId="{D9D6212D-B474-44D1-8C31-1C18EFD4DC64}" dt="2020-03-26T23:29:12.984" v="569" actId="47"/>
        <pc:sldMkLst>
          <pc:docMk/>
          <pc:sldMk cId="2095591877" sldId="604"/>
        </pc:sldMkLst>
      </pc:sldChg>
      <pc:sldChg chg="addSp delSp modSp add mod modAnim">
        <pc:chgData name="Renata Festa" userId="6f22df47-533b-4c2a-a3c1-7f9ad1d63e10" providerId="ADAL" clId="{D9D6212D-B474-44D1-8C31-1C18EFD4DC64}" dt="2020-03-26T23:34:24.658" v="636"/>
        <pc:sldMkLst>
          <pc:docMk/>
          <pc:sldMk cId="2138308410" sldId="604"/>
        </pc:sldMkLst>
        <pc:spChg chg="mod">
          <ac:chgData name="Renata Festa" userId="6f22df47-533b-4c2a-a3c1-7f9ad1d63e10" providerId="ADAL" clId="{D9D6212D-B474-44D1-8C31-1C18EFD4DC64}" dt="2020-03-26T23:32:27.443" v="623"/>
          <ac:spMkLst>
            <pc:docMk/>
            <pc:sldMk cId="2138308410" sldId="604"/>
            <ac:spMk id="2" creationId="{EB67312A-9819-43C6-8D84-D9136E6CFFCC}"/>
          </ac:spMkLst>
        </pc:spChg>
        <pc:spChg chg="del">
          <ac:chgData name="Renata Festa" userId="6f22df47-533b-4c2a-a3c1-7f9ad1d63e10" providerId="ADAL" clId="{D9D6212D-B474-44D1-8C31-1C18EFD4DC64}" dt="2020-03-26T23:32:31.833" v="624" actId="478"/>
          <ac:spMkLst>
            <pc:docMk/>
            <pc:sldMk cId="2138308410" sldId="604"/>
            <ac:spMk id="3" creationId="{F35E8CBB-5A7D-4DEF-BAF7-8DD5D042F9E0}"/>
          </ac:spMkLst>
        </pc:spChg>
        <pc:spChg chg="del">
          <ac:chgData name="Renata Festa" userId="6f22df47-533b-4c2a-a3c1-7f9ad1d63e10" providerId="ADAL" clId="{D9D6212D-B474-44D1-8C31-1C18EFD4DC64}" dt="2020-03-26T23:32:47.939" v="625" actId="3680"/>
          <ac:spMkLst>
            <pc:docMk/>
            <pc:sldMk cId="2138308410" sldId="604"/>
            <ac:spMk id="4" creationId="{F3616A99-090F-45E1-9334-58D58B148205}"/>
          </ac:spMkLst>
        </pc:spChg>
        <pc:spChg chg="add">
          <ac:chgData name="Renata Festa" userId="6f22df47-533b-4c2a-a3c1-7f9ad1d63e10" providerId="ADAL" clId="{D9D6212D-B474-44D1-8C31-1C18EFD4DC64}" dt="2020-03-26T23:33:51.852" v="633"/>
          <ac:spMkLst>
            <pc:docMk/>
            <pc:sldMk cId="2138308410" sldId="604"/>
            <ac:spMk id="7" creationId="{39B28131-2BB4-4C7E-90EA-CA8188781BA2}"/>
          </ac:spMkLst>
        </pc:spChg>
        <pc:spChg chg="add">
          <ac:chgData name="Renata Festa" userId="6f22df47-533b-4c2a-a3c1-7f9ad1d63e10" providerId="ADAL" clId="{D9D6212D-B474-44D1-8C31-1C18EFD4DC64}" dt="2020-03-26T23:33:51.852" v="633"/>
          <ac:spMkLst>
            <pc:docMk/>
            <pc:sldMk cId="2138308410" sldId="604"/>
            <ac:spMk id="8" creationId="{1EE8B0FA-2743-496C-8AA3-73977E0DC2D8}"/>
          </ac:spMkLst>
        </pc:spChg>
        <pc:spChg chg="add">
          <ac:chgData name="Renata Festa" userId="6f22df47-533b-4c2a-a3c1-7f9ad1d63e10" providerId="ADAL" clId="{D9D6212D-B474-44D1-8C31-1C18EFD4DC64}" dt="2020-03-26T23:33:51.852" v="633"/>
          <ac:spMkLst>
            <pc:docMk/>
            <pc:sldMk cId="2138308410" sldId="604"/>
            <ac:spMk id="9" creationId="{27F0EFA6-7FD2-4977-AA80-31376DE5DCEF}"/>
          </ac:spMkLst>
        </pc:spChg>
        <pc:spChg chg="add">
          <ac:chgData name="Renata Festa" userId="6f22df47-533b-4c2a-a3c1-7f9ad1d63e10" providerId="ADAL" clId="{D9D6212D-B474-44D1-8C31-1C18EFD4DC64}" dt="2020-03-26T23:33:51.852" v="633"/>
          <ac:spMkLst>
            <pc:docMk/>
            <pc:sldMk cId="2138308410" sldId="604"/>
            <ac:spMk id="10" creationId="{605F293C-FCC8-43DD-AFB6-66895335272A}"/>
          </ac:spMkLst>
        </pc:spChg>
        <pc:spChg chg="add">
          <ac:chgData name="Renata Festa" userId="6f22df47-533b-4c2a-a3c1-7f9ad1d63e10" providerId="ADAL" clId="{D9D6212D-B474-44D1-8C31-1C18EFD4DC64}" dt="2020-03-26T23:33:51.852" v="633"/>
          <ac:spMkLst>
            <pc:docMk/>
            <pc:sldMk cId="2138308410" sldId="604"/>
            <ac:spMk id="11" creationId="{50EC1260-D595-41FF-BC79-D12FD1634A65}"/>
          </ac:spMkLst>
        </pc:spChg>
        <pc:spChg chg="add">
          <ac:chgData name="Renata Festa" userId="6f22df47-533b-4c2a-a3c1-7f9ad1d63e10" providerId="ADAL" clId="{D9D6212D-B474-44D1-8C31-1C18EFD4DC64}" dt="2020-03-26T23:33:51.852" v="633"/>
          <ac:spMkLst>
            <pc:docMk/>
            <pc:sldMk cId="2138308410" sldId="604"/>
            <ac:spMk id="12" creationId="{7F1D176A-B802-47E6-9475-6C2D76C2BBE3}"/>
          </ac:spMkLst>
        </pc:spChg>
        <pc:spChg chg="add">
          <ac:chgData name="Renata Festa" userId="6f22df47-533b-4c2a-a3c1-7f9ad1d63e10" providerId="ADAL" clId="{D9D6212D-B474-44D1-8C31-1C18EFD4DC64}" dt="2020-03-26T23:33:51.852" v="633"/>
          <ac:spMkLst>
            <pc:docMk/>
            <pc:sldMk cId="2138308410" sldId="604"/>
            <ac:spMk id="13" creationId="{C63AE5AF-632B-463B-8DC5-6F2661624135}"/>
          </ac:spMkLst>
        </pc:spChg>
        <pc:spChg chg="add">
          <ac:chgData name="Renata Festa" userId="6f22df47-533b-4c2a-a3c1-7f9ad1d63e10" providerId="ADAL" clId="{D9D6212D-B474-44D1-8C31-1C18EFD4DC64}" dt="2020-03-26T23:33:51.852" v="633"/>
          <ac:spMkLst>
            <pc:docMk/>
            <pc:sldMk cId="2138308410" sldId="604"/>
            <ac:spMk id="14" creationId="{44E63FF6-6F13-4904-A6DB-711E30ACDDCD}"/>
          </ac:spMkLst>
        </pc:spChg>
        <pc:spChg chg="add">
          <ac:chgData name="Renata Festa" userId="6f22df47-533b-4c2a-a3c1-7f9ad1d63e10" providerId="ADAL" clId="{D9D6212D-B474-44D1-8C31-1C18EFD4DC64}" dt="2020-03-26T23:33:51.852" v="633"/>
          <ac:spMkLst>
            <pc:docMk/>
            <pc:sldMk cId="2138308410" sldId="604"/>
            <ac:spMk id="15" creationId="{CC3A063E-EFF0-4665-8517-D98A779185D8}"/>
          </ac:spMkLst>
        </pc:spChg>
        <pc:spChg chg="add">
          <ac:chgData name="Renata Festa" userId="6f22df47-533b-4c2a-a3c1-7f9ad1d63e10" providerId="ADAL" clId="{D9D6212D-B474-44D1-8C31-1C18EFD4DC64}" dt="2020-03-26T23:33:51.852" v="633"/>
          <ac:spMkLst>
            <pc:docMk/>
            <pc:sldMk cId="2138308410" sldId="604"/>
            <ac:spMk id="16" creationId="{7DCD7093-361B-4C4C-89F5-A089F62C83EE}"/>
          </ac:spMkLst>
        </pc:spChg>
        <pc:spChg chg="add">
          <ac:chgData name="Renata Festa" userId="6f22df47-533b-4c2a-a3c1-7f9ad1d63e10" providerId="ADAL" clId="{D9D6212D-B474-44D1-8C31-1C18EFD4DC64}" dt="2020-03-26T23:33:51.852" v="633"/>
          <ac:spMkLst>
            <pc:docMk/>
            <pc:sldMk cId="2138308410" sldId="604"/>
            <ac:spMk id="17" creationId="{E19193EB-5672-4DE5-8B08-542B79688052}"/>
          </ac:spMkLst>
        </pc:spChg>
        <pc:spChg chg="add">
          <ac:chgData name="Renata Festa" userId="6f22df47-533b-4c2a-a3c1-7f9ad1d63e10" providerId="ADAL" clId="{D9D6212D-B474-44D1-8C31-1C18EFD4DC64}" dt="2020-03-26T23:33:51.852" v="633"/>
          <ac:spMkLst>
            <pc:docMk/>
            <pc:sldMk cId="2138308410" sldId="604"/>
            <ac:spMk id="18" creationId="{E7EB9489-2A63-4F8B-AD68-360D606BFF2E}"/>
          </ac:spMkLst>
        </pc:spChg>
        <pc:spChg chg="add">
          <ac:chgData name="Renata Festa" userId="6f22df47-533b-4c2a-a3c1-7f9ad1d63e10" providerId="ADAL" clId="{D9D6212D-B474-44D1-8C31-1C18EFD4DC64}" dt="2020-03-26T23:33:51.852" v="633"/>
          <ac:spMkLst>
            <pc:docMk/>
            <pc:sldMk cId="2138308410" sldId="604"/>
            <ac:spMk id="19" creationId="{CB975C1C-F13A-4E80-9639-9CDAE123FF5A}"/>
          </ac:spMkLst>
        </pc:spChg>
        <pc:spChg chg="add">
          <ac:chgData name="Renata Festa" userId="6f22df47-533b-4c2a-a3c1-7f9ad1d63e10" providerId="ADAL" clId="{D9D6212D-B474-44D1-8C31-1C18EFD4DC64}" dt="2020-03-26T23:33:51.852" v="633"/>
          <ac:spMkLst>
            <pc:docMk/>
            <pc:sldMk cId="2138308410" sldId="604"/>
            <ac:spMk id="20" creationId="{0ADC8817-3BEE-4DB5-92B8-A10D0ECF3379}"/>
          </ac:spMkLst>
        </pc:spChg>
        <pc:spChg chg="add">
          <ac:chgData name="Renata Festa" userId="6f22df47-533b-4c2a-a3c1-7f9ad1d63e10" providerId="ADAL" clId="{D9D6212D-B474-44D1-8C31-1C18EFD4DC64}" dt="2020-03-26T23:33:51.852" v="633"/>
          <ac:spMkLst>
            <pc:docMk/>
            <pc:sldMk cId="2138308410" sldId="604"/>
            <ac:spMk id="21" creationId="{E1E81136-57CB-4E43-9B32-EAD87AA6ED29}"/>
          </ac:spMkLst>
        </pc:spChg>
        <pc:spChg chg="add">
          <ac:chgData name="Renata Festa" userId="6f22df47-533b-4c2a-a3c1-7f9ad1d63e10" providerId="ADAL" clId="{D9D6212D-B474-44D1-8C31-1C18EFD4DC64}" dt="2020-03-26T23:33:51.852" v="633"/>
          <ac:spMkLst>
            <pc:docMk/>
            <pc:sldMk cId="2138308410" sldId="604"/>
            <ac:spMk id="22" creationId="{9EDDDEFB-871C-4977-87B6-4E9FC890A6B5}"/>
          </ac:spMkLst>
        </pc:spChg>
        <pc:spChg chg="add">
          <ac:chgData name="Renata Festa" userId="6f22df47-533b-4c2a-a3c1-7f9ad1d63e10" providerId="ADAL" clId="{D9D6212D-B474-44D1-8C31-1C18EFD4DC64}" dt="2020-03-26T23:33:51.852" v="633"/>
          <ac:spMkLst>
            <pc:docMk/>
            <pc:sldMk cId="2138308410" sldId="604"/>
            <ac:spMk id="23" creationId="{54BC0967-A7BE-4632-891C-2782B852AC68}"/>
          </ac:spMkLst>
        </pc:spChg>
        <pc:spChg chg="add">
          <ac:chgData name="Renata Festa" userId="6f22df47-533b-4c2a-a3c1-7f9ad1d63e10" providerId="ADAL" clId="{D9D6212D-B474-44D1-8C31-1C18EFD4DC64}" dt="2020-03-26T23:33:51.852" v="633"/>
          <ac:spMkLst>
            <pc:docMk/>
            <pc:sldMk cId="2138308410" sldId="604"/>
            <ac:spMk id="24" creationId="{49EFFB44-729F-46AC-A29E-8426803A659E}"/>
          </ac:spMkLst>
        </pc:spChg>
        <pc:spChg chg="add">
          <ac:chgData name="Renata Festa" userId="6f22df47-533b-4c2a-a3c1-7f9ad1d63e10" providerId="ADAL" clId="{D9D6212D-B474-44D1-8C31-1C18EFD4DC64}" dt="2020-03-26T23:33:51.852" v="633"/>
          <ac:spMkLst>
            <pc:docMk/>
            <pc:sldMk cId="2138308410" sldId="604"/>
            <ac:spMk id="25" creationId="{308347A0-1118-4A5D-8B74-26572D619CD0}"/>
          </ac:spMkLst>
        </pc:spChg>
        <pc:spChg chg="add">
          <ac:chgData name="Renata Festa" userId="6f22df47-533b-4c2a-a3c1-7f9ad1d63e10" providerId="ADAL" clId="{D9D6212D-B474-44D1-8C31-1C18EFD4DC64}" dt="2020-03-26T23:33:51.852" v="633"/>
          <ac:spMkLst>
            <pc:docMk/>
            <pc:sldMk cId="2138308410" sldId="604"/>
            <ac:spMk id="26" creationId="{937FE991-C467-49AC-8E46-9090FB172199}"/>
          </ac:spMkLst>
        </pc:spChg>
        <pc:spChg chg="add">
          <ac:chgData name="Renata Festa" userId="6f22df47-533b-4c2a-a3c1-7f9ad1d63e10" providerId="ADAL" clId="{D9D6212D-B474-44D1-8C31-1C18EFD4DC64}" dt="2020-03-26T23:33:51.852" v="633"/>
          <ac:spMkLst>
            <pc:docMk/>
            <pc:sldMk cId="2138308410" sldId="604"/>
            <ac:spMk id="27" creationId="{FFA6C37D-ED11-495D-AD1B-271BDDC033BA}"/>
          </ac:spMkLst>
        </pc:spChg>
        <pc:spChg chg="add">
          <ac:chgData name="Renata Festa" userId="6f22df47-533b-4c2a-a3c1-7f9ad1d63e10" providerId="ADAL" clId="{D9D6212D-B474-44D1-8C31-1C18EFD4DC64}" dt="2020-03-26T23:33:51.852" v="633"/>
          <ac:spMkLst>
            <pc:docMk/>
            <pc:sldMk cId="2138308410" sldId="604"/>
            <ac:spMk id="28" creationId="{781246E4-A621-4D24-B41E-A1D3A89A20F1}"/>
          </ac:spMkLst>
        </pc:spChg>
        <pc:spChg chg="add">
          <ac:chgData name="Renata Festa" userId="6f22df47-533b-4c2a-a3c1-7f9ad1d63e10" providerId="ADAL" clId="{D9D6212D-B474-44D1-8C31-1C18EFD4DC64}" dt="2020-03-26T23:33:51.852" v="633"/>
          <ac:spMkLst>
            <pc:docMk/>
            <pc:sldMk cId="2138308410" sldId="604"/>
            <ac:spMk id="29" creationId="{F9402741-328F-43A0-B183-961E015DAB7B}"/>
          </ac:spMkLst>
        </pc:spChg>
        <pc:spChg chg="add">
          <ac:chgData name="Renata Festa" userId="6f22df47-533b-4c2a-a3c1-7f9ad1d63e10" providerId="ADAL" clId="{D9D6212D-B474-44D1-8C31-1C18EFD4DC64}" dt="2020-03-26T23:33:51.852" v="633"/>
          <ac:spMkLst>
            <pc:docMk/>
            <pc:sldMk cId="2138308410" sldId="604"/>
            <ac:spMk id="30" creationId="{4DE5A536-2C3D-4926-A509-6287E964E425}"/>
          </ac:spMkLst>
        </pc:spChg>
        <pc:spChg chg="add">
          <ac:chgData name="Renata Festa" userId="6f22df47-533b-4c2a-a3c1-7f9ad1d63e10" providerId="ADAL" clId="{D9D6212D-B474-44D1-8C31-1C18EFD4DC64}" dt="2020-03-26T23:33:51.852" v="633"/>
          <ac:spMkLst>
            <pc:docMk/>
            <pc:sldMk cId="2138308410" sldId="604"/>
            <ac:spMk id="31" creationId="{0FC5C75D-ECE0-41EE-A430-494E7E8801F1}"/>
          </ac:spMkLst>
        </pc:spChg>
        <pc:spChg chg="add">
          <ac:chgData name="Renata Festa" userId="6f22df47-533b-4c2a-a3c1-7f9ad1d63e10" providerId="ADAL" clId="{D9D6212D-B474-44D1-8C31-1C18EFD4DC64}" dt="2020-03-26T23:33:51.852" v="633"/>
          <ac:spMkLst>
            <pc:docMk/>
            <pc:sldMk cId="2138308410" sldId="604"/>
            <ac:spMk id="32" creationId="{735B8E5E-0212-46F7-BB6E-2B03A9C24F17}"/>
          </ac:spMkLst>
        </pc:spChg>
        <pc:spChg chg="add">
          <ac:chgData name="Renata Festa" userId="6f22df47-533b-4c2a-a3c1-7f9ad1d63e10" providerId="ADAL" clId="{D9D6212D-B474-44D1-8C31-1C18EFD4DC64}" dt="2020-03-26T23:33:51.852" v="633"/>
          <ac:spMkLst>
            <pc:docMk/>
            <pc:sldMk cId="2138308410" sldId="604"/>
            <ac:spMk id="33" creationId="{4231DB3F-6877-4B23-B470-874FE1290E5F}"/>
          </ac:spMkLst>
        </pc:spChg>
        <pc:spChg chg="add">
          <ac:chgData name="Renata Festa" userId="6f22df47-533b-4c2a-a3c1-7f9ad1d63e10" providerId="ADAL" clId="{D9D6212D-B474-44D1-8C31-1C18EFD4DC64}" dt="2020-03-26T23:33:51.852" v="633"/>
          <ac:spMkLst>
            <pc:docMk/>
            <pc:sldMk cId="2138308410" sldId="604"/>
            <ac:spMk id="34" creationId="{3901F710-174E-4D79-927C-E11283354EC3}"/>
          </ac:spMkLst>
        </pc:spChg>
        <pc:spChg chg="add">
          <ac:chgData name="Renata Festa" userId="6f22df47-533b-4c2a-a3c1-7f9ad1d63e10" providerId="ADAL" clId="{D9D6212D-B474-44D1-8C31-1C18EFD4DC64}" dt="2020-03-26T23:33:51.852" v="633"/>
          <ac:spMkLst>
            <pc:docMk/>
            <pc:sldMk cId="2138308410" sldId="604"/>
            <ac:spMk id="35" creationId="{BF8DD85A-3CEB-47BE-BE7D-2FC2E98B093D}"/>
          </ac:spMkLst>
        </pc:spChg>
        <pc:spChg chg="add">
          <ac:chgData name="Renata Festa" userId="6f22df47-533b-4c2a-a3c1-7f9ad1d63e10" providerId="ADAL" clId="{D9D6212D-B474-44D1-8C31-1C18EFD4DC64}" dt="2020-03-26T23:33:51.852" v="633"/>
          <ac:spMkLst>
            <pc:docMk/>
            <pc:sldMk cId="2138308410" sldId="604"/>
            <ac:spMk id="36" creationId="{3B44DA2A-628A-4A9F-B0B9-AC44853EA7C2}"/>
          </ac:spMkLst>
        </pc:spChg>
        <pc:spChg chg="add">
          <ac:chgData name="Renata Festa" userId="6f22df47-533b-4c2a-a3c1-7f9ad1d63e10" providerId="ADAL" clId="{D9D6212D-B474-44D1-8C31-1C18EFD4DC64}" dt="2020-03-26T23:33:51.852" v="633"/>
          <ac:spMkLst>
            <pc:docMk/>
            <pc:sldMk cId="2138308410" sldId="604"/>
            <ac:spMk id="65" creationId="{B8DFF742-3D08-4355-A29B-7D3C31548AF4}"/>
          </ac:spMkLst>
        </pc:spChg>
        <pc:spChg chg="add">
          <ac:chgData name="Renata Festa" userId="6f22df47-533b-4c2a-a3c1-7f9ad1d63e10" providerId="ADAL" clId="{D9D6212D-B474-44D1-8C31-1C18EFD4DC64}" dt="2020-03-26T23:33:51.852" v="633"/>
          <ac:spMkLst>
            <pc:docMk/>
            <pc:sldMk cId="2138308410" sldId="604"/>
            <ac:spMk id="79" creationId="{B660AA73-C63F-4AF6-BCD9-DBFD427303A9}"/>
          </ac:spMkLst>
        </pc:spChg>
        <pc:spChg chg="add">
          <ac:chgData name="Renata Festa" userId="6f22df47-533b-4c2a-a3c1-7f9ad1d63e10" providerId="ADAL" clId="{D9D6212D-B474-44D1-8C31-1C18EFD4DC64}" dt="2020-03-26T23:33:51.852" v="633"/>
          <ac:spMkLst>
            <pc:docMk/>
            <pc:sldMk cId="2138308410" sldId="604"/>
            <ac:spMk id="93" creationId="{855972FB-953E-4ECF-A05C-38D24CF15FCE}"/>
          </ac:spMkLst>
        </pc:spChg>
        <pc:grpChg chg="add">
          <ac:chgData name="Renata Festa" userId="6f22df47-533b-4c2a-a3c1-7f9ad1d63e10" providerId="ADAL" clId="{D9D6212D-B474-44D1-8C31-1C18EFD4DC64}" dt="2020-03-26T23:33:51.852" v="633"/>
          <ac:grpSpMkLst>
            <pc:docMk/>
            <pc:sldMk cId="2138308410" sldId="604"/>
            <ac:grpSpMk id="37" creationId="{248F09DD-B05E-4FA6-BD07-8CA900C86996}"/>
          </ac:grpSpMkLst>
        </pc:grpChg>
        <pc:grpChg chg="add">
          <ac:chgData name="Renata Festa" userId="6f22df47-533b-4c2a-a3c1-7f9ad1d63e10" providerId="ADAL" clId="{D9D6212D-B474-44D1-8C31-1C18EFD4DC64}" dt="2020-03-26T23:33:51.852" v="633"/>
          <ac:grpSpMkLst>
            <pc:docMk/>
            <pc:sldMk cId="2138308410" sldId="604"/>
            <ac:grpSpMk id="50" creationId="{B3B3A983-3B7B-4666-BA83-7CF3EF64A835}"/>
          </ac:grpSpMkLst>
        </pc:grpChg>
        <pc:grpChg chg="add">
          <ac:chgData name="Renata Festa" userId="6f22df47-533b-4c2a-a3c1-7f9ad1d63e10" providerId="ADAL" clId="{D9D6212D-B474-44D1-8C31-1C18EFD4DC64}" dt="2020-03-26T23:33:51.852" v="633"/>
          <ac:grpSpMkLst>
            <pc:docMk/>
            <pc:sldMk cId="2138308410" sldId="604"/>
            <ac:grpSpMk id="66" creationId="{1EEC8164-8217-47BF-A527-1E0197C155F0}"/>
          </ac:grpSpMkLst>
        </pc:grpChg>
        <pc:grpChg chg="add">
          <ac:chgData name="Renata Festa" userId="6f22df47-533b-4c2a-a3c1-7f9ad1d63e10" providerId="ADAL" clId="{D9D6212D-B474-44D1-8C31-1C18EFD4DC64}" dt="2020-03-26T23:33:51.852" v="633"/>
          <ac:grpSpMkLst>
            <pc:docMk/>
            <pc:sldMk cId="2138308410" sldId="604"/>
            <ac:grpSpMk id="80" creationId="{666D41ED-B0C0-4947-881E-F249CB0DBEEA}"/>
          </ac:grpSpMkLst>
        </pc:grpChg>
        <pc:grpChg chg="add">
          <ac:chgData name="Renata Festa" userId="6f22df47-533b-4c2a-a3c1-7f9ad1d63e10" providerId="ADAL" clId="{D9D6212D-B474-44D1-8C31-1C18EFD4DC64}" dt="2020-03-26T23:33:51.852" v="633"/>
          <ac:grpSpMkLst>
            <pc:docMk/>
            <pc:sldMk cId="2138308410" sldId="604"/>
            <ac:grpSpMk id="94" creationId="{CAC1167B-CD2F-4182-85F0-C5B0899505EB}"/>
          </ac:grpSpMkLst>
        </pc:grpChg>
        <pc:grpChg chg="add">
          <ac:chgData name="Renata Festa" userId="6f22df47-533b-4c2a-a3c1-7f9ad1d63e10" providerId="ADAL" clId="{D9D6212D-B474-44D1-8C31-1C18EFD4DC64}" dt="2020-03-26T23:33:51.852" v="633"/>
          <ac:grpSpMkLst>
            <pc:docMk/>
            <pc:sldMk cId="2138308410" sldId="604"/>
            <ac:grpSpMk id="107" creationId="{9CB610CE-8208-43ED-9DAF-DE31D1CCDA13}"/>
          </ac:grpSpMkLst>
        </pc:grpChg>
        <pc:graphicFrameChg chg="add mod ord modGraphic">
          <ac:chgData name="Renata Festa" userId="6f22df47-533b-4c2a-a3c1-7f9ad1d63e10" providerId="ADAL" clId="{D9D6212D-B474-44D1-8C31-1C18EFD4DC64}" dt="2020-03-26T23:33:37.164" v="632" actId="12385"/>
          <ac:graphicFrameMkLst>
            <pc:docMk/>
            <pc:sldMk cId="2138308410" sldId="604"/>
            <ac:graphicFrameMk id="5" creationId="{5993BC06-789C-4EC9-B7A0-E295CDD25689}"/>
          </ac:graphicFrameMkLst>
        </pc:graphicFrameChg>
      </pc:sldChg>
      <pc:sldChg chg="addSp delSp modSp add mod modAnim">
        <pc:chgData name="Renata Festa" userId="6f22df47-533b-4c2a-a3c1-7f9ad1d63e10" providerId="ADAL" clId="{D9D6212D-B474-44D1-8C31-1C18EFD4DC64}" dt="2020-03-26T23:36:31.021" v="648"/>
        <pc:sldMkLst>
          <pc:docMk/>
          <pc:sldMk cId="346508782" sldId="605"/>
        </pc:sldMkLst>
        <pc:spChg chg="mod">
          <ac:chgData name="Renata Festa" userId="6f22df47-533b-4c2a-a3c1-7f9ad1d63e10" providerId="ADAL" clId="{D9D6212D-B474-44D1-8C31-1C18EFD4DC64}" dt="2020-03-26T23:34:43.529" v="637"/>
          <ac:spMkLst>
            <pc:docMk/>
            <pc:sldMk cId="346508782" sldId="605"/>
            <ac:spMk id="2" creationId="{EB67312A-9819-43C6-8D84-D9136E6CFFCC}"/>
          </ac:spMkLst>
        </pc:spChg>
        <pc:spChg chg="del">
          <ac:chgData name="Renata Festa" userId="6f22df47-533b-4c2a-a3c1-7f9ad1d63e10" providerId="ADAL" clId="{D9D6212D-B474-44D1-8C31-1C18EFD4DC64}" dt="2020-03-26T23:34:51.082" v="638" actId="478"/>
          <ac:spMkLst>
            <pc:docMk/>
            <pc:sldMk cId="346508782" sldId="605"/>
            <ac:spMk id="3" creationId="{F35E8CBB-5A7D-4DEF-BAF7-8DD5D042F9E0}"/>
          </ac:spMkLst>
        </pc:spChg>
        <pc:spChg chg="add del mod">
          <ac:chgData name="Renata Festa" userId="6f22df47-533b-4c2a-a3c1-7f9ad1d63e10" providerId="ADAL" clId="{D9D6212D-B474-44D1-8C31-1C18EFD4DC64}" dt="2020-03-26T23:35:49.244" v="644" actId="12084"/>
          <ac:spMkLst>
            <pc:docMk/>
            <pc:sldMk cId="346508782" sldId="605"/>
            <ac:spMk id="4" creationId="{F3616A99-090F-45E1-9334-58D58B148205}"/>
          </ac:spMkLst>
        </pc:spChg>
        <pc:graphicFrameChg chg="add del mod">
          <ac:chgData name="Renata Festa" userId="6f22df47-533b-4c2a-a3c1-7f9ad1d63e10" providerId="ADAL" clId="{D9D6212D-B474-44D1-8C31-1C18EFD4DC64}" dt="2020-03-26T23:35:28.163" v="643" actId="12084"/>
          <ac:graphicFrameMkLst>
            <pc:docMk/>
            <pc:sldMk cId="346508782" sldId="605"/>
            <ac:graphicFrameMk id="5" creationId="{5783F9F8-3F97-482E-B715-6376C16A6609}"/>
          </ac:graphicFrameMkLst>
        </pc:graphicFrameChg>
        <pc:graphicFrameChg chg="add mod">
          <ac:chgData name="Renata Festa" userId="6f22df47-533b-4c2a-a3c1-7f9ad1d63e10" providerId="ADAL" clId="{D9D6212D-B474-44D1-8C31-1C18EFD4DC64}" dt="2020-03-26T23:36:09.497" v="646" actId="13782"/>
          <ac:graphicFrameMkLst>
            <pc:docMk/>
            <pc:sldMk cId="346508782" sldId="605"/>
            <ac:graphicFrameMk id="6" creationId="{8FB1CD67-611C-4A6F-AF80-0F293EC01A3B}"/>
          </ac:graphicFrameMkLst>
        </pc:graphicFrameChg>
      </pc:sldChg>
      <pc:sldChg chg="addSp delSp modSp add mod modAnim">
        <pc:chgData name="Renata Festa" userId="6f22df47-533b-4c2a-a3c1-7f9ad1d63e10" providerId="ADAL" clId="{D9D6212D-B474-44D1-8C31-1C18EFD4DC64}" dt="2020-03-26T23:38:33.918" v="687" actId="20577"/>
        <pc:sldMkLst>
          <pc:docMk/>
          <pc:sldMk cId="721641402" sldId="606"/>
        </pc:sldMkLst>
        <pc:spChg chg="mod">
          <ac:chgData name="Renata Festa" userId="6f22df47-533b-4c2a-a3c1-7f9ad1d63e10" providerId="ADAL" clId="{D9D6212D-B474-44D1-8C31-1C18EFD4DC64}" dt="2020-03-26T23:36:57.803" v="651" actId="6549"/>
          <ac:spMkLst>
            <pc:docMk/>
            <pc:sldMk cId="721641402" sldId="606"/>
            <ac:spMk id="2" creationId="{EB67312A-9819-43C6-8D84-D9136E6CFFCC}"/>
          </ac:spMkLst>
        </pc:spChg>
        <pc:spChg chg="del">
          <ac:chgData name="Renata Festa" userId="6f22df47-533b-4c2a-a3c1-7f9ad1d63e10" providerId="ADAL" clId="{D9D6212D-B474-44D1-8C31-1C18EFD4DC64}" dt="2020-03-26T23:36:55.872" v="650" actId="478"/>
          <ac:spMkLst>
            <pc:docMk/>
            <pc:sldMk cId="721641402" sldId="606"/>
            <ac:spMk id="3" creationId="{F35E8CBB-5A7D-4DEF-BAF7-8DD5D042F9E0}"/>
          </ac:spMkLst>
        </pc:spChg>
        <pc:spChg chg="del mod">
          <ac:chgData name="Renata Festa" userId="6f22df47-533b-4c2a-a3c1-7f9ad1d63e10" providerId="ADAL" clId="{D9D6212D-B474-44D1-8C31-1C18EFD4DC64}" dt="2020-03-26T23:37:41.783" v="683" actId="12084"/>
          <ac:spMkLst>
            <pc:docMk/>
            <pc:sldMk cId="721641402" sldId="606"/>
            <ac:spMk id="4" creationId="{F3616A99-090F-45E1-9334-58D58B148205}"/>
          </ac:spMkLst>
        </pc:spChg>
        <pc:spChg chg="add mod">
          <ac:chgData name="Renata Festa" userId="6f22df47-533b-4c2a-a3c1-7f9ad1d63e10" providerId="ADAL" clId="{D9D6212D-B474-44D1-8C31-1C18EFD4DC64}" dt="2020-03-26T23:37:24.753" v="682" actId="1036"/>
          <ac:spMkLst>
            <pc:docMk/>
            <pc:sldMk cId="721641402" sldId="606"/>
            <ac:spMk id="5" creationId="{FDF69E26-4C95-48CC-B97C-68586B55BB2A}"/>
          </ac:spMkLst>
        </pc:spChg>
        <pc:spChg chg="add mod">
          <ac:chgData name="Renata Festa" userId="6f22df47-533b-4c2a-a3c1-7f9ad1d63e10" providerId="ADAL" clId="{D9D6212D-B474-44D1-8C31-1C18EFD4DC64}" dt="2020-03-26T23:37:24.753" v="682" actId="1036"/>
          <ac:spMkLst>
            <pc:docMk/>
            <pc:sldMk cId="721641402" sldId="606"/>
            <ac:spMk id="6" creationId="{0BE26B01-A8C4-417C-9FC7-7646287EEA22}"/>
          </ac:spMkLst>
        </pc:spChg>
        <pc:spChg chg="add mod">
          <ac:chgData name="Renata Festa" userId="6f22df47-533b-4c2a-a3c1-7f9ad1d63e10" providerId="ADAL" clId="{D9D6212D-B474-44D1-8C31-1C18EFD4DC64}" dt="2020-03-26T23:37:24.753" v="682" actId="1036"/>
          <ac:spMkLst>
            <pc:docMk/>
            <pc:sldMk cId="721641402" sldId="606"/>
            <ac:spMk id="7" creationId="{4F8C2A62-4066-4E2E-B9C8-4A00ED24B343}"/>
          </ac:spMkLst>
        </pc:spChg>
        <pc:spChg chg="add mod">
          <ac:chgData name="Renata Festa" userId="6f22df47-533b-4c2a-a3c1-7f9ad1d63e10" providerId="ADAL" clId="{D9D6212D-B474-44D1-8C31-1C18EFD4DC64}" dt="2020-03-26T23:37:24.753" v="682" actId="1036"/>
          <ac:spMkLst>
            <pc:docMk/>
            <pc:sldMk cId="721641402" sldId="606"/>
            <ac:spMk id="20" creationId="{DEA482EA-D6AF-4955-9A93-9E095FC88775}"/>
          </ac:spMkLst>
        </pc:spChg>
        <pc:spChg chg="add mod">
          <ac:chgData name="Renata Festa" userId="6f22df47-533b-4c2a-a3c1-7f9ad1d63e10" providerId="ADAL" clId="{D9D6212D-B474-44D1-8C31-1C18EFD4DC64}" dt="2020-03-26T23:37:24.753" v="682" actId="1036"/>
          <ac:spMkLst>
            <pc:docMk/>
            <pc:sldMk cId="721641402" sldId="606"/>
            <ac:spMk id="21" creationId="{272C897F-7F21-4C17-90DC-0A48DE8F9778}"/>
          </ac:spMkLst>
        </pc:spChg>
        <pc:spChg chg="add mod">
          <ac:chgData name="Renata Festa" userId="6f22df47-533b-4c2a-a3c1-7f9ad1d63e10" providerId="ADAL" clId="{D9D6212D-B474-44D1-8C31-1C18EFD4DC64}" dt="2020-03-26T23:37:24.753" v="682" actId="1036"/>
          <ac:spMkLst>
            <pc:docMk/>
            <pc:sldMk cId="721641402" sldId="606"/>
            <ac:spMk id="50" creationId="{0C922111-2EA5-4649-A973-524666DD13A4}"/>
          </ac:spMkLst>
        </pc:spChg>
        <pc:grpChg chg="add mod">
          <ac:chgData name="Renata Festa" userId="6f22df47-533b-4c2a-a3c1-7f9ad1d63e10" providerId="ADAL" clId="{D9D6212D-B474-44D1-8C31-1C18EFD4DC64}" dt="2020-03-26T23:37:24.753" v="682" actId="1036"/>
          <ac:grpSpMkLst>
            <pc:docMk/>
            <pc:sldMk cId="721641402" sldId="606"/>
            <ac:grpSpMk id="8" creationId="{0BE7EF4D-DC4E-43DB-813C-20FFD87DF30E}"/>
          </ac:grpSpMkLst>
        </pc:grpChg>
        <pc:grpChg chg="mod">
          <ac:chgData name="Renata Festa" userId="6f22df47-533b-4c2a-a3c1-7f9ad1d63e10" providerId="ADAL" clId="{D9D6212D-B474-44D1-8C31-1C18EFD4DC64}" dt="2020-03-26T23:37:24.753" v="682" actId="1036"/>
          <ac:grpSpMkLst>
            <pc:docMk/>
            <pc:sldMk cId="721641402" sldId="606"/>
            <ac:grpSpMk id="9" creationId="{447C390E-EF3B-4772-ABD6-64FE3BFBA21A}"/>
          </ac:grpSpMkLst>
        </pc:grpChg>
        <pc:grpChg chg="mod">
          <ac:chgData name="Renata Festa" userId="6f22df47-533b-4c2a-a3c1-7f9ad1d63e10" providerId="ADAL" clId="{D9D6212D-B474-44D1-8C31-1C18EFD4DC64}" dt="2020-03-26T23:37:24.753" v="682" actId="1036"/>
          <ac:grpSpMkLst>
            <pc:docMk/>
            <pc:sldMk cId="721641402" sldId="606"/>
            <ac:grpSpMk id="10" creationId="{9027B8C9-4726-4F9E-BF39-0B1FA52B6FA0}"/>
          </ac:grpSpMkLst>
        </pc:grpChg>
        <pc:grpChg chg="mod">
          <ac:chgData name="Renata Festa" userId="6f22df47-533b-4c2a-a3c1-7f9ad1d63e10" providerId="ADAL" clId="{D9D6212D-B474-44D1-8C31-1C18EFD4DC64}" dt="2020-03-26T23:37:24.753" v="682" actId="1036"/>
          <ac:grpSpMkLst>
            <pc:docMk/>
            <pc:sldMk cId="721641402" sldId="606"/>
            <ac:grpSpMk id="11" creationId="{6BAFAE30-99D9-46EC-B3FE-2D681BAA65D4}"/>
          </ac:grpSpMkLst>
        </pc:grpChg>
        <pc:grpChg chg="add mod">
          <ac:chgData name="Renata Festa" userId="6f22df47-533b-4c2a-a3c1-7f9ad1d63e10" providerId="ADAL" clId="{D9D6212D-B474-44D1-8C31-1C18EFD4DC64}" dt="2020-03-26T23:37:24.753" v="682" actId="1036"/>
          <ac:grpSpMkLst>
            <pc:docMk/>
            <pc:sldMk cId="721641402" sldId="606"/>
            <ac:grpSpMk id="22" creationId="{A818E438-6D92-40D1-AD92-FCA5936CCCAF}"/>
          </ac:grpSpMkLst>
        </pc:grpChg>
        <pc:grpChg chg="mod">
          <ac:chgData name="Renata Festa" userId="6f22df47-533b-4c2a-a3c1-7f9ad1d63e10" providerId="ADAL" clId="{D9D6212D-B474-44D1-8C31-1C18EFD4DC64}" dt="2020-03-26T23:37:24.753" v="682" actId="1036"/>
          <ac:grpSpMkLst>
            <pc:docMk/>
            <pc:sldMk cId="721641402" sldId="606"/>
            <ac:grpSpMk id="23" creationId="{FECF3BCF-BDA9-4C2A-9A44-A45B29DF9DC7}"/>
          </ac:grpSpMkLst>
        </pc:grpChg>
        <pc:grpChg chg="mod">
          <ac:chgData name="Renata Festa" userId="6f22df47-533b-4c2a-a3c1-7f9ad1d63e10" providerId="ADAL" clId="{D9D6212D-B474-44D1-8C31-1C18EFD4DC64}" dt="2020-03-26T23:37:24.753" v="682" actId="1036"/>
          <ac:grpSpMkLst>
            <pc:docMk/>
            <pc:sldMk cId="721641402" sldId="606"/>
            <ac:grpSpMk id="24" creationId="{7754CDAD-C134-483E-859E-A04FD13A2822}"/>
          </ac:grpSpMkLst>
        </pc:grpChg>
        <pc:grpChg chg="mod">
          <ac:chgData name="Renata Festa" userId="6f22df47-533b-4c2a-a3c1-7f9ad1d63e10" providerId="ADAL" clId="{D9D6212D-B474-44D1-8C31-1C18EFD4DC64}" dt="2020-03-26T23:37:24.753" v="682" actId="1036"/>
          <ac:grpSpMkLst>
            <pc:docMk/>
            <pc:sldMk cId="721641402" sldId="606"/>
            <ac:grpSpMk id="25" creationId="{6CCAC5E9-C96F-4CDA-9391-AC561243643A}"/>
          </ac:grpSpMkLst>
        </pc:grpChg>
        <pc:grpChg chg="add mod">
          <ac:chgData name="Renata Festa" userId="6f22df47-533b-4c2a-a3c1-7f9ad1d63e10" providerId="ADAL" clId="{D9D6212D-B474-44D1-8C31-1C18EFD4DC64}" dt="2020-03-26T23:37:24.753" v="682" actId="1036"/>
          <ac:grpSpMkLst>
            <pc:docMk/>
            <pc:sldMk cId="721641402" sldId="606"/>
            <ac:grpSpMk id="35" creationId="{06C5C9C8-4FD0-4C0A-AA80-258A90276EB3}"/>
          </ac:grpSpMkLst>
        </pc:grpChg>
        <pc:grpChg chg="mod">
          <ac:chgData name="Renata Festa" userId="6f22df47-533b-4c2a-a3c1-7f9ad1d63e10" providerId="ADAL" clId="{D9D6212D-B474-44D1-8C31-1C18EFD4DC64}" dt="2020-03-26T23:37:24.753" v="682" actId="1036"/>
          <ac:grpSpMkLst>
            <pc:docMk/>
            <pc:sldMk cId="721641402" sldId="606"/>
            <ac:grpSpMk id="37" creationId="{1ABCE39E-3720-416A-8889-8D0220F4AB35}"/>
          </ac:grpSpMkLst>
        </pc:grpChg>
        <pc:grpChg chg="mod">
          <ac:chgData name="Renata Festa" userId="6f22df47-533b-4c2a-a3c1-7f9ad1d63e10" providerId="ADAL" clId="{D9D6212D-B474-44D1-8C31-1C18EFD4DC64}" dt="2020-03-26T23:37:24.753" v="682" actId="1036"/>
          <ac:grpSpMkLst>
            <pc:docMk/>
            <pc:sldMk cId="721641402" sldId="606"/>
            <ac:grpSpMk id="38" creationId="{B898CE5F-EDBD-4EA6-AF27-54C31370B915}"/>
          </ac:grpSpMkLst>
        </pc:grpChg>
        <pc:grpChg chg="mod">
          <ac:chgData name="Renata Festa" userId="6f22df47-533b-4c2a-a3c1-7f9ad1d63e10" providerId="ADAL" clId="{D9D6212D-B474-44D1-8C31-1C18EFD4DC64}" dt="2020-03-26T23:37:24.753" v="682" actId="1036"/>
          <ac:grpSpMkLst>
            <pc:docMk/>
            <pc:sldMk cId="721641402" sldId="606"/>
            <ac:grpSpMk id="39" creationId="{4FDF94ED-C02B-44E2-BE65-39A886AABD0B}"/>
          </ac:grpSpMkLst>
        </pc:grpChg>
        <pc:grpChg chg="mod">
          <ac:chgData name="Renata Festa" userId="6f22df47-533b-4c2a-a3c1-7f9ad1d63e10" providerId="ADAL" clId="{D9D6212D-B474-44D1-8C31-1C18EFD4DC64}" dt="2020-03-26T23:37:24.753" v="682" actId="1036"/>
          <ac:grpSpMkLst>
            <pc:docMk/>
            <pc:sldMk cId="721641402" sldId="606"/>
            <ac:grpSpMk id="40" creationId="{260C1B25-967C-4A8F-8C5F-94848E3832F3}"/>
          </ac:grpSpMkLst>
        </pc:grpChg>
        <pc:grpChg chg="add mod">
          <ac:chgData name="Renata Festa" userId="6f22df47-533b-4c2a-a3c1-7f9ad1d63e10" providerId="ADAL" clId="{D9D6212D-B474-44D1-8C31-1C18EFD4DC64}" dt="2020-03-26T23:37:24.753" v="682" actId="1036"/>
          <ac:grpSpMkLst>
            <pc:docMk/>
            <pc:sldMk cId="721641402" sldId="606"/>
            <ac:grpSpMk id="51" creationId="{CB4A9B0E-894D-426D-A93B-4E342D7F35B1}"/>
          </ac:grpSpMkLst>
        </pc:grpChg>
        <pc:grpChg chg="mod">
          <ac:chgData name="Renata Festa" userId="6f22df47-533b-4c2a-a3c1-7f9ad1d63e10" providerId="ADAL" clId="{D9D6212D-B474-44D1-8C31-1C18EFD4DC64}" dt="2020-03-26T23:37:24.753" v="682" actId="1036"/>
          <ac:grpSpMkLst>
            <pc:docMk/>
            <pc:sldMk cId="721641402" sldId="606"/>
            <ac:grpSpMk id="52" creationId="{75AEE731-25C9-4E72-8352-13508BA45622}"/>
          </ac:grpSpMkLst>
        </pc:grpChg>
        <pc:grpChg chg="mod">
          <ac:chgData name="Renata Festa" userId="6f22df47-533b-4c2a-a3c1-7f9ad1d63e10" providerId="ADAL" clId="{D9D6212D-B474-44D1-8C31-1C18EFD4DC64}" dt="2020-03-26T23:37:24.753" v="682" actId="1036"/>
          <ac:grpSpMkLst>
            <pc:docMk/>
            <pc:sldMk cId="721641402" sldId="606"/>
            <ac:grpSpMk id="53" creationId="{4B6B698A-A0BD-42EA-9343-A32420FC67FE}"/>
          </ac:grpSpMkLst>
        </pc:grpChg>
        <pc:grpChg chg="mod">
          <ac:chgData name="Renata Festa" userId="6f22df47-533b-4c2a-a3c1-7f9ad1d63e10" providerId="ADAL" clId="{D9D6212D-B474-44D1-8C31-1C18EFD4DC64}" dt="2020-03-26T23:37:24.753" v="682" actId="1036"/>
          <ac:grpSpMkLst>
            <pc:docMk/>
            <pc:sldMk cId="721641402" sldId="606"/>
            <ac:grpSpMk id="54" creationId="{10A71233-5485-4F8A-9F62-C370CFD531C3}"/>
          </ac:grpSpMkLst>
        </pc:grpChg>
        <pc:grpChg chg="add mod">
          <ac:chgData name="Renata Festa" userId="6f22df47-533b-4c2a-a3c1-7f9ad1d63e10" providerId="ADAL" clId="{D9D6212D-B474-44D1-8C31-1C18EFD4DC64}" dt="2020-03-26T23:37:24.753" v="682" actId="1036"/>
          <ac:grpSpMkLst>
            <pc:docMk/>
            <pc:sldMk cId="721641402" sldId="606"/>
            <ac:grpSpMk id="64" creationId="{7CBE8D8E-024F-4CC2-A83F-86C425AE56DC}"/>
          </ac:grpSpMkLst>
        </pc:grpChg>
        <pc:grpChg chg="mod">
          <ac:chgData name="Renata Festa" userId="6f22df47-533b-4c2a-a3c1-7f9ad1d63e10" providerId="ADAL" clId="{D9D6212D-B474-44D1-8C31-1C18EFD4DC64}" dt="2020-03-26T23:37:24.753" v="682" actId="1036"/>
          <ac:grpSpMkLst>
            <pc:docMk/>
            <pc:sldMk cId="721641402" sldId="606"/>
            <ac:grpSpMk id="66" creationId="{1199A488-D950-4652-A29C-8F78165D0836}"/>
          </ac:grpSpMkLst>
        </pc:grpChg>
        <pc:grpChg chg="mod">
          <ac:chgData name="Renata Festa" userId="6f22df47-533b-4c2a-a3c1-7f9ad1d63e10" providerId="ADAL" clId="{D9D6212D-B474-44D1-8C31-1C18EFD4DC64}" dt="2020-03-26T23:37:24.753" v="682" actId="1036"/>
          <ac:grpSpMkLst>
            <pc:docMk/>
            <pc:sldMk cId="721641402" sldId="606"/>
            <ac:grpSpMk id="67" creationId="{0BFEE75E-FA3A-4354-8ED1-5AECF48C020A}"/>
          </ac:grpSpMkLst>
        </pc:grpChg>
        <pc:grpChg chg="mod">
          <ac:chgData name="Renata Festa" userId="6f22df47-533b-4c2a-a3c1-7f9ad1d63e10" providerId="ADAL" clId="{D9D6212D-B474-44D1-8C31-1C18EFD4DC64}" dt="2020-03-26T23:37:24.753" v="682" actId="1036"/>
          <ac:grpSpMkLst>
            <pc:docMk/>
            <pc:sldMk cId="721641402" sldId="606"/>
            <ac:grpSpMk id="68" creationId="{C05B6165-E4A0-4882-A1DE-218688AA35EA}"/>
          </ac:grpSpMkLst>
        </pc:grpChg>
        <pc:grpChg chg="mod">
          <ac:chgData name="Renata Festa" userId="6f22df47-533b-4c2a-a3c1-7f9ad1d63e10" providerId="ADAL" clId="{D9D6212D-B474-44D1-8C31-1C18EFD4DC64}" dt="2020-03-26T23:37:24.753" v="682" actId="1036"/>
          <ac:grpSpMkLst>
            <pc:docMk/>
            <pc:sldMk cId="721641402" sldId="606"/>
            <ac:grpSpMk id="69" creationId="{6061B68B-E593-40AE-B045-4ABF87206E93}"/>
          </ac:grpSpMkLst>
        </pc:grpChg>
        <pc:grpChg chg="add mod">
          <ac:chgData name="Renata Festa" userId="6f22df47-533b-4c2a-a3c1-7f9ad1d63e10" providerId="ADAL" clId="{D9D6212D-B474-44D1-8C31-1C18EFD4DC64}" dt="2020-03-26T23:37:24.753" v="682" actId="1036"/>
          <ac:grpSpMkLst>
            <pc:docMk/>
            <pc:sldMk cId="721641402" sldId="606"/>
            <ac:grpSpMk id="79" creationId="{6451523D-826F-4AA0-A57F-718C8D64133D}"/>
          </ac:grpSpMkLst>
        </pc:grpChg>
        <pc:grpChg chg="add mod">
          <ac:chgData name="Renata Festa" userId="6f22df47-533b-4c2a-a3c1-7f9ad1d63e10" providerId="ADAL" clId="{D9D6212D-B474-44D1-8C31-1C18EFD4DC64}" dt="2020-03-26T23:37:24.753" v="682" actId="1036"/>
          <ac:grpSpMkLst>
            <pc:docMk/>
            <pc:sldMk cId="721641402" sldId="606"/>
            <ac:grpSpMk id="83" creationId="{78694C88-3482-4843-8163-E76A513F7D63}"/>
          </ac:grpSpMkLst>
        </pc:grpChg>
        <pc:grpChg chg="mod">
          <ac:chgData name="Renata Festa" userId="6f22df47-533b-4c2a-a3c1-7f9ad1d63e10" providerId="ADAL" clId="{D9D6212D-B474-44D1-8C31-1C18EFD4DC64}" dt="2020-03-26T23:37:24.753" v="682" actId="1036"/>
          <ac:grpSpMkLst>
            <pc:docMk/>
            <pc:sldMk cId="721641402" sldId="606"/>
            <ac:grpSpMk id="85" creationId="{947D539E-33ED-46F9-994B-1D3EFBB782B8}"/>
          </ac:grpSpMkLst>
        </pc:grpChg>
        <pc:grpChg chg="mod">
          <ac:chgData name="Renata Festa" userId="6f22df47-533b-4c2a-a3c1-7f9ad1d63e10" providerId="ADAL" clId="{D9D6212D-B474-44D1-8C31-1C18EFD4DC64}" dt="2020-03-26T23:37:24.753" v="682" actId="1036"/>
          <ac:grpSpMkLst>
            <pc:docMk/>
            <pc:sldMk cId="721641402" sldId="606"/>
            <ac:grpSpMk id="86" creationId="{B19E7122-0700-45EB-B72F-6D5D561DB50A}"/>
          </ac:grpSpMkLst>
        </pc:grpChg>
        <pc:grpChg chg="mod">
          <ac:chgData name="Renata Festa" userId="6f22df47-533b-4c2a-a3c1-7f9ad1d63e10" providerId="ADAL" clId="{D9D6212D-B474-44D1-8C31-1C18EFD4DC64}" dt="2020-03-26T23:37:24.753" v="682" actId="1036"/>
          <ac:grpSpMkLst>
            <pc:docMk/>
            <pc:sldMk cId="721641402" sldId="606"/>
            <ac:grpSpMk id="87" creationId="{D4936706-0857-443F-8A58-0F027E30DC73}"/>
          </ac:grpSpMkLst>
        </pc:grpChg>
        <pc:grpChg chg="mod">
          <ac:chgData name="Renata Festa" userId="6f22df47-533b-4c2a-a3c1-7f9ad1d63e10" providerId="ADAL" clId="{D9D6212D-B474-44D1-8C31-1C18EFD4DC64}" dt="2020-03-26T23:37:24.753" v="682" actId="1036"/>
          <ac:grpSpMkLst>
            <pc:docMk/>
            <pc:sldMk cId="721641402" sldId="606"/>
            <ac:grpSpMk id="88" creationId="{5F6C2559-DD47-4632-973A-FC886AB49037}"/>
          </ac:grpSpMkLst>
        </pc:grpChg>
        <pc:grpChg chg="add mod">
          <ac:chgData name="Renata Festa" userId="6f22df47-533b-4c2a-a3c1-7f9ad1d63e10" providerId="ADAL" clId="{D9D6212D-B474-44D1-8C31-1C18EFD4DC64}" dt="2020-03-26T23:37:24.753" v="682" actId="1036"/>
          <ac:grpSpMkLst>
            <pc:docMk/>
            <pc:sldMk cId="721641402" sldId="606"/>
            <ac:grpSpMk id="98" creationId="{148EBD96-478F-4DAD-A8CD-4366A3232442}"/>
          </ac:grpSpMkLst>
        </pc:grpChg>
        <pc:grpChg chg="add mod">
          <ac:chgData name="Renata Festa" userId="6f22df47-533b-4c2a-a3c1-7f9ad1d63e10" providerId="ADAL" clId="{D9D6212D-B474-44D1-8C31-1C18EFD4DC64}" dt="2020-03-26T23:37:24.753" v="682" actId="1036"/>
          <ac:grpSpMkLst>
            <pc:docMk/>
            <pc:sldMk cId="721641402" sldId="606"/>
            <ac:grpSpMk id="105" creationId="{917A3657-94CB-433F-B59C-47F24DDB38D3}"/>
          </ac:grpSpMkLst>
        </pc:grpChg>
        <pc:grpChg chg="mod">
          <ac:chgData name="Renata Festa" userId="6f22df47-533b-4c2a-a3c1-7f9ad1d63e10" providerId="ADAL" clId="{D9D6212D-B474-44D1-8C31-1C18EFD4DC64}" dt="2020-03-26T23:37:24.753" v="682" actId="1036"/>
          <ac:grpSpMkLst>
            <pc:docMk/>
            <pc:sldMk cId="721641402" sldId="606"/>
            <ac:grpSpMk id="107" creationId="{9572D570-3F30-47F3-B326-F2EAC16D28C9}"/>
          </ac:grpSpMkLst>
        </pc:grpChg>
        <pc:grpChg chg="mod">
          <ac:chgData name="Renata Festa" userId="6f22df47-533b-4c2a-a3c1-7f9ad1d63e10" providerId="ADAL" clId="{D9D6212D-B474-44D1-8C31-1C18EFD4DC64}" dt="2020-03-26T23:37:24.753" v="682" actId="1036"/>
          <ac:grpSpMkLst>
            <pc:docMk/>
            <pc:sldMk cId="721641402" sldId="606"/>
            <ac:grpSpMk id="108" creationId="{B34CDD34-349D-4AD6-9E8A-380EB0D6F6A0}"/>
          </ac:grpSpMkLst>
        </pc:grpChg>
        <pc:grpChg chg="mod">
          <ac:chgData name="Renata Festa" userId="6f22df47-533b-4c2a-a3c1-7f9ad1d63e10" providerId="ADAL" clId="{D9D6212D-B474-44D1-8C31-1C18EFD4DC64}" dt="2020-03-26T23:37:24.753" v="682" actId="1036"/>
          <ac:grpSpMkLst>
            <pc:docMk/>
            <pc:sldMk cId="721641402" sldId="606"/>
            <ac:grpSpMk id="109" creationId="{8A239FE1-9119-46CB-B2AA-90DDE9318357}"/>
          </ac:grpSpMkLst>
        </pc:grpChg>
        <pc:grpChg chg="mod">
          <ac:chgData name="Renata Festa" userId="6f22df47-533b-4c2a-a3c1-7f9ad1d63e10" providerId="ADAL" clId="{D9D6212D-B474-44D1-8C31-1C18EFD4DC64}" dt="2020-03-26T23:37:24.753" v="682" actId="1036"/>
          <ac:grpSpMkLst>
            <pc:docMk/>
            <pc:sldMk cId="721641402" sldId="606"/>
            <ac:grpSpMk id="110" creationId="{9C6BB911-F051-496A-8A45-C4D95EB1B9F0}"/>
          </ac:grpSpMkLst>
        </pc:grpChg>
        <pc:graphicFrameChg chg="add mod">
          <ac:chgData name="Renata Festa" userId="6f22df47-533b-4c2a-a3c1-7f9ad1d63e10" providerId="ADAL" clId="{D9D6212D-B474-44D1-8C31-1C18EFD4DC64}" dt="2020-03-26T23:38:33.918" v="687" actId="20577"/>
          <ac:graphicFrameMkLst>
            <pc:docMk/>
            <pc:sldMk cId="721641402" sldId="606"/>
            <ac:graphicFrameMk id="120" creationId="{4B8EB191-1A42-41BE-803F-34D19A3384DC}"/>
          </ac:graphicFrameMkLst>
        </pc:graphicFrameChg>
        <pc:cxnChg chg="add mod">
          <ac:chgData name="Renata Festa" userId="6f22df47-533b-4c2a-a3c1-7f9ad1d63e10" providerId="ADAL" clId="{D9D6212D-B474-44D1-8C31-1C18EFD4DC64}" dt="2020-03-26T23:37:24.753" v="682" actId="1036"/>
          <ac:cxnSpMkLst>
            <pc:docMk/>
            <pc:sldMk cId="721641402" sldId="606"/>
            <ac:cxnSpMk id="19" creationId="{15EFD559-7F02-4372-B747-1B792AB8709E}"/>
          </ac:cxnSpMkLst>
        </pc:cxnChg>
        <pc:cxnChg chg="mod">
          <ac:chgData name="Renata Festa" userId="6f22df47-533b-4c2a-a3c1-7f9ad1d63e10" providerId="ADAL" clId="{D9D6212D-B474-44D1-8C31-1C18EFD4DC64}" dt="2020-03-26T23:37:24.753" v="682" actId="1036"/>
          <ac:cxnSpMkLst>
            <pc:docMk/>
            <pc:sldMk cId="721641402" sldId="606"/>
            <ac:cxnSpMk id="80" creationId="{29D198B6-1C43-449B-B3D7-7AB8FE8E08AB}"/>
          </ac:cxnSpMkLst>
        </pc:cxnChg>
        <pc:cxnChg chg="mod">
          <ac:chgData name="Renata Festa" userId="6f22df47-533b-4c2a-a3c1-7f9ad1d63e10" providerId="ADAL" clId="{D9D6212D-B474-44D1-8C31-1C18EFD4DC64}" dt="2020-03-26T23:37:24.753" v="682" actId="1036"/>
          <ac:cxnSpMkLst>
            <pc:docMk/>
            <pc:sldMk cId="721641402" sldId="606"/>
            <ac:cxnSpMk id="81" creationId="{B29C7D6D-1225-4C57-B978-6568E3F15687}"/>
          </ac:cxnSpMkLst>
        </pc:cxnChg>
        <pc:cxnChg chg="mod">
          <ac:chgData name="Renata Festa" userId="6f22df47-533b-4c2a-a3c1-7f9ad1d63e10" providerId="ADAL" clId="{D9D6212D-B474-44D1-8C31-1C18EFD4DC64}" dt="2020-03-26T23:37:24.753" v="682" actId="1036"/>
          <ac:cxnSpMkLst>
            <pc:docMk/>
            <pc:sldMk cId="721641402" sldId="606"/>
            <ac:cxnSpMk id="100" creationId="{B3BCECC8-2C01-4AF0-9E3F-3DCA645057FC}"/>
          </ac:cxnSpMkLst>
        </pc:cxnChg>
        <pc:cxnChg chg="mod">
          <ac:chgData name="Renata Festa" userId="6f22df47-533b-4c2a-a3c1-7f9ad1d63e10" providerId="ADAL" clId="{D9D6212D-B474-44D1-8C31-1C18EFD4DC64}" dt="2020-03-26T23:37:24.753" v="682" actId="1036"/>
          <ac:cxnSpMkLst>
            <pc:docMk/>
            <pc:sldMk cId="721641402" sldId="606"/>
            <ac:cxnSpMk id="101" creationId="{98C73850-6D2E-436A-96EE-FEFF3D28B948}"/>
          </ac:cxnSpMkLst>
        </pc:cxnChg>
        <pc:cxnChg chg="add mod">
          <ac:chgData name="Renata Festa" userId="6f22df47-533b-4c2a-a3c1-7f9ad1d63e10" providerId="ADAL" clId="{D9D6212D-B474-44D1-8C31-1C18EFD4DC64}" dt="2020-03-26T23:37:24.753" v="682" actId="1036"/>
          <ac:cxnSpMkLst>
            <pc:docMk/>
            <pc:sldMk cId="721641402" sldId="606"/>
            <ac:cxnSpMk id="102" creationId="{FBA47955-F98E-4AD5-96AF-340C60249567}"/>
          </ac:cxnSpMkLst>
        </pc:cxnChg>
        <pc:cxnChg chg="add mod">
          <ac:chgData name="Renata Festa" userId="6f22df47-533b-4c2a-a3c1-7f9ad1d63e10" providerId="ADAL" clId="{D9D6212D-B474-44D1-8C31-1C18EFD4DC64}" dt="2020-03-26T23:37:24.753" v="682" actId="1036"/>
          <ac:cxnSpMkLst>
            <pc:docMk/>
            <pc:sldMk cId="721641402" sldId="606"/>
            <ac:cxnSpMk id="103" creationId="{CB00B5A3-862D-4AB0-88DE-F2C48FD73B00}"/>
          </ac:cxnSpMkLst>
        </pc:cxnChg>
        <pc:cxnChg chg="add mod">
          <ac:chgData name="Renata Festa" userId="6f22df47-533b-4c2a-a3c1-7f9ad1d63e10" providerId="ADAL" clId="{D9D6212D-B474-44D1-8C31-1C18EFD4DC64}" dt="2020-03-26T23:37:24.753" v="682" actId="1036"/>
          <ac:cxnSpMkLst>
            <pc:docMk/>
            <pc:sldMk cId="721641402" sldId="606"/>
            <ac:cxnSpMk id="104" creationId="{9DA260CA-FF78-47C5-9713-BF9515D0F4D5}"/>
          </ac:cxnSpMkLst>
        </pc:cxnChg>
      </pc:sldChg>
      <pc:sldChg chg="addSp delSp modSp add mod">
        <pc:chgData name="Renata Festa" userId="6f22df47-533b-4c2a-a3c1-7f9ad1d63e10" providerId="ADAL" clId="{D9D6212D-B474-44D1-8C31-1C18EFD4DC64}" dt="2020-03-26T23:39:43.495" v="694" actId="13782"/>
        <pc:sldMkLst>
          <pc:docMk/>
          <pc:sldMk cId="145818920" sldId="607"/>
        </pc:sldMkLst>
        <pc:spChg chg="mod">
          <ac:chgData name="Renata Festa" userId="6f22df47-533b-4c2a-a3c1-7f9ad1d63e10" providerId="ADAL" clId="{D9D6212D-B474-44D1-8C31-1C18EFD4DC64}" dt="2020-03-26T23:38:45.077" v="688"/>
          <ac:spMkLst>
            <pc:docMk/>
            <pc:sldMk cId="145818920" sldId="607"/>
            <ac:spMk id="2" creationId="{EB67312A-9819-43C6-8D84-D9136E6CFFCC}"/>
          </ac:spMkLst>
        </pc:spChg>
        <pc:spChg chg="del">
          <ac:chgData name="Renata Festa" userId="6f22df47-533b-4c2a-a3c1-7f9ad1d63e10" providerId="ADAL" clId="{D9D6212D-B474-44D1-8C31-1C18EFD4DC64}" dt="2020-03-26T23:38:48.254" v="689" actId="478"/>
          <ac:spMkLst>
            <pc:docMk/>
            <pc:sldMk cId="145818920" sldId="607"/>
            <ac:spMk id="3" creationId="{F35E8CBB-5A7D-4DEF-BAF7-8DD5D042F9E0}"/>
          </ac:spMkLst>
        </pc:spChg>
        <pc:spChg chg="del mod">
          <ac:chgData name="Renata Festa" userId="6f22df47-533b-4c2a-a3c1-7f9ad1d63e10" providerId="ADAL" clId="{D9D6212D-B474-44D1-8C31-1C18EFD4DC64}" dt="2020-03-26T23:39:33.068" v="693" actId="12084"/>
          <ac:spMkLst>
            <pc:docMk/>
            <pc:sldMk cId="145818920" sldId="607"/>
            <ac:spMk id="4" creationId="{F3616A99-090F-45E1-9334-58D58B148205}"/>
          </ac:spMkLst>
        </pc:spChg>
        <pc:graphicFrameChg chg="add mod">
          <ac:chgData name="Renata Festa" userId="6f22df47-533b-4c2a-a3c1-7f9ad1d63e10" providerId="ADAL" clId="{D9D6212D-B474-44D1-8C31-1C18EFD4DC64}" dt="2020-03-26T23:39:43.495" v="694" actId="13782"/>
          <ac:graphicFrameMkLst>
            <pc:docMk/>
            <pc:sldMk cId="145818920" sldId="607"/>
            <ac:graphicFrameMk id="5" creationId="{853338C4-BDD5-4C8A-8F71-95F747F65D2C}"/>
          </ac:graphicFrameMkLst>
        </pc:graphicFrameChg>
      </pc:sldChg>
      <pc:sldChg chg="addSp delSp modSp add mod modShow">
        <pc:chgData name="Renata Festa" userId="6f22df47-533b-4c2a-a3c1-7f9ad1d63e10" providerId="ADAL" clId="{D9D6212D-B474-44D1-8C31-1C18EFD4DC64}" dt="2020-03-26T23:40:58.282" v="702" actId="729"/>
        <pc:sldMkLst>
          <pc:docMk/>
          <pc:sldMk cId="895235097" sldId="608"/>
        </pc:sldMkLst>
        <pc:spChg chg="mod">
          <ac:chgData name="Renata Festa" userId="6f22df47-533b-4c2a-a3c1-7f9ad1d63e10" providerId="ADAL" clId="{D9D6212D-B474-44D1-8C31-1C18EFD4DC64}" dt="2020-03-26T23:39:53.001" v="695"/>
          <ac:spMkLst>
            <pc:docMk/>
            <pc:sldMk cId="895235097" sldId="608"/>
            <ac:spMk id="2" creationId="{EB67312A-9819-43C6-8D84-D9136E6CFFCC}"/>
          </ac:spMkLst>
        </pc:spChg>
        <pc:spChg chg="del">
          <ac:chgData name="Renata Festa" userId="6f22df47-533b-4c2a-a3c1-7f9ad1d63e10" providerId="ADAL" clId="{D9D6212D-B474-44D1-8C31-1C18EFD4DC64}" dt="2020-03-26T23:40:02.763" v="697" actId="478"/>
          <ac:spMkLst>
            <pc:docMk/>
            <pc:sldMk cId="895235097" sldId="608"/>
            <ac:spMk id="3" creationId="{F35E8CBB-5A7D-4DEF-BAF7-8DD5D042F9E0}"/>
          </ac:spMkLst>
        </pc:spChg>
        <pc:spChg chg="del mod">
          <ac:chgData name="Renata Festa" userId="6f22df47-533b-4c2a-a3c1-7f9ad1d63e10" providerId="ADAL" clId="{D9D6212D-B474-44D1-8C31-1C18EFD4DC64}" dt="2020-03-26T23:40:27.843" v="698" actId="12084"/>
          <ac:spMkLst>
            <pc:docMk/>
            <pc:sldMk cId="895235097" sldId="608"/>
            <ac:spMk id="4" creationId="{F3616A99-090F-45E1-9334-58D58B148205}"/>
          </ac:spMkLst>
        </pc:spChg>
        <pc:graphicFrameChg chg="add mod">
          <ac:chgData name="Renata Festa" userId="6f22df47-533b-4c2a-a3c1-7f9ad1d63e10" providerId="ADAL" clId="{D9D6212D-B474-44D1-8C31-1C18EFD4DC64}" dt="2020-03-26T23:40:43.741" v="701" actId="404"/>
          <ac:graphicFrameMkLst>
            <pc:docMk/>
            <pc:sldMk cId="895235097" sldId="608"/>
            <ac:graphicFrameMk id="5" creationId="{70D96E77-07B1-4B28-B3BC-BDA8FD0C018B}"/>
          </ac:graphicFrameMkLst>
        </pc:graphicFrameChg>
      </pc:sldChg>
      <pc:sldChg chg="addSp delSp modSp add mod modShow">
        <pc:chgData name="Renata Festa" userId="6f22df47-533b-4c2a-a3c1-7f9ad1d63e10" providerId="ADAL" clId="{D9D6212D-B474-44D1-8C31-1C18EFD4DC64}" dt="2020-03-26T23:41:59.689" v="714" actId="729"/>
        <pc:sldMkLst>
          <pc:docMk/>
          <pc:sldMk cId="3782922873" sldId="609"/>
        </pc:sldMkLst>
        <pc:spChg chg="mod">
          <ac:chgData name="Renata Festa" userId="6f22df47-533b-4c2a-a3c1-7f9ad1d63e10" providerId="ADAL" clId="{D9D6212D-B474-44D1-8C31-1C18EFD4DC64}" dt="2020-03-26T23:41:04.953" v="703"/>
          <ac:spMkLst>
            <pc:docMk/>
            <pc:sldMk cId="3782922873" sldId="609"/>
            <ac:spMk id="2" creationId="{EB67312A-9819-43C6-8D84-D9136E6CFFCC}"/>
          </ac:spMkLst>
        </pc:spChg>
        <pc:spChg chg="del">
          <ac:chgData name="Renata Festa" userId="6f22df47-533b-4c2a-a3c1-7f9ad1d63e10" providerId="ADAL" clId="{D9D6212D-B474-44D1-8C31-1C18EFD4DC64}" dt="2020-03-26T23:41:07.011" v="704" actId="478"/>
          <ac:spMkLst>
            <pc:docMk/>
            <pc:sldMk cId="3782922873" sldId="609"/>
            <ac:spMk id="3" creationId="{F35E8CBB-5A7D-4DEF-BAF7-8DD5D042F9E0}"/>
          </ac:spMkLst>
        </pc:spChg>
        <pc:picChg chg="add mod">
          <ac:chgData name="Renata Festa" userId="6f22df47-533b-4c2a-a3c1-7f9ad1d63e10" providerId="ADAL" clId="{D9D6212D-B474-44D1-8C31-1C18EFD4DC64}" dt="2020-03-26T23:41:41.561" v="713" actId="962"/>
          <ac:picMkLst>
            <pc:docMk/>
            <pc:sldMk cId="3782922873" sldId="609"/>
            <ac:picMk id="5" creationId="{1ACAF70E-8F76-48F1-9B8D-D6826C2949B4}"/>
          </ac:picMkLst>
        </pc:picChg>
      </pc:sldChg>
      <pc:sldChg chg="addSp delSp modSp add mod modShow">
        <pc:chgData name="Renata Festa" userId="6f22df47-533b-4c2a-a3c1-7f9ad1d63e10" providerId="ADAL" clId="{D9D6212D-B474-44D1-8C31-1C18EFD4DC64}" dt="2020-03-26T23:42:39.940" v="726" actId="729"/>
        <pc:sldMkLst>
          <pc:docMk/>
          <pc:sldMk cId="2534234927" sldId="610"/>
        </pc:sldMkLst>
        <pc:spChg chg="mod">
          <ac:chgData name="Renata Festa" userId="6f22df47-533b-4c2a-a3c1-7f9ad1d63e10" providerId="ADAL" clId="{D9D6212D-B474-44D1-8C31-1C18EFD4DC64}" dt="2020-03-26T23:42:06.129" v="715"/>
          <ac:spMkLst>
            <pc:docMk/>
            <pc:sldMk cId="2534234927" sldId="610"/>
            <ac:spMk id="2" creationId="{EB67312A-9819-43C6-8D84-D9136E6CFFCC}"/>
          </ac:spMkLst>
        </pc:spChg>
        <pc:spChg chg="del">
          <ac:chgData name="Renata Festa" userId="6f22df47-533b-4c2a-a3c1-7f9ad1d63e10" providerId="ADAL" clId="{D9D6212D-B474-44D1-8C31-1C18EFD4DC64}" dt="2020-03-26T23:42:34.894" v="725" actId="478"/>
          <ac:spMkLst>
            <pc:docMk/>
            <pc:sldMk cId="2534234927" sldId="610"/>
            <ac:spMk id="3" creationId="{F35E8CBB-5A7D-4DEF-BAF7-8DD5D042F9E0}"/>
          </ac:spMkLst>
        </pc:spChg>
        <pc:spChg chg="del">
          <ac:chgData name="Renata Festa" userId="6f22df47-533b-4c2a-a3c1-7f9ad1d63e10" providerId="ADAL" clId="{D9D6212D-B474-44D1-8C31-1C18EFD4DC64}" dt="2020-03-26T23:42:32.752" v="724" actId="478"/>
          <ac:spMkLst>
            <pc:docMk/>
            <pc:sldMk cId="2534234927" sldId="610"/>
            <ac:spMk id="4" creationId="{F3616A99-090F-45E1-9334-58D58B148205}"/>
          </ac:spMkLst>
        </pc:spChg>
        <pc:picChg chg="add mod">
          <ac:chgData name="Renata Festa" userId="6f22df47-533b-4c2a-a3c1-7f9ad1d63e10" providerId="ADAL" clId="{D9D6212D-B474-44D1-8C31-1C18EFD4DC64}" dt="2020-03-26T23:42:29.003" v="723" actId="962"/>
          <ac:picMkLst>
            <pc:docMk/>
            <pc:sldMk cId="2534234927" sldId="610"/>
            <ac:picMk id="5" creationId="{D7218A1A-749E-400B-B30B-5AF8E1EB8725}"/>
          </ac:picMkLst>
        </pc:picChg>
      </pc:sldChg>
      <pc:sldChg chg="addSp delSp modSp add mod modShow">
        <pc:chgData name="Renata Festa" userId="6f22df47-533b-4c2a-a3c1-7f9ad1d63e10" providerId="ADAL" clId="{D9D6212D-B474-44D1-8C31-1C18EFD4DC64}" dt="2020-03-26T23:43:33.683" v="740" actId="729"/>
        <pc:sldMkLst>
          <pc:docMk/>
          <pc:sldMk cId="393412763" sldId="611"/>
        </pc:sldMkLst>
        <pc:spChg chg="mod">
          <ac:chgData name="Renata Festa" userId="6f22df47-533b-4c2a-a3c1-7f9ad1d63e10" providerId="ADAL" clId="{D9D6212D-B474-44D1-8C31-1C18EFD4DC64}" dt="2020-03-26T23:42:56.801" v="730"/>
          <ac:spMkLst>
            <pc:docMk/>
            <pc:sldMk cId="393412763" sldId="611"/>
            <ac:spMk id="2" creationId="{1771C9BA-1A6B-4AC8-9436-AF53F6F19496}"/>
          </ac:spMkLst>
        </pc:spChg>
        <pc:spChg chg="del">
          <ac:chgData name="Renata Festa" userId="6f22df47-533b-4c2a-a3c1-7f9ad1d63e10" providerId="ADAL" clId="{D9D6212D-B474-44D1-8C31-1C18EFD4DC64}" dt="2020-03-26T23:43:29.831" v="739" actId="478"/>
          <ac:spMkLst>
            <pc:docMk/>
            <pc:sldMk cId="393412763" sldId="611"/>
            <ac:spMk id="3" creationId="{5F58F608-7DFD-4F4C-807B-6469EEE5CDC6}"/>
          </ac:spMkLst>
        </pc:spChg>
        <pc:picChg chg="add mod">
          <ac:chgData name="Renata Festa" userId="6f22df47-533b-4c2a-a3c1-7f9ad1d63e10" providerId="ADAL" clId="{D9D6212D-B474-44D1-8C31-1C18EFD4DC64}" dt="2020-03-26T23:43:22.529" v="738" actId="14100"/>
          <ac:picMkLst>
            <pc:docMk/>
            <pc:sldMk cId="393412763" sldId="611"/>
            <ac:picMk id="4" creationId="{D26CC073-5E88-4AF6-9769-9AFCFA598D1E}"/>
          </ac:picMkLst>
        </pc:picChg>
      </pc:sldChg>
      <pc:sldChg chg="add del">
        <pc:chgData name="Renata Festa" userId="6f22df47-533b-4c2a-a3c1-7f9ad1d63e10" providerId="ADAL" clId="{D9D6212D-B474-44D1-8C31-1C18EFD4DC64}" dt="2020-03-26T23:46:19.115" v="776" actId="47"/>
        <pc:sldMkLst>
          <pc:docMk/>
          <pc:sldMk cId="896182388" sldId="612"/>
        </pc:sldMkLst>
      </pc:sldChg>
      <pc:sldChg chg="add del">
        <pc:chgData name="Renata Festa" userId="6f22df47-533b-4c2a-a3c1-7f9ad1d63e10" providerId="ADAL" clId="{D9D6212D-B474-44D1-8C31-1C18EFD4DC64}" dt="2020-03-26T23:44:05.600" v="751" actId="47"/>
        <pc:sldMkLst>
          <pc:docMk/>
          <pc:sldMk cId="2451085812" sldId="612"/>
        </pc:sldMkLst>
      </pc:sldChg>
      <pc:sldChg chg="add del">
        <pc:chgData name="Renata Festa" userId="6f22df47-533b-4c2a-a3c1-7f9ad1d63e10" providerId="ADAL" clId="{D9D6212D-B474-44D1-8C31-1C18EFD4DC64}" dt="2020-03-26T23:44:05.600" v="751" actId="47"/>
        <pc:sldMkLst>
          <pc:docMk/>
          <pc:sldMk cId="482200440" sldId="613"/>
        </pc:sldMkLst>
      </pc:sldChg>
      <pc:sldChg chg="add del">
        <pc:chgData name="Renata Festa" userId="6f22df47-533b-4c2a-a3c1-7f9ad1d63e10" providerId="ADAL" clId="{D9D6212D-B474-44D1-8C31-1C18EFD4DC64}" dt="2020-03-26T23:44:05.600" v="751" actId="47"/>
        <pc:sldMkLst>
          <pc:docMk/>
          <pc:sldMk cId="3956176658" sldId="614"/>
        </pc:sldMkLst>
      </pc:sldChg>
      <pc:sldChg chg="addSp delSp modSp add del mod modAnim">
        <pc:chgData name="Renata Festa" userId="6f22df47-533b-4c2a-a3c1-7f9ad1d63e10" providerId="ADAL" clId="{D9D6212D-B474-44D1-8C31-1C18EFD4DC64}" dt="2020-03-26T23:47:58.913" v="790"/>
        <pc:sldMkLst>
          <pc:docMk/>
          <pc:sldMk cId="815604796" sldId="638"/>
        </pc:sldMkLst>
        <pc:spChg chg="add del mod">
          <ac:chgData name="Renata Festa" userId="6f22df47-533b-4c2a-a3c1-7f9ad1d63e10" providerId="ADAL" clId="{D9D6212D-B474-44D1-8C31-1C18EFD4DC64}" dt="2020-03-26T23:47:41.346" v="788" actId="12084"/>
          <ac:spMkLst>
            <pc:docMk/>
            <pc:sldMk cId="815604796" sldId="638"/>
            <ac:spMk id="3" creationId="{44FF44BF-EAB6-4BDE-A881-30A3E4FBD40A}"/>
          </ac:spMkLst>
        </pc:spChg>
        <pc:graphicFrameChg chg="del mod">
          <ac:chgData name="Renata Festa" userId="6f22df47-533b-4c2a-a3c1-7f9ad1d63e10" providerId="ADAL" clId="{D9D6212D-B474-44D1-8C31-1C18EFD4DC64}" dt="2020-03-26T23:46:51.462" v="783" actId="11529"/>
          <ac:graphicFrameMkLst>
            <pc:docMk/>
            <pc:sldMk cId="815604796" sldId="638"/>
            <ac:graphicFrameMk id="4" creationId="{233B4DBA-9A48-44B9-9ED6-D4E38E955F14}"/>
          </ac:graphicFrameMkLst>
        </pc:graphicFrameChg>
        <pc:graphicFrameChg chg="add mod">
          <ac:chgData name="Renata Festa" userId="6f22df47-533b-4c2a-a3c1-7f9ad1d63e10" providerId="ADAL" clId="{D9D6212D-B474-44D1-8C31-1C18EFD4DC64}" dt="2020-03-26T23:47:41.346" v="788" actId="12084"/>
          <ac:graphicFrameMkLst>
            <pc:docMk/>
            <pc:sldMk cId="815604796" sldId="638"/>
            <ac:graphicFrameMk id="5" creationId="{9D786396-8886-485A-8B68-490D282F3302}"/>
          </ac:graphicFrameMkLst>
        </pc:graphicFrameChg>
      </pc:sldChg>
    </pc:docChg>
  </pc:docChgLst>
  <pc:docChgLst>
    <pc:chgData name="Batuhan Yildiz" userId="90f344fc-4655-4923-aeaf-697bba59c1a7" providerId="ADAL" clId="{16E7EBAD-105A-4BF0-8A81-9DBFEFCB685E}"/>
    <pc:docChg chg="undo custSel addSld delSld modSld modSection">
      <pc:chgData name="Batuhan Yildiz" userId="90f344fc-4655-4923-aeaf-697bba59c1a7" providerId="ADAL" clId="{16E7EBAD-105A-4BF0-8A81-9DBFEFCB685E}" dt="2020-04-30T19:14:07.026" v="69" actId="14100"/>
      <pc:docMkLst>
        <pc:docMk/>
      </pc:docMkLst>
      <pc:sldChg chg="modNotesTx">
        <pc:chgData name="Batuhan Yildiz" userId="90f344fc-4655-4923-aeaf-697bba59c1a7" providerId="ADAL" clId="{16E7EBAD-105A-4BF0-8A81-9DBFEFCB685E}" dt="2020-04-30T17:38:38.189" v="2" actId="20577"/>
        <pc:sldMkLst>
          <pc:docMk/>
          <pc:sldMk cId="4267675391" sldId="531"/>
        </pc:sldMkLst>
      </pc:sldChg>
      <pc:sldChg chg="modNotesTx">
        <pc:chgData name="Batuhan Yildiz" userId="90f344fc-4655-4923-aeaf-697bba59c1a7" providerId="ADAL" clId="{16E7EBAD-105A-4BF0-8A81-9DBFEFCB685E}" dt="2020-04-30T17:39:38.288" v="20"/>
        <pc:sldMkLst>
          <pc:docMk/>
          <pc:sldMk cId="1861621179" sldId="535"/>
        </pc:sldMkLst>
      </pc:sldChg>
      <pc:sldChg chg="modSp">
        <pc:chgData name="Batuhan Yildiz" userId="90f344fc-4655-4923-aeaf-697bba59c1a7" providerId="ADAL" clId="{16E7EBAD-105A-4BF0-8A81-9DBFEFCB685E}" dt="2020-04-30T19:13:45.186" v="68" actId="14100"/>
        <pc:sldMkLst>
          <pc:docMk/>
          <pc:sldMk cId="3735096506" sldId="563"/>
        </pc:sldMkLst>
        <pc:graphicFrameChg chg="mod">
          <ac:chgData name="Batuhan Yildiz" userId="90f344fc-4655-4923-aeaf-697bba59c1a7" providerId="ADAL" clId="{16E7EBAD-105A-4BF0-8A81-9DBFEFCB685E}" dt="2020-04-30T19:13:45.186" v="68" actId="14100"/>
          <ac:graphicFrameMkLst>
            <pc:docMk/>
            <pc:sldMk cId="3735096506" sldId="563"/>
            <ac:graphicFrameMk id="3" creationId="{9484E1FE-7534-495E-863C-657A46F5E628}"/>
          </ac:graphicFrameMkLst>
        </pc:graphicFrameChg>
      </pc:sldChg>
      <pc:sldChg chg="modSp del mod">
        <pc:chgData name="Batuhan Yildiz" userId="90f344fc-4655-4923-aeaf-697bba59c1a7" providerId="ADAL" clId="{16E7EBAD-105A-4BF0-8A81-9DBFEFCB685E}" dt="2020-04-30T17:40:14.183" v="33" actId="2696"/>
        <pc:sldMkLst>
          <pc:docMk/>
          <pc:sldMk cId="670385602" sldId="567"/>
        </pc:sldMkLst>
        <pc:spChg chg="mod">
          <ac:chgData name="Batuhan Yildiz" userId="90f344fc-4655-4923-aeaf-697bba59c1a7" providerId="ADAL" clId="{16E7EBAD-105A-4BF0-8A81-9DBFEFCB685E}" dt="2020-04-30T17:39:57.609" v="24" actId="20577"/>
          <ac:spMkLst>
            <pc:docMk/>
            <pc:sldMk cId="670385602" sldId="567"/>
            <ac:spMk id="3" creationId="{8F64A22E-2B43-4FC6-AF08-0CDB3F9E9269}"/>
          </ac:spMkLst>
        </pc:spChg>
        <pc:spChg chg="mod">
          <ac:chgData name="Batuhan Yildiz" userId="90f344fc-4655-4923-aeaf-697bba59c1a7" providerId="ADAL" clId="{16E7EBAD-105A-4BF0-8A81-9DBFEFCB685E}" dt="2020-04-30T17:40:12.586" v="31" actId="12"/>
          <ac:spMkLst>
            <pc:docMk/>
            <pc:sldMk cId="670385602" sldId="567"/>
            <ac:spMk id="6" creationId="{637E159C-9ACF-48AE-927A-D5FB13695C7F}"/>
          </ac:spMkLst>
        </pc:spChg>
      </pc:sldChg>
      <pc:sldChg chg="modNotesTx">
        <pc:chgData name="Batuhan Yildiz" userId="90f344fc-4655-4923-aeaf-697bba59c1a7" providerId="ADAL" clId="{16E7EBAD-105A-4BF0-8A81-9DBFEFCB685E}" dt="2020-04-30T17:40:41.838" v="38"/>
        <pc:sldMkLst>
          <pc:docMk/>
          <pc:sldMk cId="2147177822" sldId="568"/>
        </pc:sldMkLst>
      </pc:sldChg>
      <pc:sldChg chg="modSp">
        <pc:chgData name="Batuhan Yildiz" userId="90f344fc-4655-4923-aeaf-697bba59c1a7" providerId="ADAL" clId="{16E7EBAD-105A-4BF0-8A81-9DBFEFCB685E}" dt="2020-04-30T19:14:07.026" v="69" actId="14100"/>
        <pc:sldMkLst>
          <pc:docMk/>
          <pc:sldMk cId="2346840044" sldId="570"/>
        </pc:sldMkLst>
        <pc:graphicFrameChg chg="mod">
          <ac:chgData name="Batuhan Yildiz" userId="90f344fc-4655-4923-aeaf-697bba59c1a7" providerId="ADAL" clId="{16E7EBAD-105A-4BF0-8A81-9DBFEFCB685E}" dt="2020-04-30T19:14:07.026" v="69" actId="14100"/>
          <ac:graphicFrameMkLst>
            <pc:docMk/>
            <pc:sldMk cId="2346840044" sldId="570"/>
            <ac:graphicFrameMk id="3" creationId="{9484E1FE-7534-495E-863C-657A46F5E628}"/>
          </ac:graphicFrameMkLst>
        </pc:graphicFrameChg>
      </pc:sldChg>
      <pc:sldChg chg="delSp mod">
        <pc:chgData name="Batuhan Yildiz" userId="90f344fc-4655-4923-aeaf-697bba59c1a7" providerId="ADAL" clId="{16E7EBAD-105A-4BF0-8A81-9DBFEFCB685E}" dt="2020-04-30T19:08:22.012" v="39" actId="478"/>
        <pc:sldMkLst>
          <pc:docMk/>
          <pc:sldMk cId="1232747909" sldId="588"/>
        </pc:sldMkLst>
        <pc:spChg chg="del">
          <ac:chgData name="Batuhan Yildiz" userId="90f344fc-4655-4923-aeaf-697bba59c1a7" providerId="ADAL" clId="{16E7EBAD-105A-4BF0-8A81-9DBFEFCB685E}" dt="2020-04-30T19:08:22.012" v="39" actId="478"/>
          <ac:spMkLst>
            <pc:docMk/>
            <pc:sldMk cId="1232747909" sldId="588"/>
            <ac:spMk id="6" creationId="{15E9D984-8366-4EBA-8597-A8C841BF2633}"/>
          </ac:spMkLst>
        </pc:spChg>
      </pc:sldChg>
      <pc:sldChg chg="delSp mod">
        <pc:chgData name="Batuhan Yildiz" userId="90f344fc-4655-4923-aeaf-697bba59c1a7" providerId="ADAL" clId="{16E7EBAD-105A-4BF0-8A81-9DBFEFCB685E}" dt="2020-04-30T19:08:30.592" v="40" actId="478"/>
        <pc:sldMkLst>
          <pc:docMk/>
          <pc:sldMk cId="775669388" sldId="589"/>
        </pc:sldMkLst>
        <pc:spChg chg="del">
          <ac:chgData name="Batuhan Yildiz" userId="90f344fc-4655-4923-aeaf-697bba59c1a7" providerId="ADAL" clId="{16E7EBAD-105A-4BF0-8A81-9DBFEFCB685E}" dt="2020-04-30T19:08:30.592" v="40" actId="478"/>
          <ac:spMkLst>
            <pc:docMk/>
            <pc:sldMk cId="775669388" sldId="589"/>
            <ac:spMk id="6" creationId="{15E9D984-8366-4EBA-8597-A8C841BF2633}"/>
          </ac:spMkLst>
        </pc:spChg>
      </pc:sldChg>
      <pc:sldChg chg="delSp modSp mod">
        <pc:chgData name="Batuhan Yildiz" userId="90f344fc-4655-4923-aeaf-697bba59c1a7" providerId="ADAL" clId="{16E7EBAD-105A-4BF0-8A81-9DBFEFCB685E}" dt="2020-04-30T19:12:37.347" v="63" actId="207"/>
        <pc:sldMkLst>
          <pc:docMk/>
          <pc:sldMk cId="505804855" sldId="597"/>
        </pc:sldMkLst>
        <pc:spChg chg="del">
          <ac:chgData name="Batuhan Yildiz" userId="90f344fc-4655-4923-aeaf-697bba59c1a7" providerId="ADAL" clId="{16E7EBAD-105A-4BF0-8A81-9DBFEFCB685E}" dt="2020-04-30T19:09:38.879" v="44" actId="478"/>
          <ac:spMkLst>
            <pc:docMk/>
            <pc:sldMk cId="505804855" sldId="597"/>
            <ac:spMk id="3" creationId="{3CCA43A9-01AD-451C-A62B-3B1E6F581713}"/>
          </ac:spMkLst>
        </pc:spChg>
        <pc:spChg chg="mod">
          <ac:chgData name="Batuhan Yildiz" userId="90f344fc-4655-4923-aeaf-697bba59c1a7" providerId="ADAL" clId="{16E7EBAD-105A-4BF0-8A81-9DBFEFCB685E}" dt="2020-04-30T19:12:19.338" v="59" actId="207"/>
          <ac:spMkLst>
            <pc:docMk/>
            <pc:sldMk cId="505804855" sldId="597"/>
            <ac:spMk id="5" creationId="{A59E6C2A-B93E-4ACF-B49C-F18A484273C1}"/>
          </ac:spMkLst>
        </pc:spChg>
        <pc:graphicFrameChg chg="mod">
          <ac:chgData name="Batuhan Yildiz" userId="90f344fc-4655-4923-aeaf-697bba59c1a7" providerId="ADAL" clId="{16E7EBAD-105A-4BF0-8A81-9DBFEFCB685E}" dt="2020-04-30T19:12:37.347" v="63" actId="207"/>
          <ac:graphicFrameMkLst>
            <pc:docMk/>
            <pc:sldMk cId="505804855" sldId="597"/>
            <ac:graphicFrameMk id="4" creationId="{F245A662-90E0-42AC-AE6A-575DE840297E}"/>
          </ac:graphicFrameMkLst>
        </pc:graphicFrameChg>
      </pc:sldChg>
      <pc:sldChg chg="delSp modSp mod">
        <pc:chgData name="Batuhan Yildiz" userId="90f344fc-4655-4923-aeaf-697bba59c1a7" providerId="ADAL" clId="{16E7EBAD-105A-4BF0-8A81-9DBFEFCB685E}" dt="2020-04-30T19:13:26.360" v="67" actId="207"/>
        <pc:sldMkLst>
          <pc:docMk/>
          <pc:sldMk cId="634441832" sldId="598"/>
        </pc:sldMkLst>
        <pc:spChg chg="del">
          <ac:chgData name="Batuhan Yildiz" userId="90f344fc-4655-4923-aeaf-697bba59c1a7" providerId="ADAL" clId="{16E7EBAD-105A-4BF0-8A81-9DBFEFCB685E}" dt="2020-04-30T19:12:51.679" v="64" actId="478"/>
          <ac:spMkLst>
            <pc:docMk/>
            <pc:sldMk cId="634441832" sldId="598"/>
            <ac:spMk id="3" creationId="{3CCA43A9-01AD-451C-A62B-3B1E6F581713}"/>
          </ac:spMkLst>
        </pc:spChg>
        <pc:graphicFrameChg chg="mod">
          <ac:chgData name="Batuhan Yildiz" userId="90f344fc-4655-4923-aeaf-697bba59c1a7" providerId="ADAL" clId="{16E7EBAD-105A-4BF0-8A81-9DBFEFCB685E}" dt="2020-04-30T19:13:26.360" v="67" actId="207"/>
          <ac:graphicFrameMkLst>
            <pc:docMk/>
            <pc:sldMk cId="634441832" sldId="598"/>
            <ac:graphicFrameMk id="78" creationId="{617BDB3C-9D44-43E1-831E-49CE22C4C6DD}"/>
          </ac:graphicFrameMkLst>
        </pc:graphicFrameChg>
      </pc:sldChg>
      <pc:sldChg chg="modSp del mod">
        <pc:chgData name="Batuhan Yildiz" userId="90f344fc-4655-4923-aeaf-697bba59c1a7" providerId="ADAL" clId="{16E7EBAD-105A-4BF0-8A81-9DBFEFCB685E}" dt="2020-04-30T17:39:06.030" v="15" actId="2696"/>
        <pc:sldMkLst>
          <pc:docMk/>
          <pc:sldMk cId="1226256449" sldId="603"/>
        </pc:sldMkLst>
        <pc:spChg chg="mod">
          <ac:chgData name="Batuhan Yildiz" userId="90f344fc-4655-4923-aeaf-697bba59c1a7" providerId="ADAL" clId="{16E7EBAD-105A-4BF0-8A81-9DBFEFCB685E}" dt="2020-04-30T17:38:49.878" v="6" actId="20577"/>
          <ac:spMkLst>
            <pc:docMk/>
            <pc:sldMk cId="1226256449" sldId="603"/>
            <ac:spMk id="3" creationId="{8F64A22E-2B43-4FC6-AF08-0CDB3F9E9269}"/>
          </ac:spMkLst>
        </pc:spChg>
        <pc:spChg chg="mod">
          <ac:chgData name="Batuhan Yildiz" userId="90f344fc-4655-4923-aeaf-697bba59c1a7" providerId="ADAL" clId="{16E7EBAD-105A-4BF0-8A81-9DBFEFCB685E}" dt="2020-04-30T17:39:04.692" v="13" actId="12"/>
          <ac:spMkLst>
            <pc:docMk/>
            <pc:sldMk cId="1226256449" sldId="603"/>
            <ac:spMk id="6" creationId="{637E159C-9ACF-48AE-927A-D5FB13695C7F}"/>
          </ac:spMkLst>
        </pc:spChg>
      </pc:sldChg>
      <pc:sldChg chg="modSp add mod modNotesTx">
        <pc:chgData name="Batuhan Yildiz" userId="90f344fc-4655-4923-aeaf-697bba59c1a7" providerId="ADAL" clId="{16E7EBAD-105A-4BF0-8A81-9DBFEFCB685E}" dt="2020-04-30T17:39:26.485" v="19" actId="20577"/>
        <pc:sldMkLst>
          <pc:docMk/>
          <pc:sldMk cId="3048029213" sldId="639"/>
        </pc:sldMkLst>
        <pc:spChg chg="mod">
          <ac:chgData name="Batuhan Yildiz" userId="90f344fc-4655-4923-aeaf-697bba59c1a7" providerId="ADAL" clId="{16E7EBAD-105A-4BF0-8A81-9DBFEFCB685E}" dt="2020-04-30T17:39:11.568" v="16" actId="15"/>
          <ac:spMkLst>
            <pc:docMk/>
            <pc:sldMk cId="3048029213" sldId="639"/>
            <ac:spMk id="6" creationId="{637E159C-9ACF-48AE-927A-D5FB13695C7F}"/>
          </ac:spMkLst>
        </pc:spChg>
      </pc:sldChg>
      <pc:sldChg chg="modSp add mod modNotesTx">
        <pc:chgData name="Batuhan Yildiz" userId="90f344fc-4655-4923-aeaf-697bba59c1a7" providerId="ADAL" clId="{16E7EBAD-105A-4BF0-8A81-9DBFEFCB685E}" dt="2020-04-30T17:40:31.685" v="37" actId="20577"/>
        <pc:sldMkLst>
          <pc:docMk/>
          <pc:sldMk cId="423532435" sldId="640"/>
        </pc:sldMkLst>
        <pc:spChg chg="mod">
          <ac:chgData name="Batuhan Yildiz" userId="90f344fc-4655-4923-aeaf-697bba59c1a7" providerId="ADAL" clId="{16E7EBAD-105A-4BF0-8A81-9DBFEFCB685E}" dt="2020-04-30T17:40:16.369" v="34" actId="15"/>
          <ac:spMkLst>
            <pc:docMk/>
            <pc:sldMk cId="423532435" sldId="640"/>
            <ac:spMk id="6" creationId="{637E159C-9ACF-48AE-927A-D5FB13695C7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A37E90-AF7A-4B33-935E-28067FC608F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DB49365-C1B5-4B6D-8A30-6D4A48869514}">
      <dgm:prSet custT="1"/>
      <dgm:spPr/>
      <dgm:t>
        <a:bodyPr/>
        <a:lstStyle/>
        <a:p>
          <a:r>
            <a:rPr lang="en-US" sz="2400" baseline="0" dirty="0"/>
            <a:t>Enabling the application to continuously operate during unplanned and planned disruptive events.</a:t>
          </a:r>
          <a:endParaRPr lang="en-US" sz="2400" dirty="0"/>
        </a:p>
      </dgm:t>
    </dgm:pt>
    <dgm:pt modelId="{2DC59D7B-13A7-4983-8B0C-050A27F15552}" type="parTrans" cxnId="{D4D947E7-884F-4B31-9A91-F052FC9A2C3C}">
      <dgm:prSet/>
      <dgm:spPr/>
      <dgm:t>
        <a:bodyPr/>
        <a:lstStyle/>
        <a:p>
          <a:endParaRPr lang="en-US"/>
        </a:p>
      </dgm:t>
    </dgm:pt>
    <dgm:pt modelId="{FB5A1328-FDF6-4012-AD24-EE546C942F9A}" type="sibTrans" cxnId="{D4D947E7-884F-4B31-9A91-F052FC9A2C3C}">
      <dgm:prSet/>
      <dgm:spPr/>
      <dgm:t>
        <a:bodyPr/>
        <a:lstStyle/>
        <a:p>
          <a:endParaRPr lang="en-US"/>
        </a:p>
      </dgm:t>
    </dgm:pt>
    <dgm:pt modelId="{475F78A8-9FBE-48DA-A87D-852615299CD5}">
      <dgm:prSet custT="1"/>
      <dgm:spPr/>
      <dgm:t>
        <a:bodyPr/>
        <a:lstStyle/>
        <a:p>
          <a:r>
            <a:rPr lang="en-US" sz="2400" baseline="0" dirty="0"/>
            <a:t>Disruption scenarios in general:</a:t>
          </a:r>
          <a:endParaRPr lang="en-US" sz="2400" dirty="0"/>
        </a:p>
      </dgm:t>
    </dgm:pt>
    <dgm:pt modelId="{CE227EA0-E655-42E4-A41D-D261857FABDC}" type="parTrans" cxnId="{B90D8268-63F4-41B7-A3C2-0DE5A5B6A6B6}">
      <dgm:prSet/>
      <dgm:spPr/>
      <dgm:t>
        <a:bodyPr/>
        <a:lstStyle/>
        <a:p>
          <a:endParaRPr lang="en-US"/>
        </a:p>
      </dgm:t>
    </dgm:pt>
    <dgm:pt modelId="{EDAAD3FE-6D6F-40BD-AF30-A52C0CB977F1}" type="sibTrans" cxnId="{B90D8268-63F4-41B7-A3C2-0DE5A5B6A6B6}">
      <dgm:prSet/>
      <dgm:spPr/>
      <dgm:t>
        <a:bodyPr/>
        <a:lstStyle/>
        <a:p>
          <a:endParaRPr lang="en-US"/>
        </a:p>
      </dgm:t>
    </dgm:pt>
    <dgm:pt modelId="{E9647765-0EC2-494A-B56D-1F2D38C730E1}">
      <dgm:prSet custT="1"/>
      <dgm:spPr/>
      <dgm:t>
        <a:bodyPr/>
        <a:lstStyle/>
        <a:p>
          <a:r>
            <a:rPr lang="en-US" sz="2000" baseline="0" dirty="0"/>
            <a:t>Local hardware or software failures</a:t>
          </a:r>
          <a:endParaRPr lang="en-US" sz="2000" dirty="0"/>
        </a:p>
      </dgm:t>
    </dgm:pt>
    <dgm:pt modelId="{FFB90F95-B8F4-42F4-A528-67E0499F11F7}" type="parTrans" cxnId="{40A80165-FD59-4F69-B32E-91EF7F9F9655}">
      <dgm:prSet/>
      <dgm:spPr/>
      <dgm:t>
        <a:bodyPr/>
        <a:lstStyle/>
        <a:p>
          <a:endParaRPr lang="en-US"/>
        </a:p>
      </dgm:t>
    </dgm:pt>
    <dgm:pt modelId="{2E389E52-2AAA-4031-BB68-D927EF81614A}" type="sibTrans" cxnId="{40A80165-FD59-4F69-B32E-91EF7F9F9655}">
      <dgm:prSet/>
      <dgm:spPr/>
      <dgm:t>
        <a:bodyPr/>
        <a:lstStyle/>
        <a:p>
          <a:endParaRPr lang="en-US"/>
        </a:p>
      </dgm:t>
    </dgm:pt>
    <dgm:pt modelId="{3AE8F833-128F-43CB-9E15-3EBD2C9E8060}">
      <dgm:prSet custT="1"/>
      <dgm:spPr/>
      <dgm:t>
        <a:bodyPr/>
        <a:lstStyle/>
        <a:p>
          <a:r>
            <a:rPr lang="en-US" sz="2000" baseline="0" dirty="0"/>
            <a:t>Data corruption or deletion typically caused by an application bug or human error. </a:t>
          </a:r>
          <a:endParaRPr lang="en-US" sz="2000" dirty="0"/>
        </a:p>
      </dgm:t>
    </dgm:pt>
    <dgm:pt modelId="{B12AC4BD-E831-4AE1-BA47-0C5AFFA8F324}" type="parTrans" cxnId="{0B13AFAE-CAC3-46AC-812F-749D3A7DF24E}">
      <dgm:prSet/>
      <dgm:spPr/>
      <dgm:t>
        <a:bodyPr/>
        <a:lstStyle/>
        <a:p>
          <a:endParaRPr lang="en-US"/>
        </a:p>
      </dgm:t>
    </dgm:pt>
    <dgm:pt modelId="{BD6601E5-9127-45CC-A914-F2272FC03AEB}" type="sibTrans" cxnId="{0B13AFAE-CAC3-46AC-812F-749D3A7DF24E}">
      <dgm:prSet/>
      <dgm:spPr/>
      <dgm:t>
        <a:bodyPr/>
        <a:lstStyle/>
        <a:p>
          <a:endParaRPr lang="en-US"/>
        </a:p>
      </dgm:t>
    </dgm:pt>
    <dgm:pt modelId="{9500092F-FD48-4AF7-A0CA-1F527F0C9AC8}">
      <dgm:prSet custT="1"/>
      <dgm:spPr/>
      <dgm:t>
        <a:bodyPr/>
        <a:lstStyle/>
        <a:p>
          <a:r>
            <a:rPr lang="en-US" sz="2000" baseline="0" dirty="0"/>
            <a:t>Datacenter outage, possibly caused by a natural disaster. </a:t>
          </a:r>
          <a:endParaRPr lang="en-US" sz="2000" dirty="0"/>
        </a:p>
      </dgm:t>
    </dgm:pt>
    <dgm:pt modelId="{3860901F-1E5E-481E-B465-9A1A908D9EFA}" type="parTrans" cxnId="{E3F79BB2-B8ED-4AA9-80B5-2D3EAFE4F4F7}">
      <dgm:prSet/>
      <dgm:spPr/>
      <dgm:t>
        <a:bodyPr/>
        <a:lstStyle/>
        <a:p>
          <a:endParaRPr lang="en-US"/>
        </a:p>
      </dgm:t>
    </dgm:pt>
    <dgm:pt modelId="{BA30728A-F4F9-4FF0-98DB-E8DB23759BF1}" type="sibTrans" cxnId="{E3F79BB2-B8ED-4AA9-80B5-2D3EAFE4F4F7}">
      <dgm:prSet/>
      <dgm:spPr/>
      <dgm:t>
        <a:bodyPr/>
        <a:lstStyle/>
        <a:p>
          <a:endParaRPr lang="en-US"/>
        </a:p>
      </dgm:t>
    </dgm:pt>
    <dgm:pt modelId="{08668709-64D8-407F-B70F-8651B98542D9}">
      <dgm:prSet custT="1"/>
      <dgm:spPr/>
      <dgm:t>
        <a:bodyPr/>
        <a:lstStyle/>
        <a:p>
          <a:r>
            <a:rPr lang="en-US" sz="2000" baseline="0" dirty="0"/>
            <a:t>Upgrade or maintenance errors.</a:t>
          </a:r>
          <a:endParaRPr lang="en-US" sz="2000" dirty="0"/>
        </a:p>
      </dgm:t>
    </dgm:pt>
    <dgm:pt modelId="{22F86589-E739-435D-A0D9-78E7C52DBBE8}" type="parTrans" cxnId="{32989612-60C9-4C71-819B-A41E028FCD02}">
      <dgm:prSet/>
      <dgm:spPr/>
      <dgm:t>
        <a:bodyPr/>
        <a:lstStyle/>
        <a:p>
          <a:endParaRPr lang="en-US"/>
        </a:p>
      </dgm:t>
    </dgm:pt>
    <dgm:pt modelId="{6C624753-9489-4F46-B756-C932977CF31E}" type="sibTrans" cxnId="{32989612-60C9-4C71-819B-A41E028FCD02}">
      <dgm:prSet/>
      <dgm:spPr/>
      <dgm:t>
        <a:bodyPr/>
        <a:lstStyle/>
        <a:p>
          <a:endParaRPr lang="en-US"/>
        </a:p>
      </dgm:t>
    </dgm:pt>
    <dgm:pt modelId="{AEED0157-E861-4300-BEB5-C5435BAFB444}" type="pres">
      <dgm:prSet presAssocID="{FBA37E90-AF7A-4B33-935E-28067FC608FC}" presName="linear" presStyleCnt="0">
        <dgm:presLayoutVars>
          <dgm:animLvl val="lvl"/>
          <dgm:resizeHandles val="exact"/>
        </dgm:presLayoutVars>
      </dgm:prSet>
      <dgm:spPr/>
    </dgm:pt>
    <dgm:pt modelId="{52A79C22-23FE-4E5B-8879-2D743CC807BF}" type="pres">
      <dgm:prSet presAssocID="{4DB49365-C1B5-4B6D-8A30-6D4A48869514}" presName="parentText" presStyleLbl="node1" presStyleIdx="0" presStyleCnt="2">
        <dgm:presLayoutVars>
          <dgm:chMax val="0"/>
          <dgm:bulletEnabled val="1"/>
        </dgm:presLayoutVars>
      </dgm:prSet>
      <dgm:spPr/>
    </dgm:pt>
    <dgm:pt modelId="{C72CA798-BEA2-4F4D-B660-C906023CBEF2}" type="pres">
      <dgm:prSet presAssocID="{FB5A1328-FDF6-4012-AD24-EE546C942F9A}" presName="spacer" presStyleCnt="0"/>
      <dgm:spPr/>
    </dgm:pt>
    <dgm:pt modelId="{3F268AC2-1FB3-487B-ABB9-BC8D35B477EF}" type="pres">
      <dgm:prSet presAssocID="{475F78A8-9FBE-48DA-A87D-852615299CD5}" presName="parentText" presStyleLbl="node1" presStyleIdx="1" presStyleCnt="2">
        <dgm:presLayoutVars>
          <dgm:chMax val="0"/>
          <dgm:bulletEnabled val="1"/>
        </dgm:presLayoutVars>
      </dgm:prSet>
      <dgm:spPr/>
    </dgm:pt>
    <dgm:pt modelId="{AB544930-FACD-40F0-96B3-18EB71C6AE49}" type="pres">
      <dgm:prSet presAssocID="{475F78A8-9FBE-48DA-A87D-852615299CD5}" presName="childText" presStyleLbl="revTx" presStyleIdx="0" presStyleCnt="1">
        <dgm:presLayoutVars>
          <dgm:bulletEnabled val="1"/>
        </dgm:presLayoutVars>
      </dgm:prSet>
      <dgm:spPr/>
    </dgm:pt>
  </dgm:ptLst>
  <dgm:cxnLst>
    <dgm:cxn modelId="{32989612-60C9-4C71-819B-A41E028FCD02}" srcId="{475F78A8-9FBE-48DA-A87D-852615299CD5}" destId="{08668709-64D8-407F-B70F-8651B98542D9}" srcOrd="3" destOrd="0" parTransId="{22F86589-E739-435D-A0D9-78E7C52DBBE8}" sibTransId="{6C624753-9489-4F46-B756-C932977CF31E}"/>
    <dgm:cxn modelId="{FF19CA15-DA03-4C58-8E2B-13E6B144C654}" type="presOf" srcId="{FBA37E90-AF7A-4B33-935E-28067FC608FC}" destId="{AEED0157-E861-4300-BEB5-C5435BAFB444}" srcOrd="0" destOrd="0" presId="urn:microsoft.com/office/officeart/2005/8/layout/vList2"/>
    <dgm:cxn modelId="{761D521A-847D-4C81-A6B7-870B6BFC9C47}" type="presOf" srcId="{475F78A8-9FBE-48DA-A87D-852615299CD5}" destId="{3F268AC2-1FB3-487B-ABB9-BC8D35B477EF}" srcOrd="0" destOrd="0" presId="urn:microsoft.com/office/officeart/2005/8/layout/vList2"/>
    <dgm:cxn modelId="{F145EC42-8447-40BA-8FDD-5914CD13A661}" type="presOf" srcId="{3AE8F833-128F-43CB-9E15-3EBD2C9E8060}" destId="{AB544930-FACD-40F0-96B3-18EB71C6AE49}" srcOrd="0" destOrd="1" presId="urn:microsoft.com/office/officeart/2005/8/layout/vList2"/>
    <dgm:cxn modelId="{40A80165-FD59-4F69-B32E-91EF7F9F9655}" srcId="{475F78A8-9FBE-48DA-A87D-852615299CD5}" destId="{E9647765-0EC2-494A-B56D-1F2D38C730E1}" srcOrd="0" destOrd="0" parTransId="{FFB90F95-B8F4-42F4-A528-67E0499F11F7}" sibTransId="{2E389E52-2AAA-4031-BB68-D927EF81614A}"/>
    <dgm:cxn modelId="{01C21C47-8EE9-49D0-AAA5-6370C1DF04CE}" type="presOf" srcId="{08668709-64D8-407F-B70F-8651B98542D9}" destId="{AB544930-FACD-40F0-96B3-18EB71C6AE49}" srcOrd="0" destOrd="3" presId="urn:microsoft.com/office/officeart/2005/8/layout/vList2"/>
    <dgm:cxn modelId="{B90D8268-63F4-41B7-A3C2-0DE5A5B6A6B6}" srcId="{FBA37E90-AF7A-4B33-935E-28067FC608FC}" destId="{475F78A8-9FBE-48DA-A87D-852615299CD5}" srcOrd="1" destOrd="0" parTransId="{CE227EA0-E655-42E4-A41D-D261857FABDC}" sibTransId="{EDAAD3FE-6D6F-40BD-AF30-A52C0CB977F1}"/>
    <dgm:cxn modelId="{1E61E291-6126-4C15-99B1-ECF0777C150E}" type="presOf" srcId="{E9647765-0EC2-494A-B56D-1F2D38C730E1}" destId="{AB544930-FACD-40F0-96B3-18EB71C6AE49}" srcOrd="0" destOrd="0" presId="urn:microsoft.com/office/officeart/2005/8/layout/vList2"/>
    <dgm:cxn modelId="{63FB39AD-3864-492D-9C14-807AA1DAE2B7}" type="presOf" srcId="{9500092F-FD48-4AF7-A0CA-1F527F0C9AC8}" destId="{AB544930-FACD-40F0-96B3-18EB71C6AE49}" srcOrd="0" destOrd="2" presId="urn:microsoft.com/office/officeart/2005/8/layout/vList2"/>
    <dgm:cxn modelId="{0B13AFAE-CAC3-46AC-812F-749D3A7DF24E}" srcId="{475F78A8-9FBE-48DA-A87D-852615299CD5}" destId="{3AE8F833-128F-43CB-9E15-3EBD2C9E8060}" srcOrd="1" destOrd="0" parTransId="{B12AC4BD-E831-4AE1-BA47-0C5AFFA8F324}" sibTransId="{BD6601E5-9127-45CC-A914-F2272FC03AEB}"/>
    <dgm:cxn modelId="{E3F79BB2-B8ED-4AA9-80B5-2D3EAFE4F4F7}" srcId="{475F78A8-9FBE-48DA-A87D-852615299CD5}" destId="{9500092F-FD48-4AF7-A0CA-1F527F0C9AC8}" srcOrd="2" destOrd="0" parTransId="{3860901F-1E5E-481E-B465-9A1A908D9EFA}" sibTransId="{BA30728A-F4F9-4FF0-98DB-E8DB23759BF1}"/>
    <dgm:cxn modelId="{F2EE2AC7-FEB4-4483-AF1C-356BF7B5D568}" type="presOf" srcId="{4DB49365-C1B5-4B6D-8A30-6D4A48869514}" destId="{52A79C22-23FE-4E5B-8879-2D743CC807BF}" srcOrd="0" destOrd="0" presId="urn:microsoft.com/office/officeart/2005/8/layout/vList2"/>
    <dgm:cxn modelId="{D4D947E7-884F-4B31-9A91-F052FC9A2C3C}" srcId="{FBA37E90-AF7A-4B33-935E-28067FC608FC}" destId="{4DB49365-C1B5-4B6D-8A30-6D4A48869514}" srcOrd="0" destOrd="0" parTransId="{2DC59D7B-13A7-4983-8B0C-050A27F15552}" sibTransId="{FB5A1328-FDF6-4012-AD24-EE546C942F9A}"/>
    <dgm:cxn modelId="{1CA4953F-D0CA-404D-9D20-AFD06A9DF7EE}" type="presParOf" srcId="{AEED0157-E861-4300-BEB5-C5435BAFB444}" destId="{52A79C22-23FE-4E5B-8879-2D743CC807BF}" srcOrd="0" destOrd="0" presId="urn:microsoft.com/office/officeart/2005/8/layout/vList2"/>
    <dgm:cxn modelId="{E9E43988-B671-42AD-92B0-C774C677EB75}" type="presParOf" srcId="{AEED0157-E861-4300-BEB5-C5435BAFB444}" destId="{C72CA798-BEA2-4F4D-B660-C906023CBEF2}" srcOrd="1" destOrd="0" presId="urn:microsoft.com/office/officeart/2005/8/layout/vList2"/>
    <dgm:cxn modelId="{DD86C2EA-1CC3-4A03-AFF8-D5B9F1E5D31F}" type="presParOf" srcId="{AEED0157-E861-4300-BEB5-C5435BAFB444}" destId="{3F268AC2-1FB3-487B-ABB9-BC8D35B477EF}" srcOrd="2" destOrd="0" presId="urn:microsoft.com/office/officeart/2005/8/layout/vList2"/>
    <dgm:cxn modelId="{E2025C94-6549-439E-8C0C-72C8EC99A4E4}" type="presParOf" srcId="{AEED0157-E861-4300-BEB5-C5435BAFB444}" destId="{AB544930-FACD-40F0-96B3-18EB71C6AE49}"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061A924-A5EC-433D-A2A7-75894A0A661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099D2E5C-C786-4B74-84D9-44B1418D1455}">
      <dgm:prSet custT="1"/>
      <dgm:spPr>
        <a:xfrm>
          <a:off x="0" y="2975119"/>
          <a:ext cx="5925880" cy="2546775"/>
        </a:xfrm>
        <a:prstGeom prst="rect">
          <a:avLst/>
        </a:prstGeom>
      </dgm:spPr>
      <dgm:t>
        <a:bodyPr/>
        <a:lstStyle/>
        <a:p>
          <a:pPr>
            <a:buChar char="•"/>
          </a:pPr>
          <a:r>
            <a:rPr lang="en-US" sz="2000">
              <a:latin typeface="Segoe UI Semilight" panose="020B0402040204020203" pitchFamily="34" charset="0"/>
              <a:ea typeface="+mn-ea"/>
              <a:cs typeface="Segoe UI Semilight" panose="020B0402040204020203" pitchFamily="34" charset="0"/>
            </a:rPr>
            <a:t>Weekly backup retention (W)</a:t>
          </a:r>
          <a:endParaRPr lang="en-US" sz="2000" dirty="0">
            <a:latin typeface="Segoe UI Semilight" panose="020B0402040204020203" pitchFamily="34" charset="0"/>
            <a:ea typeface="+mn-ea"/>
            <a:cs typeface="Segoe UI Semilight" panose="020B0402040204020203" pitchFamily="34" charset="0"/>
          </a:endParaRPr>
        </a:p>
      </dgm:t>
    </dgm:pt>
    <dgm:pt modelId="{E8E36BFA-641D-495F-AB53-C133518E3ECC}" type="parTrans" cxnId="{CF3BA426-BBB2-4C96-A612-5E6272B6D2BA}">
      <dgm:prSet/>
      <dgm:spPr/>
      <dgm:t>
        <a:bodyPr/>
        <a:lstStyle/>
        <a:p>
          <a:endParaRPr lang="en-US"/>
        </a:p>
      </dgm:t>
    </dgm:pt>
    <dgm:pt modelId="{876273EE-1A86-4100-A70D-B1793E78D0EF}" type="sibTrans" cxnId="{CF3BA426-BBB2-4C96-A612-5E6272B6D2BA}">
      <dgm:prSet/>
      <dgm:spPr/>
      <dgm:t>
        <a:bodyPr/>
        <a:lstStyle/>
        <a:p>
          <a:endParaRPr lang="en-US"/>
        </a:p>
      </dgm:t>
    </dgm:pt>
    <dgm:pt modelId="{DAFA93F0-0A5B-4AA4-9FC7-D30EDE7D7E40}">
      <dgm:prSet custT="1"/>
      <dgm:spPr>
        <a:xfrm>
          <a:off x="0" y="2975119"/>
          <a:ext cx="5925880" cy="2546775"/>
        </a:xfrm>
        <a:prstGeom prst="rect">
          <a:avLst/>
        </a:prstGeom>
      </dgm:spPr>
      <dgm:t>
        <a:bodyPr/>
        <a:lstStyle/>
        <a:p>
          <a:pPr>
            <a:buChar char="•"/>
          </a:pPr>
          <a:r>
            <a:rPr lang="en-US" sz="2000">
              <a:latin typeface="Segoe UI Semilight" panose="020B0402040204020203" pitchFamily="34" charset="0"/>
              <a:ea typeface="+mn-ea"/>
              <a:cs typeface="Segoe UI Semilight" panose="020B0402040204020203" pitchFamily="34" charset="0"/>
            </a:rPr>
            <a:t>Monthly backup retention (M)</a:t>
          </a:r>
          <a:endParaRPr lang="en-US" sz="2000" dirty="0">
            <a:latin typeface="Segoe UI Semilight" panose="020B0402040204020203" pitchFamily="34" charset="0"/>
            <a:ea typeface="+mn-ea"/>
            <a:cs typeface="Segoe UI Semilight" panose="020B0402040204020203" pitchFamily="34" charset="0"/>
          </a:endParaRPr>
        </a:p>
      </dgm:t>
    </dgm:pt>
    <dgm:pt modelId="{1762D51F-4DA1-400D-AF7E-F0E0BF16FCDF}" type="parTrans" cxnId="{1F4A86AD-C3F2-4547-8512-BE85C3EDFF5C}">
      <dgm:prSet/>
      <dgm:spPr/>
      <dgm:t>
        <a:bodyPr/>
        <a:lstStyle/>
        <a:p>
          <a:endParaRPr lang="en-US"/>
        </a:p>
      </dgm:t>
    </dgm:pt>
    <dgm:pt modelId="{839D4F96-337C-4930-9970-7E15D83F72CE}" type="sibTrans" cxnId="{1F4A86AD-C3F2-4547-8512-BE85C3EDFF5C}">
      <dgm:prSet/>
      <dgm:spPr/>
      <dgm:t>
        <a:bodyPr/>
        <a:lstStyle/>
        <a:p>
          <a:endParaRPr lang="en-US"/>
        </a:p>
      </dgm:t>
    </dgm:pt>
    <dgm:pt modelId="{9D98F57A-C4B5-46EF-B81D-FB0285B682B4}">
      <dgm:prSet custT="1"/>
      <dgm:spPr>
        <a:xfrm>
          <a:off x="0" y="2975119"/>
          <a:ext cx="5925880" cy="2546775"/>
        </a:xfrm>
        <a:prstGeom prst="rect">
          <a:avLst/>
        </a:prstGeom>
      </dgm:spPr>
      <dgm:t>
        <a:bodyPr/>
        <a:lstStyle/>
        <a:p>
          <a:pPr>
            <a:buChar char="•"/>
          </a:pPr>
          <a:r>
            <a:rPr lang="en-US" sz="2000">
              <a:latin typeface="Segoe UI Semilight" panose="020B0402040204020203" pitchFamily="34" charset="0"/>
              <a:ea typeface="+mn-ea"/>
              <a:cs typeface="Segoe UI Semilight" panose="020B0402040204020203" pitchFamily="34" charset="0"/>
            </a:rPr>
            <a:t>Yearly backup retention (Y)</a:t>
          </a:r>
          <a:endParaRPr lang="en-US" sz="2000" dirty="0">
            <a:latin typeface="Segoe UI Semilight" panose="020B0402040204020203" pitchFamily="34" charset="0"/>
            <a:ea typeface="+mn-ea"/>
            <a:cs typeface="Segoe UI Semilight" panose="020B0402040204020203" pitchFamily="34" charset="0"/>
          </a:endParaRPr>
        </a:p>
      </dgm:t>
    </dgm:pt>
    <dgm:pt modelId="{8F56C782-60B5-4C90-BD45-EB34B9DF5999}" type="parTrans" cxnId="{EA6752C8-41D8-4142-933E-F085F941E5C6}">
      <dgm:prSet/>
      <dgm:spPr/>
      <dgm:t>
        <a:bodyPr/>
        <a:lstStyle/>
        <a:p>
          <a:endParaRPr lang="en-US"/>
        </a:p>
      </dgm:t>
    </dgm:pt>
    <dgm:pt modelId="{3A555815-CAA7-4AD6-B263-A9B8CA9D1C2B}" type="sibTrans" cxnId="{EA6752C8-41D8-4142-933E-F085F941E5C6}">
      <dgm:prSet/>
      <dgm:spPr/>
      <dgm:t>
        <a:bodyPr/>
        <a:lstStyle/>
        <a:p>
          <a:endParaRPr lang="en-US"/>
        </a:p>
      </dgm:t>
    </dgm:pt>
    <dgm:pt modelId="{0B180169-A35F-41B6-8E0D-75DFD00D4019}">
      <dgm:prSet custT="1"/>
      <dgm:spPr>
        <a:xfrm>
          <a:off x="0" y="2975119"/>
          <a:ext cx="5925880" cy="2546775"/>
        </a:xfrm>
        <a:prstGeom prst="rect">
          <a:avLst/>
        </a:prstGeom>
      </dgm:spPr>
      <dgm:t>
        <a:bodyPr/>
        <a:lstStyle/>
        <a:p>
          <a:pPr>
            <a:buChar char="•"/>
          </a:pPr>
          <a:r>
            <a:rPr lang="en-US" sz="2000">
              <a:latin typeface="Segoe UI Semilight" panose="020B0402040204020203" pitchFamily="34" charset="0"/>
              <a:ea typeface="+mn-ea"/>
              <a:cs typeface="Segoe UI Semilight" panose="020B0402040204020203" pitchFamily="34" charset="0"/>
            </a:rPr>
            <a:t>Week of year (WeekOfYear)</a:t>
          </a:r>
          <a:endParaRPr lang="en-US" sz="2000" dirty="0">
            <a:latin typeface="Segoe UI Semilight" panose="020B0402040204020203" pitchFamily="34" charset="0"/>
            <a:ea typeface="+mn-ea"/>
            <a:cs typeface="Segoe UI Semilight" panose="020B0402040204020203" pitchFamily="34" charset="0"/>
          </a:endParaRPr>
        </a:p>
      </dgm:t>
    </dgm:pt>
    <dgm:pt modelId="{ADA3DED9-E8B1-4894-AB61-CE41004F289F}" type="parTrans" cxnId="{6B76C321-9FD7-4A91-83F0-4BF023CF8091}">
      <dgm:prSet/>
      <dgm:spPr/>
      <dgm:t>
        <a:bodyPr/>
        <a:lstStyle/>
        <a:p>
          <a:endParaRPr lang="en-US"/>
        </a:p>
      </dgm:t>
    </dgm:pt>
    <dgm:pt modelId="{0830CB79-44E3-4C6A-8F93-22736B86842B}" type="sibTrans" cxnId="{6B76C321-9FD7-4A91-83F0-4BF023CF8091}">
      <dgm:prSet/>
      <dgm:spPr/>
      <dgm:t>
        <a:bodyPr/>
        <a:lstStyle/>
        <a:p>
          <a:endParaRPr lang="en-US"/>
        </a:p>
      </dgm:t>
    </dgm:pt>
    <dgm:pt modelId="{365DBE2A-E46C-4A72-BB82-E1DBF2E3E327}">
      <dgm:prSet phldrT="[Text]" custT="1"/>
      <dgm:spPr>
        <a:xfrm>
          <a:off x="296294" y="29239"/>
          <a:ext cx="5298430" cy="1446480"/>
        </a:xfrm>
        <a:prstGeom prst="roundRect">
          <a:avLst/>
        </a:prstGeom>
      </dgm:spPr>
      <dgm:t>
        <a:bodyPr/>
        <a:lstStyle/>
        <a:p>
          <a:pPr>
            <a:buSzTx/>
            <a:buNone/>
          </a:pPr>
          <a:r>
            <a:rPr lang="en-US" sz="2000" dirty="0">
              <a:latin typeface="Segoe UI"/>
              <a:ea typeface="+mn-ea"/>
              <a:cs typeface="+mn-cs"/>
            </a:rPr>
            <a:t>Long-term backup retention leverages the automatic SQL Database backups created to enable point-time restore (PITR). </a:t>
          </a:r>
        </a:p>
      </dgm:t>
    </dgm:pt>
    <dgm:pt modelId="{E74A804B-A9A0-496D-BF9E-5872936B20E2}" type="parTrans" cxnId="{6F80A3AC-AAFC-4037-AEB4-212812383278}">
      <dgm:prSet/>
      <dgm:spPr/>
      <dgm:t>
        <a:bodyPr/>
        <a:lstStyle/>
        <a:p>
          <a:endParaRPr lang="en-US"/>
        </a:p>
      </dgm:t>
    </dgm:pt>
    <dgm:pt modelId="{BF0476B9-124B-4F79-8B8D-A8ADF4C726A3}" type="sibTrans" cxnId="{6F80A3AC-AAFC-4037-AEB4-212812383278}">
      <dgm:prSet/>
      <dgm:spPr/>
      <dgm:t>
        <a:bodyPr/>
        <a:lstStyle/>
        <a:p>
          <a:endParaRPr lang="en-US"/>
        </a:p>
      </dgm:t>
    </dgm:pt>
    <dgm:pt modelId="{AF55DCF8-2416-4DCF-A3F7-0BD8C5713B35}">
      <dgm:prSet custT="1"/>
      <dgm:spPr>
        <a:xfrm>
          <a:off x="296294" y="2251880"/>
          <a:ext cx="5313363" cy="1446480"/>
        </a:xfrm>
        <a:prstGeom prst="roundRect">
          <a:avLst/>
        </a:prstGeom>
      </dgm:spPr>
      <dgm:t>
        <a:bodyPr/>
        <a:lstStyle/>
        <a:p>
          <a:pPr>
            <a:buSzTx/>
            <a:buNone/>
          </a:pPr>
          <a:r>
            <a:rPr lang="en-US" sz="2000" dirty="0">
              <a:latin typeface="Segoe UI Semilight" panose="020B0402040204020203" pitchFamily="34" charset="0"/>
              <a:ea typeface="+mn-ea"/>
              <a:cs typeface="Segoe UI Semilight" panose="020B0402040204020203" pitchFamily="34" charset="0"/>
            </a:rPr>
            <a:t>Specify for each SQL database how frequently you need to copy the backups to the long-term storage.</a:t>
          </a:r>
          <a:endParaRPr lang="en-US" sz="2000" dirty="0">
            <a:latin typeface="Segoe UI"/>
            <a:ea typeface="+mn-ea"/>
            <a:cs typeface="+mn-cs"/>
          </a:endParaRPr>
        </a:p>
      </dgm:t>
    </dgm:pt>
    <dgm:pt modelId="{91AA296B-3A34-4321-A836-FCEDD03CD602}" type="parTrans" cxnId="{B6A2D7CB-2F8C-485A-B87E-3594DC70CA30}">
      <dgm:prSet/>
      <dgm:spPr/>
      <dgm:t>
        <a:bodyPr/>
        <a:lstStyle/>
        <a:p>
          <a:endParaRPr lang="en-US"/>
        </a:p>
      </dgm:t>
    </dgm:pt>
    <dgm:pt modelId="{DD66BAAE-8859-4ABA-A4C8-CBE7ABAF95ED}" type="sibTrans" cxnId="{B6A2D7CB-2F8C-485A-B87E-3594DC70CA30}">
      <dgm:prSet/>
      <dgm:spPr/>
      <dgm:t>
        <a:bodyPr/>
        <a:lstStyle/>
        <a:p>
          <a:endParaRPr lang="en-US"/>
        </a:p>
      </dgm:t>
    </dgm:pt>
    <dgm:pt modelId="{FE2FBE7A-83C9-497F-B56A-83376099BDC6}" type="pres">
      <dgm:prSet presAssocID="{9061A924-A5EC-433D-A2A7-75894A0A6610}" presName="linear" presStyleCnt="0">
        <dgm:presLayoutVars>
          <dgm:dir/>
          <dgm:animLvl val="lvl"/>
          <dgm:resizeHandles val="exact"/>
        </dgm:presLayoutVars>
      </dgm:prSet>
      <dgm:spPr/>
    </dgm:pt>
    <dgm:pt modelId="{D1D1DBBF-F100-4EEF-AE85-C181E20B0E2F}" type="pres">
      <dgm:prSet presAssocID="{365DBE2A-E46C-4A72-BB82-E1DBF2E3E327}" presName="parentLin" presStyleCnt="0"/>
      <dgm:spPr/>
    </dgm:pt>
    <dgm:pt modelId="{20FE421D-6233-42C7-9E9E-4E7844B0E3FA}" type="pres">
      <dgm:prSet presAssocID="{365DBE2A-E46C-4A72-BB82-E1DBF2E3E327}" presName="parentLeftMargin" presStyleLbl="node1" presStyleIdx="0" presStyleCnt="2"/>
      <dgm:spPr/>
    </dgm:pt>
    <dgm:pt modelId="{326096A5-7317-4996-A175-1C0DE8A40195}" type="pres">
      <dgm:prSet presAssocID="{365DBE2A-E46C-4A72-BB82-E1DBF2E3E327}" presName="parentText" presStyleLbl="node1" presStyleIdx="0" presStyleCnt="2" custScaleX="127731">
        <dgm:presLayoutVars>
          <dgm:chMax val="0"/>
          <dgm:bulletEnabled val="1"/>
        </dgm:presLayoutVars>
      </dgm:prSet>
      <dgm:spPr/>
    </dgm:pt>
    <dgm:pt modelId="{9B53B046-EE47-4D48-B4FC-2ECDDE3A0255}" type="pres">
      <dgm:prSet presAssocID="{365DBE2A-E46C-4A72-BB82-E1DBF2E3E327}" presName="negativeSpace" presStyleCnt="0"/>
      <dgm:spPr/>
    </dgm:pt>
    <dgm:pt modelId="{FF2077EC-01D2-4C38-8270-1C6A7B23D821}" type="pres">
      <dgm:prSet presAssocID="{365DBE2A-E46C-4A72-BB82-E1DBF2E3E327}" presName="childText" presStyleLbl="conFgAcc1" presStyleIdx="0" presStyleCnt="2">
        <dgm:presLayoutVars>
          <dgm:bulletEnabled val="1"/>
        </dgm:presLayoutVars>
      </dgm:prSet>
      <dgm:spPr>
        <a:xfrm>
          <a:off x="0" y="752479"/>
          <a:ext cx="5925880" cy="1234800"/>
        </a:xfrm>
        <a:prstGeom prst="rect">
          <a:avLst/>
        </a:prstGeom>
      </dgm:spPr>
    </dgm:pt>
    <dgm:pt modelId="{5910FBA6-FF9C-4014-AAD7-E069AC3C7D44}" type="pres">
      <dgm:prSet presAssocID="{BF0476B9-124B-4F79-8B8D-A8ADF4C726A3}" presName="spaceBetweenRectangles" presStyleCnt="0"/>
      <dgm:spPr/>
    </dgm:pt>
    <dgm:pt modelId="{6F836EBE-B29C-45E8-B868-AED97CB5623F}" type="pres">
      <dgm:prSet presAssocID="{AF55DCF8-2416-4DCF-A3F7-0BD8C5713B35}" presName="parentLin" presStyleCnt="0"/>
      <dgm:spPr/>
    </dgm:pt>
    <dgm:pt modelId="{380EBCA3-6CAD-4886-A342-4103003533DD}" type="pres">
      <dgm:prSet presAssocID="{AF55DCF8-2416-4DCF-A3F7-0BD8C5713B35}" presName="parentLeftMargin" presStyleLbl="node1" presStyleIdx="0" presStyleCnt="2"/>
      <dgm:spPr/>
    </dgm:pt>
    <dgm:pt modelId="{54BF4E83-2644-4F46-856C-77BAA4E7C746}" type="pres">
      <dgm:prSet presAssocID="{AF55DCF8-2416-4DCF-A3F7-0BD8C5713B35}" presName="parentText" presStyleLbl="node1" presStyleIdx="1" presStyleCnt="2" custScaleX="128091">
        <dgm:presLayoutVars>
          <dgm:chMax val="0"/>
          <dgm:bulletEnabled val="1"/>
        </dgm:presLayoutVars>
      </dgm:prSet>
      <dgm:spPr/>
    </dgm:pt>
    <dgm:pt modelId="{797B8890-CFC5-4D42-A7C9-FE5E3A8B553C}" type="pres">
      <dgm:prSet presAssocID="{AF55DCF8-2416-4DCF-A3F7-0BD8C5713B35}" presName="negativeSpace" presStyleCnt="0"/>
      <dgm:spPr/>
    </dgm:pt>
    <dgm:pt modelId="{E3464C15-D3C4-41AE-826C-9D65EDDA11F1}" type="pres">
      <dgm:prSet presAssocID="{AF55DCF8-2416-4DCF-A3F7-0BD8C5713B35}" presName="childText" presStyleLbl="conFgAcc1" presStyleIdx="1" presStyleCnt="2">
        <dgm:presLayoutVars>
          <dgm:bulletEnabled val="1"/>
        </dgm:presLayoutVars>
      </dgm:prSet>
      <dgm:spPr/>
    </dgm:pt>
  </dgm:ptLst>
  <dgm:cxnLst>
    <dgm:cxn modelId="{D54B820A-6682-47B9-9FDB-2C1F12DF0954}" type="presOf" srcId="{DAFA93F0-0A5B-4AA4-9FC7-D30EDE7D7E40}" destId="{E3464C15-D3C4-41AE-826C-9D65EDDA11F1}" srcOrd="0" destOrd="1" presId="urn:microsoft.com/office/officeart/2005/8/layout/list1"/>
    <dgm:cxn modelId="{4D84250C-E3C0-48EA-AB78-99C2AFEB9A31}" type="presOf" srcId="{AF55DCF8-2416-4DCF-A3F7-0BD8C5713B35}" destId="{54BF4E83-2644-4F46-856C-77BAA4E7C746}" srcOrd="1" destOrd="0" presId="urn:microsoft.com/office/officeart/2005/8/layout/list1"/>
    <dgm:cxn modelId="{6B76C321-9FD7-4A91-83F0-4BF023CF8091}" srcId="{AF55DCF8-2416-4DCF-A3F7-0BD8C5713B35}" destId="{0B180169-A35F-41B6-8E0D-75DFD00D4019}" srcOrd="3" destOrd="0" parTransId="{ADA3DED9-E8B1-4894-AB61-CE41004F289F}" sibTransId="{0830CB79-44E3-4C6A-8F93-22736B86842B}"/>
    <dgm:cxn modelId="{CF3BA426-BBB2-4C96-A612-5E6272B6D2BA}" srcId="{AF55DCF8-2416-4DCF-A3F7-0BD8C5713B35}" destId="{099D2E5C-C786-4B74-84D9-44B1418D1455}" srcOrd="0" destOrd="0" parTransId="{E8E36BFA-641D-495F-AB53-C133518E3ECC}" sibTransId="{876273EE-1A86-4100-A70D-B1793E78D0EF}"/>
    <dgm:cxn modelId="{7E6F7F3F-1E61-4AE0-91C1-5EB29DE4D7EB}" type="presOf" srcId="{0B180169-A35F-41B6-8E0D-75DFD00D4019}" destId="{E3464C15-D3C4-41AE-826C-9D65EDDA11F1}" srcOrd="0" destOrd="3" presId="urn:microsoft.com/office/officeart/2005/8/layout/list1"/>
    <dgm:cxn modelId="{909A2556-9482-435A-B021-B36BC411419A}" type="presOf" srcId="{099D2E5C-C786-4B74-84D9-44B1418D1455}" destId="{E3464C15-D3C4-41AE-826C-9D65EDDA11F1}" srcOrd="0" destOrd="0" presId="urn:microsoft.com/office/officeart/2005/8/layout/list1"/>
    <dgm:cxn modelId="{EB7BF184-CFA7-4299-9074-4D6EB67F3690}" type="presOf" srcId="{365DBE2A-E46C-4A72-BB82-E1DBF2E3E327}" destId="{20FE421D-6233-42C7-9E9E-4E7844B0E3FA}" srcOrd="0" destOrd="0" presId="urn:microsoft.com/office/officeart/2005/8/layout/list1"/>
    <dgm:cxn modelId="{5694E49E-81F6-44F8-AE4F-6DEF08AD7EE6}" type="presOf" srcId="{9061A924-A5EC-433D-A2A7-75894A0A6610}" destId="{FE2FBE7A-83C9-497F-B56A-83376099BDC6}" srcOrd="0" destOrd="0" presId="urn:microsoft.com/office/officeart/2005/8/layout/list1"/>
    <dgm:cxn modelId="{6F80A3AC-AAFC-4037-AEB4-212812383278}" srcId="{9061A924-A5EC-433D-A2A7-75894A0A6610}" destId="{365DBE2A-E46C-4A72-BB82-E1DBF2E3E327}" srcOrd="0" destOrd="0" parTransId="{E74A804B-A9A0-496D-BF9E-5872936B20E2}" sibTransId="{BF0476B9-124B-4F79-8B8D-A8ADF4C726A3}"/>
    <dgm:cxn modelId="{1F4A86AD-C3F2-4547-8512-BE85C3EDFF5C}" srcId="{AF55DCF8-2416-4DCF-A3F7-0BD8C5713B35}" destId="{DAFA93F0-0A5B-4AA4-9FC7-D30EDE7D7E40}" srcOrd="1" destOrd="0" parTransId="{1762D51F-4DA1-400D-AF7E-F0E0BF16FCDF}" sibTransId="{839D4F96-337C-4930-9970-7E15D83F72CE}"/>
    <dgm:cxn modelId="{47BE58B9-4B93-4F2A-9AB7-3265AF6D4E99}" type="presOf" srcId="{365DBE2A-E46C-4A72-BB82-E1DBF2E3E327}" destId="{326096A5-7317-4996-A175-1C0DE8A40195}" srcOrd="1" destOrd="0" presId="urn:microsoft.com/office/officeart/2005/8/layout/list1"/>
    <dgm:cxn modelId="{84D7D6BC-4DF8-431E-88E3-541CC14A93D9}" type="presOf" srcId="{9D98F57A-C4B5-46EF-B81D-FB0285B682B4}" destId="{E3464C15-D3C4-41AE-826C-9D65EDDA11F1}" srcOrd="0" destOrd="2" presId="urn:microsoft.com/office/officeart/2005/8/layout/list1"/>
    <dgm:cxn modelId="{EA6752C8-41D8-4142-933E-F085F941E5C6}" srcId="{AF55DCF8-2416-4DCF-A3F7-0BD8C5713B35}" destId="{9D98F57A-C4B5-46EF-B81D-FB0285B682B4}" srcOrd="2" destOrd="0" parTransId="{8F56C782-60B5-4C90-BD45-EB34B9DF5999}" sibTransId="{3A555815-CAA7-4AD6-B263-A9B8CA9D1C2B}"/>
    <dgm:cxn modelId="{B6A2D7CB-2F8C-485A-B87E-3594DC70CA30}" srcId="{9061A924-A5EC-433D-A2A7-75894A0A6610}" destId="{AF55DCF8-2416-4DCF-A3F7-0BD8C5713B35}" srcOrd="1" destOrd="0" parTransId="{91AA296B-3A34-4321-A836-FCEDD03CD602}" sibTransId="{DD66BAAE-8859-4ABA-A4C8-CBE7ABAF95ED}"/>
    <dgm:cxn modelId="{DC2988FA-9A29-48A2-A408-0A1608FEBA2E}" type="presOf" srcId="{AF55DCF8-2416-4DCF-A3F7-0BD8C5713B35}" destId="{380EBCA3-6CAD-4886-A342-4103003533DD}" srcOrd="0" destOrd="0" presId="urn:microsoft.com/office/officeart/2005/8/layout/list1"/>
    <dgm:cxn modelId="{87D19E5C-51B7-4DC3-B1DE-447E072F442E}" type="presParOf" srcId="{FE2FBE7A-83C9-497F-B56A-83376099BDC6}" destId="{D1D1DBBF-F100-4EEF-AE85-C181E20B0E2F}" srcOrd="0" destOrd="0" presId="urn:microsoft.com/office/officeart/2005/8/layout/list1"/>
    <dgm:cxn modelId="{DA4C3969-ED72-4D02-A763-A56DE0F5529E}" type="presParOf" srcId="{D1D1DBBF-F100-4EEF-AE85-C181E20B0E2F}" destId="{20FE421D-6233-42C7-9E9E-4E7844B0E3FA}" srcOrd="0" destOrd="0" presId="urn:microsoft.com/office/officeart/2005/8/layout/list1"/>
    <dgm:cxn modelId="{003B69AC-6104-47BC-8970-EECAE2E53ECF}" type="presParOf" srcId="{D1D1DBBF-F100-4EEF-AE85-C181E20B0E2F}" destId="{326096A5-7317-4996-A175-1C0DE8A40195}" srcOrd="1" destOrd="0" presId="urn:microsoft.com/office/officeart/2005/8/layout/list1"/>
    <dgm:cxn modelId="{B3605618-86EE-4D8E-AAE7-4814EC0FC6A4}" type="presParOf" srcId="{FE2FBE7A-83C9-497F-B56A-83376099BDC6}" destId="{9B53B046-EE47-4D48-B4FC-2ECDDE3A0255}" srcOrd="1" destOrd="0" presId="urn:microsoft.com/office/officeart/2005/8/layout/list1"/>
    <dgm:cxn modelId="{CE520DEC-9ECC-4736-A238-6FF015CE45A8}" type="presParOf" srcId="{FE2FBE7A-83C9-497F-B56A-83376099BDC6}" destId="{FF2077EC-01D2-4C38-8270-1C6A7B23D821}" srcOrd="2" destOrd="0" presId="urn:microsoft.com/office/officeart/2005/8/layout/list1"/>
    <dgm:cxn modelId="{72AFBA98-DDB8-4876-A107-011C04ED84FE}" type="presParOf" srcId="{FE2FBE7A-83C9-497F-B56A-83376099BDC6}" destId="{5910FBA6-FF9C-4014-AAD7-E069AC3C7D44}" srcOrd="3" destOrd="0" presId="urn:microsoft.com/office/officeart/2005/8/layout/list1"/>
    <dgm:cxn modelId="{8C373AA1-13EE-4231-AD56-5F6FCC75DDF1}" type="presParOf" srcId="{FE2FBE7A-83C9-497F-B56A-83376099BDC6}" destId="{6F836EBE-B29C-45E8-B868-AED97CB5623F}" srcOrd="4" destOrd="0" presId="urn:microsoft.com/office/officeart/2005/8/layout/list1"/>
    <dgm:cxn modelId="{A69BCA5A-E6CA-44EB-85FC-EF2A776AC2A3}" type="presParOf" srcId="{6F836EBE-B29C-45E8-B868-AED97CB5623F}" destId="{380EBCA3-6CAD-4886-A342-4103003533DD}" srcOrd="0" destOrd="0" presId="urn:microsoft.com/office/officeart/2005/8/layout/list1"/>
    <dgm:cxn modelId="{F15F8004-864B-4F78-B5DB-52DDA9CAFA3E}" type="presParOf" srcId="{6F836EBE-B29C-45E8-B868-AED97CB5623F}" destId="{54BF4E83-2644-4F46-856C-77BAA4E7C746}" srcOrd="1" destOrd="0" presId="urn:microsoft.com/office/officeart/2005/8/layout/list1"/>
    <dgm:cxn modelId="{046039ED-3201-4AA5-ADA2-B2CACE8CC3B1}" type="presParOf" srcId="{FE2FBE7A-83C9-497F-B56A-83376099BDC6}" destId="{797B8890-CFC5-4D42-A7C9-FE5E3A8B553C}" srcOrd="5" destOrd="0" presId="urn:microsoft.com/office/officeart/2005/8/layout/list1"/>
    <dgm:cxn modelId="{947EC712-E298-4934-9DE8-4385BC12F666}" type="presParOf" srcId="{FE2FBE7A-83C9-497F-B56A-83376099BDC6}" destId="{E3464C15-D3C4-41AE-826C-9D65EDDA11F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F56F573-76D8-47E0-9B3C-EECE58A37EBE}" type="doc">
      <dgm:prSet loTypeId="urn:diagrams.loki3.com/BracketList" loCatId="list" qsTypeId="urn:microsoft.com/office/officeart/2005/8/quickstyle/simple1" qsCatId="simple" csTypeId="urn:microsoft.com/office/officeart/2005/8/colors/accent3_1" csCatId="accent3" phldr="1"/>
      <dgm:spPr/>
      <dgm:t>
        <a:bodyPr/>
        <a:lstStyle/>
        <a:p>
          <a:endParaRPr lang="en-US"/>
        </a:p>
      </dgm:t>
    </dgm:pt>
    <dgm:pt modelId="{1809FF49-AB4C-4A16-A678-0D024B5DC465}">
      <dgm:prSet custT="1"/>
      <dgm:spPr>
        <a:xfrm>
          <a:off x="5666" y="708181"/>
          <a:ext cx="2898537" cy="694237"/>
        </a:xfrm>
        <a:prstGeom prst="rect">
          <a:avLst/>
        </a:prstGeom>
        <a:noFill/>
        <a:ln>
          <a:noFill/>
        </a:ln>
        <a:effectLst/>
      </dgm:spPr>
      <dgm:t>
        <a:bodyPr/>
        <a:lstStyle/>
        <a:p>
          <a:pPr marL="228600" lvl="1" indent="-228600" algn="l" defTabSz="1111250" rtl="0">
            <a:lnSpc>
              <a:spcPct val="90000"/>
            </a:lnSpc>
            <a:spcBef>
              <a:spcPct val="0"/>
            </a:spcBef>
            <a:spcAft>
              <a:spcPct val="15000"/>
            </a:spcAft>
            <a:buChar char="•"/>
          </a:pPr>
          <a:r>
            <a:rPr lang="en-US" sz="2500" kern="1200" baseline="0" dirty="0">
              <a:solidFill>
                <a:schemeClr val="tx1"/>
              </a:solidFill>
              <a:latin typeface="Segoe UI" panose="020B0502040204020203" pitchFamily="34" charset="0"/>
              <a:ea typeface="+mn-ea"/>
              <a:cs typeface="+mn-cs"/>
            </a:rPr>
            <a:t>Copy</a:t>
          </a:r>
          <a:r>
            <a:rPr lang="en-US" sz="2500" kern="1200" baseline="0" dirty="0">
              <a:solidFill>
                <a:srgbClr val="505050">
                  <a:hueOff val="0"/>
                  <a:satOff val="0"/>
                  <a:lumOff val="0"/>
                  <a:alphaOff val="0"/>
                </a:srgbClr>
              </a:solidFill>
              <a:latin typeface="Segoe UI" panose="020B0502040204020203" pitchFamily="34" charset="0"/>
              <a:ea typeface="+mn-ea"/>
              <a:cs typeface="+mn-cs"/>
            </a:rPr>
            <a:t>  </a:t>
          </a:r>
        </a:p>
      </dgm:t>
    </dgm:pt>
    <dgm:pt modelId="{580E9908-18D0-4BCF-88F1-A1FE29EC699B}" type="parTrans" cxnId="{8A74ED32-5D85-41E8-930D-6BD46D46D6C2}">
      <dgm:prSet/>
      <dgm:spPr/>
      <dgm:t>
        <a:bodyPr/>
        <a:lstStyle/>
        <a:p>
          <a:endParaRPr lang="en-US"/>
        </a:p>
      </dgm:t>
    </dgm:pt>
    <dgm:pt modelId="{404C1C3F-4AB2-42CC-9D68-4B5F08803DCD}" type="sibTrans" cxnId="{8A74ED32-5D85-41E8-930D-6BD46D46D6C2}">
      <dgm:prSet/>
      <dgm:spPr/>
      <dgm:t>
        <a:bodyPr/>
        <a:lstStyle/>
        <a:p>
          <a:endParaRPr lang="en-US"/>
        </a:p>
      </dgm:t>
    </dgm:pt>
    <dgm:pt modelId="{0C6FA40E-BBDA-4539-8455-BE7AA55223FA}">
      <dgm:prSet/>
      <dgm:spPr>
        <a:xfrm>
          <a:off x="3715794" y="100723"/>
          <a:ext cx="7884022" cy="1909153"/>
        </a:xfrm>
        <a:prstGeom prst="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ln>
        <a:effectLst/>
      </dgm:spPr>
      <dgm:t>
        <a:bodyPr/>
        <a:lstStyle/>
        <a:p>
          <a:pPr rtl="0">
            <a:buChar char="•"/>
          </a:pPr>
          <a:r>
            <a:rPr lang="en-US" baseline="0" dirty="0">
              <a:solidFill>
                <a:schemeClr val="tx1"/>
              </a:solidFill>
              <a:latin typeface="Segoe UI" panose="020B0502040204020203" pitchFamily="34" charset="0"/>
              <a:ea typeface="+mn-ea"/>
              <a:cs typeface="+mn-cs"/>
            </a:rPr>
            <a:t>Copies an Azure SQL Database to another DB on same or different Server.</a:t>
          </a:r>
          <a:endParaRPr lang="en-US" dirty="0">
            <a:solidFill>
              <a:schemeClr val="tx1"/>
            </a:solidFill>
            <a:latin typeface="Segoe UI" panose="020B0502040204020203" pitchFamily="34" charset="0"/>
            <a:ea typeface="+mn-ea"/>
            <a:cs typeface="+mn-cs"/>
          </a:endParaRPr>
        </a:p>
      </dgm:t>
    </dgm:pt>
    <dgm:pt modelId="{E851712D-958E-4137-814D-CB83A89DF0CE}" type="parTrans" cxnId="{A6C7254E-5AC2-430C-87DA-D5072FE2D390}">
      <dgm:prSet/>
      <dgm:spPr/>
      <dgm:t>
        <a:bodyPr/>
        <a:lstStyle/>
        <a:p>
          <a:endParaRPr lang="en-US"/>
        </a:p>
      </dgm:t>
    </dgm:pt>
    <dgm:pt modelId="{C8F011CA-7F90-4D82-9FF9-8896174AE704}" type="sibTrans" cxnId="{A6C7254E-5AC2-430C-87DA-D5072FE2D390}">
      <dgm:prSet/>
      <dgm:spPr/>
      <dgm:t>
        <a:bodyPr/>
        <a:lstStyle/>
        <a:p>
          <a:endParaRPr lang="en-US"/>
        </a:p>
      </dgm:t>
    </dgm:pt>
    <dgm:pt modelId="{080654DB-F650-4F98-A216-EC1E75264A55}">
      <dgm:prSet/>
      <dgm:spPr>
        <a:xfrm>
          <a:off x="3715794" y="100723"/>
          <a:ext cx="7884022" cy="1909153"/>
        </a:xfrm>
        <a:prstGeom prst="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ln>
        <a:effectLst/>
      </dgm:spPr>
      <dgm:t>
        <a:bodyPr/>
        <a:lstStyle/>
        <a:p>
          <a:pPr rtl="0">
            <a:buChar char="•"/>
          </a:pPr>
          <a:r>
            <a:rPr lang="en-US" baseline="0" dirty="0">
              <a:solidFill>
                <a:schemeClr val="tx1"/>
              </a:solidFill>
              <a:latin typeface="Segoe UI" panose="020B0502040204020203" pitchFamily="34" charset="0"/>
              <a:ea typeface="+mn-ea"/>
              <a:cs typeface="+mn-cs"/>
            </a:rPr>
            <a:t>Essentially Creates a snapshot.</a:t>
          </a:r>
          <a:endParaRPr lang="en-US" dirty="0">
            <a:solidFill>
              <a:schemeClr val="tx1"/>
            </a:solidFill>
            <a:latin typeface="Segoe UI" panose="020B0502040204020203" pitchFamily="34" charset="0"/>
            <a:ea typeface="+mn-ea"/>
            <a:cs typeface="+mn-cs"/>
          </a:endParaRPr>
        </a:p>
      </dgm:t>
    </dgm:pt>
    <dgm:pt modelId="{00E909FB-76F0-4F47-A7F5-58CF82EC3CBD}" type="parTrans" cxnId="{F6588589-0F3E-441A-AAA6-4FBB7084997E}">
      <dgm:prSet/>
      <dgm:spPr/>
      <dgm:t>
        <a:bodyPr/>
        <a:lstStyle/>
        <a:p>
          <a:endParaRPr lang="en-US"/>
        </a:p>
      </dgm:t>
    </dgm:pt>
    <dgm:pt modelId="{30436DED-EF37-4445-BA42-72B6B6FDEF24}" type="sibTrans" cxnId="{F6588589-0F3E-441A-AAA6-4FBB7084997E}">
      <dgm:prSet/>
      <dgm:spPr/>
      <dgm:t>
        <a:bodyPr/>
        <a:lstStyle/>
        <a:p>
          <a:endParaRPr lang="en-US"/>
        </a:p>
      </dgm:t>
    </dgm:pt>
    <dgm:pt modelId="{AED35E85-EA04-48B1-92C1-5C650B1CA5AE}">
      <dgm:prSet/>
      <dgm:spPr>
        <a:xfrm>
          <a:off x="5666" y="2739734"/>
          <a:ext cx="2898537" cy="694237"/>
        </a:xfrm>
        <a:prstGeom prst="rect">
          <a:avLst/>
        </a:prstGeom>
        <a:noFill/>
        <a:ln>
          <a:noFill/>
        </a:ln>
        <a:effectLst/>
      </dgm:spPr>
      <dgm:t>
        <a:bodyPr/>
        <a:lstStyle/>
        <a:p>
          <a:pPr algn="l" rtl="0">
            <a:buNone/>
          </a:pPr>
          <a:r>
            <a:rPr lang="en-US" baseline="0" dirty="0">
              <a:solidFill>
                <a:schemeClr val="tx1"/>
              </a:solidFill>
              <a:latin typeface="Segoe UI" panose="020B0502040204020203" pitchFamily="34" charset="0"/>
              <a:ea typeface="+mn-ea"/>
              <a:cs typeface="+mn-cs"/>
            </a:rPr>
            <a:t>Export</a:t>
          </a:r>
          <a:endParaRPr lang="en-US" dirty="0">
            <a:solidFill>
              <a:schemeClr val="tx1"/>
            </a:solidFill>
            <a:latin typeface="Segoe UI" panose="020B0502040204020203" pitchFamily="34" charset="0"/>
            <a:ea typeface="+mn-ea"/>
            <a:cs typeface="+mn-cs"/>
          </a:endParaRPr>
        </a:p>
      </dgm:t>
    </dgm:pt>
    <dgm:pt modelId="{44104BE9-4AFD-4ACE-8EB1-1447A6C1BC4D}" type="parTrans" cxnId="{CF2389FA-228A-4E5C-BE40-BBD0DC677D41}">
      <dgm:prSet/>
      <dgm:spPr/>
      <dgm:t>
        <a:bodyPr/>
        <a:lstStyle/>
        <a:p>
          <a:endParaRPr lang="en-US"/>
        </a:p>
      </dgm:t>
    </dgm:pt>
    <dgm:pt modelId="{6A4AB4AB-0069-427E-9963-AC7DB84B1F00}" type="sibTrans" cxnId="{CF2389FA-228A-4E5C-BE40-BBD0DC677D41}">
      <dgm:prSet/>
      <dgm:spPr/>
      <dgm:t>
        <a:bodyPr/>
        <a:lstStyle/>
        <a:p>
          <a:endParaRPr lang="en-US"/>
        </a:p>
      </dgm:t>
    </dgm:pt>
    <dgm:pt modelId="{4D0B330A-731D-4663-8C87-9A6E219740E4}">
      <dgm:prSet custT="1"/>
      <dgm:spPr>
        <a:xfrm>
          <a:off x="3715794" y="2132277"/>
          <a:ext cx="7884022" cy="1909153"/>
        </a:xfrm>
        <a:prstGeom prst="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ln>
        <a:effectLst/>
      </dgm:spPr>
      <dgm:t>
        <a:bodyPr/>
        <a:lstStyle/>
        <a:p>
          <a:pPr rtl="0">
            <a:buChar char="•"/>
          </a:pPr>
          <a:r>
            <a:rPr lang="en-US" sz="2500" kern="1200" baseline="0" dirty="0">
              <a:solidFill>
                <a:schemeClr val="tx1"/>
              </a:solidFill>
              <a:latin typeface="Segoe UI" panose="020B0502040204020203" pitchFamily="34" charset="0"/>
              <a:ea typeface="+mn-ea"/>
              <a:cs typeface="+mn-cs"/>
            </a:rPr>
            <a:t>Creates BACPAC.</a:t>
          </a:r>
        </a:p>
      </dgm:t>
    </dgm:pt>
    <dgm:pt modelId="{AB05CB78-3643-4FCF-B4CD-15A52CBAC54B}" type="parTrans" cxnId="{754FD289-0B6F-42C2-AEDF-9C707E6207D8}">
      <dgm:prSet/>
      <dgm:spPr/>
      <dgm:t>
        <a:bodyPr/>
        <a:lstStyle/>
        <a:p>
          <a:endParaRPr lang="en-US"/>
        </a:p>
      </dgm:t>
    </dgm:pt>
    <dgm:pt modelId="{F676DBC3-5840-49C7-AF10-B1A64933FF32}" type="sibTrans" cxnId="{754FD289-0B6F-42C2-AEDF-9C707E6207D8}">
      <dgm:prSet/>
      <dgm:spPr/>
      <dgm:t>
        <a:bodyPr/>
        <a:lstStyle/>
        <a:p>
          <a:endParaRPr lang="en-US"/>
        </a:p>
      </dgm:t>
    </dgm:pt>
    <dgm:pt modelId="{38AB71E7-4079-4F71-A0DA-763B2078F1A3}">
      <dgm:prSet custT="1"/>
      <dgm:spPr>
        <a:xfrm>
          <a:off x="3715794" y="2132277"/>
          <a:ext cx="7884022" cy="1909153"/>
        </a:xfrm>
        <a:prstGeom prst="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ln>
        <a:effectLst/>
      </dgm:spPr>
      <dgm:t>
        <a:bodyPr/>
        <a:lstStyle/>
        <a:p>
          <a:pPr rtl="0">
            <a:buChar char="•"/>
          </a:pPr>
          <a:r>
            <a:rPr lang="en-US" sz="2500" kern="1200" baseline="0" dirty="0">
              <a:solidFill>
                <a:schemeClr val="tx1"/>
              </a:solidFill>
              <a:latin typeface="Segoe UI" panose="020B0502040204020203" pitchFamily="34" charset="0"/>
              <a:ea typeface="+mn-ea"/>
              <a:cs typeface="+mn-cs"/>
            </a:rPr>
            <a:t>Use Portal, SSMS, PowerShell or </a:t>
          </a:r>
          <a:r>
            <a:rPr lang="en-US" sz="2500" kern="1200" baseline="0" dirty="0" err="1">
              <a:solidFill>
                <a:schemeClr val="tx1"/>
              </a:solidFill>
              <a:latin typeface="Segoe UI" panose="020B0502040204020203" pitchFamily="34" charset="0"/>
              <a:ea typeface="+mn-ea"/>
              <a:cs typeface="+mn-cs"/>
            </a:rPr>
            <a:t>SQLPackage</a:t>
          </a:r>
          <a:r>
            <a:rPr lang="en-US" sz="2500" kern="1200" baseline="0" dirty="0">
              <a:solidFill>
                <a:schemeClr val="tx1"/>
              </a:solidFill>
              <a:latin typeface="Segoe UI" panose="020B0502040204020203" pitchFamily="34" charset="0"/>
              <a:ea typeface="+mn-ea"/>
              <a:cs typeface="+mn-cs"/>
            </a:rPr>
            <a:t> Utility.</a:t>
          </a:r>
        </a:p>
      </dgm:t>
    </dgm:pt>
    <dgm:pt modelId="{95E90756-CE28-41FC-8D54-18FBEBC3C8CD}" type="parTrans" cxnId="{6DDE5C1F-AA43-434A-A7D6-D0E3BBDBA0DC}">
      <dgm:prSet/>
      <dgm:spPr/>
      <dgm:t>
        <a:bodyPr/>
        <a:lstStyle/>
        <a:p>
          <a:endParaRPr lang="en-US"/>
        </a:p>
      </dgm:t>
    </dgm:pt>
    <dgm:pt modelId="{5D3C2CAC-FCC3-4172-8E09-45561AA2087D}" type="sibTrans" cxnId="{6DDE5C1F-AA43-434A-A7D6-D0E3BBDBA0DC}">
      <dgm:prSet/>
      <dgm:spPr/>
      <dgm:t>
        <a:bodyPr/>
        <a:lstStyle/>
        <a:p>
          <a:endParaRPr lang="en-US"/>
        </a:p>
      </dgm:t>
    </dgm:pt>
    <dgm:pt modelId="{D8A3DD96-E3E8-43E5-BAA8-E0B095DDF1A3}" type="pres">
      <dgm:prSet presAssocID="{0F56F573-76D8-47E0-9B3C-EECE58A37EBE}" presName="Name0" presStyleCnt="0">
        <dgm:presLayoutVars>
          <dgm:dir/>
          <dgm:animLvl val="lvl"/>
          <dgm:resizeHandles val="exact"/>
        </dgm:presLayoutVars>
      </dgm:prSet>
      <dgm:spPr/>
    </dgm:pt>
    <dgm:pt modelId="{86E88652-C4A1-45C7-9F2A-E765E46AF2CB}" type="pres">
      <dgm:prSet presAssocID="{1809FF49-AB4C-4A16-A678-0D024B5DC465}" presName="linNode" presStyleCnt="0"/>
      <dgm:spPr/>
    </dgm:pt>
    <dgm:pt modelId="{B156846F-5FAA-4704-86B8-22041AB4EB7E}" type="pres">
      <dgm:prSet presAssocID="{1809FF49-AB4C-4A16-A678-0D024B5DC465}" presName="parTx" presStyleLbl="revTx" presStyleIdx="0" presStyleCnt="2" custScaleX="46472" custScaleY="128836">
        <dgm:presLayoutVars>
          <dgm:chMax val="1"/>
          <dgm:bulletEnabled val="1"/>
        </dgm:presLayoutVars>
      </dgm:prSet>
      <dgm:spPr/>
    </dgm:pt>
    <dgm:pt modelId="{2777AA17-2A71-4E83-B2B4-C459DF868FFA}" type="pres">
      <dgm:prSet presAssocID="{1809FF49-AB4C-4A16-A678-0D024B5DC465}" presName="bracket" presStyleLbl="parChTrans1D1" presStyleIdx="0" presStyleCnt="2"/>
      <dgm:spPr>
        <a:xfrm>
          <a:off x="2904204" y="100723"/>
          <a:ext cx="579707" cy="1909153"/>
        </a:xfrm>
        <a:prstGeom prst="leftBrace">
          <a:avLst>
            <a:gd name="adj1" fmla="val 35000"/>
            <a:gd name="adj2" fmla="val 50000"/>
          </a:avLst>
        </a:prstGeom>
        <a:noFill/>
        <a:ln w="10795" cap="flat" cmpd="sng" algn="ctr">
          <a:solidFill>
            <a:srgbClr val="0078D7">
              <a:shade val="60000"/>
              <a:hueOff val="0"/>
              <a:satOff val="0"/>
              <a:lumOff val="0"/>
              <a:alphaOff val="0"/>
            </a:srgbClr>
          </a:solidFill>
          <a:prstDash val="solid"/>
        </a:ln>
        <a:effectLst/>
      </dgm:spPr>
    </dgm:pt>
    <dgm:pt modelId="{E7C6BB7D-F172-45F6-88D3-7BC5E640EE02}" type="pres">
      <dgm:prSet presAssocID="{1809FF49-AB4C-4A16-A678-0D024B5DC465}" presName="spH" presStyleCnt="0"/>
      <dgm:spPr/>
    </dgm:pt>
    <dgm:pt modelId="{01C6F814-70BB-41A6-9F5A-632A917083F8}" type="pres">
      <dgm:prSet presAssocID="{1809FF49-AB4C-4A16-A678-0D024B5DC465}" presName="desTx" presStyleLbl="node1" presStyleIdx="0" presStyleCnt="2">
        <dgm:presLayoutVars>
          <dgm:bulletEnabled val="1"/>
        </dgm:presLayoutVars>
      </dgm:prSet>
      <dgm:spPr/>
    </dgm:pt>
    <dgm:pt modelId="{D12A6C18-9C3A-4C8D-A33F-4FA992695E69}" type="pres">
      <dgm:prSet presAssocID="{404C1C3F-4AB2-42CC-9D68-4B5F08803DCD}" presName="spV" presStyleCnt="0"/>
      <dgm:spPr/>
    </dgm:pt>
    <dgm:pt modelId="{27A17CD5-1E03-4CEB-BA35-69CD80E9236E}" type="pres">
      <dgm:prSet presAssocID="{AED35E85-EA04-48B1-92C1-5C650B1CA5AE}" presName="linNode" presStyleCnt="0"/>
      <dgm:spPr/>
    </dgm:pt>
    <dgm:pt modelId="{D5AB2BDC-EC89-44CE-A38B-A54A85B6BEE0}" type="pres">
      <dgm:prSet presAssocID="{AED35E85-EA04-48B1-92C1-5C650B1CA5AE}" presName="parTx" presStyleLbl="revTx" presStyleIdx="1" presStyleCnt="2" custScaleX="46473">
        <dgm:presLayoutVars>
          <dgm:chMax val="1"/>
          <dgm:bulletEnabled val="1"/>
        </dgm:presLayoutVars>
      </dgm:prSet>
      <dgm:spPr/>
    </dgm:pt>
    <dgm:pt modelId="{322D3664-012A-4FED-B452-0910ABF86AE1}" type="pres">
      <dgm:prSet presAssocID="{AED35E85-EA04-48B1-92C1-5C650B1CA5AE}" presName="bracket" presStyleLbl="parChTrans1D1" presStyleIdx="1" presStyleCnt="2"/>
      <dgm:spPr>
        <a:xfrm>
          <a:off x="2904204" y="2132277"/>
          <a:ext cx="579707" cy="1909153"/>
        </a:xfrm>
        <a:prstGeom prst="leftBrace">
          <a:avLst>
            <a:gd name="adj1" fmla="val 35000"/>
            <a:gd name="adj2" fmla="val 50000"/>
          </a:avLst>
        </a:prstGeom>
        <a:noFill/>
        <a:ln w="10795" cap="flat" cmpd="sng" algn="ctr">
          <a:solidFill>
            <a:srgbClr val="0078D7">
              <a:shade val="60000"/>
              <a:hueOff val="0"/>
              <a:satOff val="0"/>
              <a:lumOff val="0"/>
              <a:alphaOff val="0"/>
            </a:srgbClr>
          </a:solidFill>
          <a:prstDash val="solid"/>
        </a:ln>
        <a:effectLst/>
      </dgm:spPr>
    </dgm:pt>
    <dgm:pt modelId="{FDBC059E-D761-468B-AED6-035657D3FF95}" type="pres">
      <dgm:prSet presAssocID="{AED35E85-EA04-48B1-92C1-5C650B1CA5AE}" presName="spH" presStyleCnt="0"/>
      <dgm:spPr/>
    </dgm:pt>
    <dgm:pt modelId="{87F4CB3F-4FEE-4ABC-8414-BA33B5FE9A8A}" type="pres">
      <dgm:prSet presAssocID="{AED35E85-EA04-48B1-92C1-5C650B1CA5AE}" presName="desTx" presStyleLbl="node1" presStyleIdx="1" presStyleCnt="2">
        <dgm:presLayoutVars>
          <dgm:bulletEnabled val="1"/>
        </dgm:presLayoutVars>
      </dgm:prSet>
      <dgm:spPr/>
    </dgm:pt>
  </dgm:ptLst>
  <dgm:cxnLst>
    <dgm:cxn modelId="{6DDE5C1F-AA43-434A-A7D6-D0E3BBDBA0DC}" srcId="{AED35E85-EA04-48B1-92C1-5C650B1CA5AE}" destId="{38AB71E7-4079-4F71-A0DA-763B2078F1A3}" srcOrd="1" destOrd="0" parTransId="{95E90756-CE28-41FC-8D54-18FBEBC3C8CD}" sibTransId="{5D3C2CAC-FCC3-4172-8E09-45561AA2087D}"/>
    <dgm:cxn modelId="{8A74ED32-5D85-41E8-930D-6BD46D46D6C2}" srcId="{0F56F573-76D8-47E0-9B3C-EECE58A37EBE}" destId="{1809FF49-AB4C-4A16-A678-0D024B5DC465}" srcOrd="0" destOrd="0" parTransId="{580E9908-18D0-4BCF-88F1-A1FE29EC699B}" sibTransId="{404C1C3F-4AB2-42CC-9D68-4B5F08803DCD}"/>
    <dgm:cxn modelId="{28017763-1D9D-44A7-9CE3-BA3D7DC67C0A}" type="presOf" srcId="{0F56F573-76D8-47E0-9B3C-EECE58A37EBE}" destId="{D8A3DD96-E3E8-43E5-BAA8-E0B095DDF1A3}" srcOrd="0" destOrd="0" presId="urn:diagrams.loki3.com/BracketList"/>
    <dgm:cxn modelId="{1283CF47-DD09-4F52-9577-4E77CFEE9EB0}" type="presOf" srcId="{38AB71E7-4079-4F71-A0DA-763B2078F1A3}" destId="{87F4CB3F-4FEE-4ABC-8414-BA33B5FE9A8A}" srcOrd="0" destOrd="1" presId="urn:diagrams.loki3.com/BracketList"/>
    <dgm:cxn modelId="{F78FD169-5380-404B-B5C9-10656C58171F}" type="presOf" srcId="{AED35E85-EA04-48B1-92C1-5C650B1CA5AE}" destId="{D5AB2BDC-EC89-44CE-A38B-A54A85B6BEE0}" srcOrd="0" destOrd="0" presId="urn:diagrams.loki3.com/BracketList"/>
    <dgm:cxn modelId="{A6C7254E-5AC2-430C-87DA-D5072FE2D390}" srcId="{1809FF49-AB4C-4A16-A678-0D024B5DC465}" destId="{0C6FA40E-BBDA-4539-8455-BE7AA55223FA}" srcOrd="0" destOrd="0" parTransId="{E851712D-958E-4137-814D-CB83A89DF0CE}" sibTransId="{C8F011CA-7F90-4D82-9FF9-8896174AE704}"/>
    <dgm:cxn modelId="{5AE34586-0093-4564-8ADD-CFACF50416F0}" type="presOf" srcId="{080654DB-F650-4F98-A216-EC1E75264A55}" destId="{01C6F814-70BB-41A6-9F5A-632A917083F8}" srcOrd="0" destOrd="1" presId="urn:diagrams.loki3.com/BracketList"/>
    <dgm:cxn modelId="{F6588589-0F3E-441A-AAA6-4FBB7084997E}" srcId="{1809FF49-AB4C-4A16-A678-0D024B5DC465}" destId="{080654DB-F650-4F98-A216-EC1E75264A55}" srcOrd="1" destOrd="0" parTransId="{00E909FB-76F0-4F47-A7F5-58CF82EC3CBD}" sibTransId="{30436DED-EF37-4445-BA42-72B6B6FDEF24}"/>
    <dgm:cxn modelId="{754FD289-0B6F-42C2-AEDF-9C707E6207D8}" srcId="{AED35E85-EA04-48B1-92C1-5C650B1CA5AE}" destId="{4D0B330A-731D-4663-8C87-9A6E219740E4}" srcOrd="0" destOrd="0" parTransId="{AB05CB78-3643-4FCF-B4CD-15A52CBAC54B}" sibTransId="{F676DBC3-5840-49C7-AF10-B1A64933FF32}"/>
    <dgm:cxn modelId="{2C668197-854F-4227-A5D6-14BFB378CA86}" type="presOf" srcId="{4D0B330A-731D-4663-8C87-9A6E219740E4}" destId="{87F4CB3F-4FEE-4ABC-8414-BA33B5FE9A8A}" srcOrd="0" destOrd="0" presId="urn:diagrams.loki3.com/BracketList"/>
    <dgm:cxn modelId="{35EEF2CB-B248-41B5-8E72-8B848643BCC5}" type="presOf" srcId="{1809FF49-AB4C-4A16-A678-0D024B5DC465}" destId="{B156846F-5FAA-4704-86B8-22041AB4EB7E}" srcOrd="0" destOrd="0" presId="urn:diagrams.loki3.com/BracketList"/>
    <dgm:cxn modelId="{CF2389FA-228A-4E5C-BE40-BBD0DC677D41}" srcId="{0F56F573-76D8-47E0-9B3C-EECE58A37EBE}" destId="{AED35E85-EA04-48B1-92C1-5C650B1CA5AE}" srcOrd="1" destOrd="0" parTransId="{44104BE9-4AFD-4ACE-8EB1-1447A6C1BC4D}" sibTransId="{6A4AB4AB-0069-427E-9963-AC7DB84B1F00}"/>
    <dgm:cxn modelId="{4B93F7FC-1207-4D2E-B18A-85CC3AC3E10C}" type="presOf" srcId="{0C6FA40E-BBDA-4539-8455-BE7AA55223FA}" destId="{01C6F814-70BB-41A6-9F5A-632A917083F8}" srcOrd="0" destOrd="0" presId="urn:diagrams.loki3.com/BracketList"/>
    <dgm:cxn modelId="{B5746CD8-96B3-4D81-B6B5-3F65577D7A8B}" type="presParOf" srcId="{D8A3DD96-E3E8-43E5-BAA8-E0B095DDF1A3}" destId="{86E88652-C4A1-45C7-9F2A-E765E46AF2CB}" srcOrd="0" destOrd="0" presId="urn:diagrams.loki3.com/BracketList"/>
    <dgm:cxn modelId="{F92FCD91-86A3-423D-B343-52CC6ACFEC44}" type="presParOf" srcId="{86E88652-C4A1-45C7-9F2A-E765E46AF2CB}" destId="{B156846F-5FAA-4704-86B8-22041AB4EB7E}" srcOrd="0" destOrd="0" presId="urn:diagrams.loki3.com/BracketList"/>
    <dgm:cxn modelId="{80F3CD86-6D16-425A-A138-990000282B82}" type="presParOf" srcId="{86E88652-C4A1-45C7-9F2A-E765E46AF2CB}" destId="{2777AA17-2A71-4E83-B2B4-C459DF868FFA}" srcOrd="1" destOrd="0" presId="urn:diagrams.loki3.com/BracketList"/>
    <dgm:cxn modelId="{55933829-F8A3-4F11-B2B9-ED8B70725E9F}" type="presParOf" srcId="{86E88652-C4A1-45C7-9F2A-E765E46AF2CB}" destId="{E7C6BB7D-F172-45F6-88D3-7BC5E640EE02}" srcOrd="2" destOrd="0" presId="urn:diagrams.loki3.com/BracketList"/>
    <dgm:cxn modelId="{7FFB033B-8778-41E7-8EF5-B0A6B141DFBB}" type="presParOf" srcId="{86E88652-C4A1-45C7-9F2A-E765E46AF2CB}" destId="{01C6F814-70BB-41A6-9F5A-632A917083F8}" srcOrd="3" destOrd="0" presId="urn:diagrams.loki3.com/BracketList"/>
    <dgm:cxn modelId="{67A3703E-2700-4CEB-9D2C-3DE77B5EF49D}" type="presParOf" srcId="{D8A3DD96-E3E8-43E5-BAA8-E0B095DDF1A3}" destId="{D12A6C18-9C3A-4C8D-A33F-4FA992695E69}" srcOrd="1" destOrd="0" presId="urn:diagrams.loki3.com/BracketList"/>
    <dgm:cxn modelId="{4D8C4B45-6245-46FF-A6B3-3455003BE5D1}" type="presParOf" srcId="{D8A3DD96-E3E8-43E5-BAA8-E0B095DDF1A3}" destId="{27A17CD5-1E03-4CEB-BA35-69CD80E9236E}" srcOrd="2" destOrd="0" presId="urn:diagrams.loki3.com/BracketList"/>
    <dgm:cxn modelId="{7BB05170-9B12-4D1B-BBF9-80B647E05497}" type="presParOf" srcId="{27A17CD5-1E03-4CEB-BA35-69CD80E9236E}" destId="{D5AB2BDC-EC89-44CE-A38B-A54A85B6BEE0}" srcOrd="0" destOrd="0" presId="urn:diagrams.loki3.com/BracketList"/>
    <dgm:cxn modelId="{0F65E64D-210F-4553-9229-1D212478199E}" type="presParOf" srcId="{27A17CD5-1E03-4CEB-BA35-69CD80E9236E}" destId="{322D3664-012A-4FED-B452-0910ABF86AE1}" srcOrd="1" destOrd="0" presId="urn:diagrams.loki3.com/BracketList"/>
    <dgm:cxn modelId="{BC59445A-FFC5-4178-A668-176F9665D72C}" type="presParOf" srcId="{27A17CD5-1E03-4CEB-BA35-69CD80E9236E}" destId="{FDBC059E-D761-468B-AED6-035657D3FF95}" srcOrd="2" destOrd="0" presId="urn:diagrams.loki3.com/BracketList"/>
    <dgm:cxn modelId="{9B855A4B-A519-404B-8985-06C84A9814FE}" type="presParOf" srcId="{27A17CD5-1E03-4CEB-BA35-69CD80E9236E}" destId="{87F4CB3F-4FEE-4ABC-8414-BA33B5FE9A8A}"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F4CA815-C166-4ABC-85AD-B0C8ED2E1C3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AEAC7FF7-D4CA-4AB9-8730-A89A2C1AA2A1}">
      <dgm:prSet phldrT="[Text]" custT="1"/>
      <dgm:spPr>
        <a:xfrm>
          <a:off x="284237" y="21017"/>
          <a:ext cx="4557519" cy="824938"/>
        </a:xfrm>
        <a:prstGeom prst="roundRect">
          <a:avLst/>
        </a:prstGeom>
      </dgm:spPr>
      <dgm:t>
        <a:bodyPr/>
        <a:lstStyle/>
        <a:p>
          <a:pPr>
            <a:buNone/>
          </a:pPr>
          <a:r>
            <a:rPr lang="en-US" sz="1400">
              <a:latin typeface="Segoe UI"/>
              <a:ea typeface="+mn-ea"/>
              <a:cs typeface="+mn-cs"/>
            </a:rPr>
            <a:t>The database can be restored to any service tier or performance level</a:t>
          </a:r>
          <a:endParaRPr lang="en-US" sz="1400" dirty="0">
            <a:latin typeface="Segoe UI"/>
            <a:ea typeface="+mn-ea"/>
            <a:cs typeface="+mn-cs"/>
          </a:endParaRPr>
        </a:p>
      </dgm:t>
    </dgm:pt>
    <dgm:pt modelId="{F3353E81-0319-47D6-BF70-14A908D6B2B1}" type="parTrans" cxnId="{E26E4ADE-8258-4E3F-9A4B-06F8686F432A}">
      <dgm:prSet/>
      <dgm:spPr/>
      <dgm:t>
        <a:bodyPr/>
        <a:lstStyle/>
        <a:p>
          <a:endParaRPr lang="en-US"/>
        </a:p>
      </dgm:t>
    </dgm:pt>
    <dgm:pt modelId="{BAB50B7B-C6A7-42E4-844A-7D0D573B1CD3}" type="sibTrans" cxnId="{E26E4ADE-8258-4E3F-9A4B-06F8686F432A}">
      <dgm:prSet/>
      <dgm:spPr/>
      <dgm:t>
        <a:bodyPr/>
        <a:lstStyle/>
        <a:p>
          <a:endParaRPr lang="en-US"/>
        </a:p>
      </dgm:t>
    </dgm:pt>
    <dgm:pt modelId="{C01E7E52-8402-4617-A7A5-9E2ACBB53B18}">
      <dgm:prSet custT="1"/>
      <dgm:spPr>
        <a:xfrm>
          <a:off x="0" y="462195"/>
          <a:ext cx="5684748" cy="924282"/>
        </a:xfrm>
        <a:prstGeom prst="rect">
          <a:avLst/>
        </a:prstGeom>
      </dgm:spPr>
      <dgm:t>
        <a:bodyPr/>
        <a:lstStyle/>
        <a:p>
          <a:pPr>
            <a:buChar char="•"/>
          </a:pPr>
          <a:r>
            <a:rPr lang="en-US" sz="1400" dirty="0">
              <a:latin typeface="Segoe UI"/>
              <a:ea typeface="+mn-ea"/>
              <a:cs typeface="+mn-cs"/>
            </a:rPr>
            <a:t>Creates a new database in the same logical server.</a:t>
          </a:r>
        </a:p>
      </dgm:t>
    </dgm:pt>
    <dgm:pt modelId="{0DC91B84-8E6E-4220-A065-AA0640164A17}" type="parTrans" cxnId="{70B24DCD-1048-4B36-96A6-0E12FA6FE8B7}">
      <dgm:prSet/>
      <dgm:spPr/>
      <dgm:t>
        <a:bodyPr/>
        <a:lstStyle/>
        <a:p>
          <a:endParaRPr lang="en-US"/>
        </a:p>
      </dgm:t>
    </dgm:pt>
    <dgm:pt modelId="{2669C4DA-FF86-45FB-AE82-6615086781D3}" type="sibTrans" cxnId="{70B24DCD-1048-4B36-96A6-0E12FA6FE8B7}">
      <dgm:prSet/>
      <dgm:spPr/>
      <dgm:t>
        <a:bodyPr/>
        <a:lstStyle/>
        <a:p>
          <a:endParaRPr lang="en-US"/>
        </a:p>
      </dgm:t>
    </dgm:pt>
    <dgm:pt modelId="{140A096E-C24A-46BA-B51A-20746C5E0BFD}">
      <dgm:prSet custT="1"/>
      <dgm:spPr>
        <a:xfrm>
          <a:off x="284237" y="1526878"/>
          <a:ext cx="4557519" cy="824938"/>
        </a:xfrm>
        <a:prstGeom prst="roundRect">
          <a:avLst/>
        </a:prstGeom>
      </dgm:spPr>
      <dgm:t>
        <a:bodyPr/>
        <a:lstStyle/>
        <a:p>
          <a:pPr>
            <a:buNone/>
          </a:pPr>
          <a:r>
            <a:rPr kumimoji="0" lang="en-US"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Database Replacement</a:t>
          </a:r>
          <a:endParaRPr kumimoji="0" lang="en-US"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712D0C43-52C0-41C0-AC89-536A50F1C7D4}" type="parTrans" cxnId="{C679F599-9EC7-4F4C-A58D-7B8EB0E29E6A}">
      <dgm:prSet/>
      <dgm:spPr/>
      <dgm:t>
        <a:bodyPr/>
        <a:lstStyle/>
        <a:p>
          <a:endParaRPr lang="en-US"/>
        </a:p>
      </dgm:t>
    </dgm:pt>
    <dgm:pt modelId="{C6590F42-0203-49B7-9C96-4D5276675FE5}" type="sibTrans" cxnId="{C679F599-9EC7-4F4C-A58D-7B8EB0E29E6A}">
      <dgm:prSet/>
      <dgm:spPr/>
      <dgm:t>
        <a:bodyPr/>
        <a:lstStyle/>
        <a:p>
          <a:endParaRPr lang="en-US"/>
        </a:p>
      </dgm:t>
    </dgm:pt>
    <dgm:pt modelId="{10C8086C-B724-4AA8-BE36-A14FF94A36D4}">
      <dgm:prSet custT="1"/>
      <dgm:spPr>
        <a:xfrm>
          <a:off x="0" y="1968056"/>
          <a:ext cx="5684748" cy="1386424"/>
        </a:xfrm>
        <a:prstGeom prst="rect">
          <a:avLst/>
        </a:prstGeom>
      </dgm:spPr>
      <dgm:t>
        <a:bodyPr/>
        <a:lstStyle/>
        <a:p>
          <a:pPr>
            <a:buChar char="•"/>
          </a:pPr>
          <a:r>
            <a:rPr lang="en-US" sz="1400" dirty="0">
              <a:latin typeface="Segoe UI"/>
              <a:ea typeface="+mn-ea"/>
              <a:cs typeface="+mn-cs"/>
            </a:rPr>
            <a:t>Rename the original database and then give the restored database the original name using the ALTER DATABASE command in T-SQL. </a:t>
          </a:r>
        </a:p>
      </dgm:t>
    </dgm:pt>
    <dgm:pt modelId="{FDB578B8-F86A-4822-B207-D79EE6AF5033}" type="parTrans" cxnId="{6F17C41A-B0A7-4944-8A72-70ED1EF8335E}">
      <dgm:prSet/>
      <dgm:spPr/>
      <dgm:t>
        <a:bodyPr/>
        <a:lstStyle/>
        <a:p>
          <a:endParaRPr lang="en-US"/>
        </a:p>
      </dgm:t>
    </dgm:pt>
    <dgm:pt modelId="{9D1BB7AA-1608-4ACE-9120-D0A8D2F81F60}" type="sibTrans" cxnId="{6F17C41A-B0A7-4944-8A72-70ED1EF8335E}">
      <dgm:prSet/>
      <dgm:spPr/>
      <dgm:t>
        <a:bodyPr/>
        <a:lstStyle/>
        <a:p>
          <a:endParaRPr lang="en-US"/>
        </a:p>
      </dgm:t>
    </dgm:pt>
    <dgm:pt modelId="{7706A478-591B-4B8A-AE74-6C5523393407}">
      <dgm:prSet custT="1"/>
      <dgm:spPr>
        <a:xfrm>
          <a:off x="284237" y="3494880"/>
          <a:ext cx="4557519" cy="824938"/>
        </a:xfrm>
        <a:prstGeom prst="roundRect">
          <a:avLst/>
        </a:prstGeom>
      </dgm:spPr>
      <dgm:t>
        <a:bodyPr/>
        <a:lstStyle/>
        <a:p>
          <a:pPr>
            <a:buNone/>
          </a:pPr>
          <a:r>
            <a:rPr lang="en-US" sz="1400">
              <a:latin typeface="Segoe UI"/>
              <a:ea typeface="+mn-ea"/>
              <a:cs typeface="+mn-cs"/>
            </a:rPr>
            <a:t>Data Recovery</a:t>
          </a:r>
          <a:endParaRPr kumimoji="0" lang="en-US"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EFEED04F-62B2-47FC-B03C-A5CC72812BA4}" type="parTrans" cxnId="{33E2A03F-D0AB-4C79-8773-33C60793FF5E}">
      <dgm:prSet/>
      <dgm:spPr/>
      <dgm:t>
        <a:bodyPr/>
        <a:lstStyle/>
        <a:p>
          <a:endParaRPr lang="en-US"/>
        </a:p>
      </dgm:t>
    </dgm:pt>
    <dgm:pt modelId="{8B67919F-279E-4FB9-AFBF-88E29ACE0154}" type="sibTrans" cxnId="{33E2A03F-D0AB-4C79-8773-33C60793FF5E}">
      <dgm:prSet/>
      <dgm:spPr/>
      <dgm:t>
        <a:bodyPr/>
        <a:lstStyle/>
        <a:p>
          <a:endParaRPr lang="en-US"/>
        </a:p>
      </dgm:t>
    </dgm:pt>
    <dgm:pt modelId="{A55DD790-2564-427A-91D4-774803C73905}">
      <dgm:prSet custT="1"/>
      <dgm:spPr>
        <a:xfrm>
          <a:off x="0" y="3936058"/>
          <a:ext cx="5684748" cy="1386424"/>
        </a:xfrm>
        <a:prstGeom prst="rect">
          <a:avLst/>
        </a:prstGeom>
      </dgm:spPr>
      <dgm:t>
        <a:bodyPr/>
        <a:lstStyle/>
        <a:p>
          <a:pPr>
            <a:buChar char="•"/>
          </a:pPr>
          <a:r>
            <a:rPr lang="en-US" sz="1400">
              <a:latin typeface="Segoe UI"/>
              <a:ea typeface="+mn-ea"/>
              <a:cs typeface="+mn-cs"/>
            </a:rPr>
            <a:t>Write and execute the necessary data recovery scripts to extract data from the restored database to the original database.</a:t>
          </a:r>
          <a:endParaRPr kumimoji="0" lang="en-US"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5219585F-38FB-4D98-BA3B-A28F462DC125}" type="parTrans" cxnId="{65855A1F-B375-46D3-9ACA-9AA0C7BC925B}">
      <dgm:prSet/>
      <dgm:spPr/>
      <dgm:t>
        <a:bodyPr/>
        <a:lstStyle/>
        <a:p>
          <a:endParaRPr lang="en-US"/>
        </a:p>
      </dgm:t>
    </dgm:pt>
    <dgm:pt modelId="{8FC47E2B-68B6-4429-80E2-78C1E6B7CA9C}" type="sibTrans" cxnId="{65855A1F-B375-46D3-9ACA-9AA0C7BC925B}">
      <dgm:prSet/>
      <dgm:spPr/>
      <dgm:t>
        <a:bodyPr/>
        <a:lstStyle/>
        <a:p>
          <a:endParaRPr lang="en-US"/>
        </a:p>
      </dgm:t>
    </dgm:pt>
    <dgm:pt modelId="{BD7E1BAE-8F8D-4898-B762-8ABA9D9AC6F0}" type="pres">
      <dgm:prSet presAssocID="{9F4CA815-C166-4ABC-85AD-B0C8ED2E1C33}" presName="linear" presStyleCnt="0">
        <dgm:presLayoutVars>
          <dgm:dir/>
          <dgm:animLvl val="lvl"/>
          <dgm:resizeHandles val="exact"/>
        </dgm:presLayoutVars>
      </dgm:prSet>
      <dgm:spPr/>
    </dgm:pt>
    <dgm:pt modelId="{386C2637-E21A-4889-86CF-25100CCC3B12}" type="pres">
      <dgm:prSet presAssocID="{AEAC7FF7-D4CA-4AB9-8730-A89A2C1AA2A1}" presName="parentLin" presStyleCnt="0"/>
      <dgm:spPr/>
    </dgm:pt>
    <dgm:pt modelId="{54C8298B-8529-49D0-A4F4-09E9A3A0D8B9}" type="pres">
      <dgm:prSet presAssocID="{AEAC7FF7-D4CA-4AB9-8730-A89A2C1AA2A1}" presName="parentLeftMargin" presStyleLbl="node1" presStyleIdx="0" presStyleCnt="3"/>
      <dgm:spPr/>
    </dgm:pt>
    <dgm:pt modelId="{188461EE-287A-4F9D-9166-AF1ED83A6E41}" type="pres">
      <dgm:prSet presAssocID="{AEAC7FF7-D4CA-4AB9-8730-A89A2C1AA2A1}" presName="parentText" presStyleLbl="node1" presStyleIdx="0" presStyleCnt="3" custScaleX="114530" custScaleY="107481">
        <dgm:presLayoutVars>
          <dgm:chMax val="0"/>
          <dgm:bulletEnabled val="1"/>
        </dgm:presLayoutVars>
      </dgm:prSet>
      <dgm:spPr/>
    </dgm:pt>
    <dgm:pt modelId="{49288C76-C9DE-4CF0-926D-7DB3CE5D2B0E}" type="pres">
      <dgm:prSet presAssocID="{AEAC7FF7-D4CA-4AB9-8730-A89A2C1AA2A1}" presName="negativeSpace" presStyleCnt="0"/>
      <dgm:spPr/>
    </dgm:pt>
    <dgm:pt modelId="{21E65E04-8A3A-4D96-B530-6977FED0CFD9}" type="pres">
      <dgm:prSet presAssocID="{AEAC7FF7-D4CA-4AB9-8730-A89A2C1AA2A1}" presName="childText" presStyleLbl="conFgAcc1" presStyleIdx="0" presStyleCnt="3" custScaleY="107481">
        <dgm:presLayoutVars>
          <dgm:bulletEnabled val="1"/>
        </dgm:presLayoutVars>
      </dgm:prSet>
      <dgm:spPr/>
    </dgm:pt>
    <dgm:pt modelId="{618F776E-2F6C-425E-BA75-CC96C76B0C46}" type="pres">
      <dgm:prSet presAssocID="{BAB50B7B-C6A7-42E4-844A-7D0D573B1CD3}" presName="spaceBetweenRectangles" presStyleCnt="0"/>
      <dgm:spPr/>
    </dgm:pt>
    <dgm:pt modelId="{DCD2E247-961D-4433-89B3-883B400F7804}" type="pres">
      <dgm:prSet presAssocID="{140A096E-C24A-46BA-B51A-20746C5E0BFD}" presName="parentLin" presStyleCnt="0"/>
      <dgm:spPr/>
    </dgm:pt>
    <dgm:pt modelId="{CD924622-2988-4E95-B2AF-8D1DD2B6D346}" type="pres">
      <dgm:prSet presAssocID="{140A096E-C24A-46BA-B51A-20746C5E0BFD}" presName="parentLeftMargin" presStyleLbl="node1" presStyleIdx="0" presStyleCnt="3"/>
      <dgm:spPr/>
    </dgm:pt>
    <dgm:pt modelId="{D074B3D6-1E40-4917-BF4D-281E6F76E9D5}" type="pres">
      <dgm:prSet presAssocID="{140A096E-C24A-46BA-B51A-20746C5E0BFD}" presName="parentText" presStyleLbl="node1" presStyleIdx="1" presStyleCnt="3" custScaleX="114530" custScaleY="107481">
        <dgm:presLayoutVars>
          <dgm:chMax val="0"/>
          <dgm:bulletEnabled val="1"/>
        </dgm:presLayoutVars>
      </dgm:prSet>
      <dgm:spPr/>
    </dgm:pt>
    <dgm:pt modelId="{2BBC46BF-74DE-4B27-B261-5198A903183A}" type="pres">
      <dgm:prSet presAssocID="{140A096E-C24A-46BA-B51A-20746C5E0BFD}" presName="negativeSpace" presStyleCnt="0"/>
      <dgm:spPr/>
    </dgm:pt>
    <dgm:pt modelId="{E09819C9-6050-4FD0-81DE-73A21057484A}" type="pres">
      <dgm:prSet presAssocID="{140A096E-C24A-46BA-B51A-20746C5E0BFD}" presName="childText" presStyleLbl="conFgAcc1" presStyleIdx="1" presStyleCnt="3" custScaleY="107481">
        <dgm:presLayoutVars>
          <dgm:bulletEnabled val="1"/>
        </dgm:presLayoutVars>
      </dgm:prSet>
      <dgm:spPr/>
    </dgm:pt>
    <dgm:pt modelId="{2058503D-F9FC-42CB-A742-2A62DB4F3F7A}" type="pres">
      <dgm:prSet presAssocID="{C6590F42-0203-49B7-9C96-4D5276675FE5}" presName="spaceBetweenRectangles" presStyleCnt="0"/>
      <dgm:spPr/>
    </dgm:pt>
    <dgm:pt modelId="{BE122975-278E-4C2C-86FD-F543D05FDF4A}" type="pres">
      <dgm:prSet presAssocID="{7706A478-591B-4B8A-AE74-6C5523393407}" presName="parentLin" presStyleCnt="0"/>
      <dgm:spPr/>
    </dgm:pt>
    <dgm:pt modelId="{FF04A871-4217-409C-87D4-FC79495DBB90}" type="pres">
      <dgm:prSet presAssocID="{7706A478-591B-4B8A-AE74-6C5523393407}" presName="parentLeftMargin" presStyleLbl="node1" presStyleIdx="1" presStyleCnt="3"/>
      <dgm:spPr/>
    </dgm:pt>
    <dgm:pt modelId="{C78E122A-E499-4946-BCEF-0C4B8504D75B}" type="pres">
      <dgm:prSet presAssocID="{7706A478-591B-4B8A-AE74-6C5523393407}" presName="parentText" presStyleLbl="node1" presStyleIdx="2" presStyleCnt="3" custScaleX="114530" custScaleY="107481">
        <dgm:presLayoutVars>
          <dgm:chMax val="0"/>
          <dgm:bulletEnabled val="1"/>
        </dgm:presLayoutVars>
      </dgm:prSet>
      <dgm:spPr/>
    </dgm:pt>
    <dgm:pt modelId="{81360F8D-37F8-4420-9251-A5FA9FD332DC}" type="pres">
      <dgm:prSet presAssocID="{7706A478-591B-4B8A-AE74-6C5523393407}" presName="negativeSpace" presStyleCnt="0"/>
      <dgm:spPr/>
    </dgm:pt>
    <dgm:pt modelId="{BB207B3A-6063-4E55-9822-167B464B353E}" type="pres">
      <dgm:prSet presAssocID="{7706A478-591B-4B8A-AE74-6C5523393407}" presName="childText" presStyleLbl="conFgAcc1" presStyleIdx="2" presStyleCnt="3" custScaleY="107481">
        <dgm:presLayoutVars>
          <dgm:bulletEnabled val="1"/>
        </dgm:presLayoutVars>
      </dgm:prSet>
      <dgm:spPr/>
    </dgm:pt>
  </dgm:ptLst>
  <dgm:cxnLst>
    <dgm:cxn modelId="{6F17C41A-B0A7-4944-8A72-70ED1EF8335E}" srcId="{140A096E-C24A-46BA-B51A-20746C5E0BFD}" destId="{10C8086C-B724-4AA8-BE36-A14FF94A36D4}" srcOrd="0" destOrd="0" parTransId="{FDB578B8-F86A-4822-B207-D79EE6AF5033}" sibTransId="{9D1BB7AA-1608-4ACE-9120-D0A8D2F81F60}"/>
    <dgm:cxn modelId="{65855A1F-B375-46D3-9ACA-9AA0C7BC925B}" srcId="{7706A478-591B-4B8A-AE74-6C5523393407}" destId="{A55DD790-2564-427A-91D4-774803C73905}" srcOrd="0" destOrd="0" parTransId="{5219585F-38FB-4D98-BA3B-A28F462DC125}" sibTransId="{8FC47E2B-68B6-4429-80E2-78C1E6B7CA9C}"/>
    <dgm:cxn modelId="{33E2A03F-D0AB-4C79-8773-33C60793FF5E}" srcId="{9F4CA815-C166-4ABC-85AD-B0C8ED2E1C33}" destId="{7706A478-591B-4B8A-AE74-6C5523393407}" srcOrd="2" destOrd="0" parTransId="{EFEED04F-62B2-47FC-B03C-A5CC72812BA4}" sibTransId="{8B67919F-279E-4FB9-AFBF-88E29ACE0154}"/>
    <dgm:cxn modelId="{CF1A3562-EF63-492F-8975-E1C99ACD37C8}" type="presOf" srcId="{AEAC7FF7-D4CA-4AB9-8730-A89A2C1AA2A1}" destId="{54C8298B-8529-49D0-A4F4-09E9A3A0D8B9}" srcOrd="0" destOrd="0" presId="urn:microsoft.com/office/officeart/2005/8/layout/list1"/>
    <dgm:cxn modelId="{A27FDB42-6F7F-4F19-9BDC-DBC3673DFDB1}" type="presOf" srcId="{AEAC7FF7-D4CA-4AB9-8730-A89A2C1AA2A1}" destId="{188461EE-287A-4F9D-9166-AF1ED83A6E41}" srcOrd="1" destOrd="0" presId="urn:microsoft.com/office/officeart/2005/8/layout/list1"/>
    <dgm:cxn modelId="{23D68463-6573-40F0-A71F-BD5D3F0B242D}" type="presOf" srcId="{C01E7E52-8402-4617-A7A5-9E2ACBB53B18}" destId="{21E65E04-8A3A-4D96-B530-6977FED0CFD9}" srcOrd="0" destOrd="0" presId="urn:microsoft.com/office/officeart/2005/8/layout/list1"/>
    <dgm:cxn modelId="{9BF21D49-291A-44DA-84FC-B86AE3C65BE0}" type="presOf" srcId="{10C8086C-B724-4AA8-BE36-A14FF94A36D4}" destId="{E09819C9-6050-4FD0-81DE-73A21057484A}" srcOrd="0" destOrd="0" presId="urn:microsoft.com/office/officeart/2005/8/layout/list1"/>
    <dgm:cxn modelId="{2BB17A52-FD31-4716-9CD5-06F8583A9A6A}" type="presOf" srcId="{140A096E-C24A-46BA-B51A-20746C5E0BFD}" destId="{CD924622-2988-4E95-B2AF-8D1DD2B6D346}" srcOrd="0" destOrd="0" presId="urn:microsoft.com/office/officeart/2005/8/layout/list1"/>
    <dgm:cxn modelId="{139F4975-A9FC-44B1-9B6B-87ED737440E2}" type="presOf" srcId="{7706A478-591B-4B8A-AE74-6C5523393407}" destId="{FF04A871-4217-409C-87D4-FC79495DBB90}" srcOrd="0" destOrd="0" presId="urn:microsoft.com/office/officeart/2005/8/layout/list1"/>
    <dgm:cxn modelId="{94014257-7A66-4D15-8975-C564B830BAF3}" type="presOf" srcId="{7706A478-591B-4B8A-AE74-6C5523393407}" destId="{C78E122A-E499-4946-BCEF-0C4B8504D75B}" srcOrd="1" destOrd="0" presId="urn:microsoft.com/office/officeart/2005/8/layout/list1"/>
    <dgm:cxn modelId="{0C5FC157-2D5B-4FD2-B61C-139FF9D69424}" type="presOf" srcId="{9F4CA815-C166-4ABC-85AD-B0C8ED2E1C33}" destId="{BD7E1BAE-8F8D-4898-B762-8ABA9D9AC6F0}" srcOrd="0" destOrd="0" presId="urn:microsoft.com/office/officeart/2005/8/layout/list1"/>
    <dgm:cxn modelId="{C679F599-9EC7-4F4C-A58D-7B8EB0E29E6A}" srcId="{9F4CA815-C166-4ABC-85AD-B0C8ED2E1C33}" destId="{140A096E-C24A-46BA-B51A-20746C5E0BFD}" srcOrd="1" destOrd="0" parTransId="{712D0C43-52C0-41C0-AC89-536A50F1C7D4}" sibTransId="{C6590F42-0203-49B7-9C96-4D5276675FE5}"/>
    <dgm:cxn modelId="{A1BB579E-5E11-42BC-AF32-1B94CDA2052A}" type="presOf" srcId="{140A096E-C24A-46BA-B51A-20746C5E0BFD}" destId="{D074B3D6-1E40-4917-BF4D-281E6F76E9D5}" srcOrd="1" destOrd="0" presId="urn:microsoft.com/office/officeart/2005/8/layout/list1"/>
    <dgm:cxn modelId="{70B24DCD-1048-4B36-96A6-0E12FA6FE8B7}" srcId="{AEAC7FF7-D4CA-4AB9-8730-A89A2C1AA2A1}" destId="{C01E7E52-8402-4617-A7A5-9E2ACBB53B18}" srcOrd="0" destOrd="0" parTransId="{0DC91B84-8E6E-4220-A065-AA0640164A17}" sibTransId="{2669C4DA-FF86-45FB-AE82-6615086781D3}"/>
    <dgm:cxn modelId="{1C6F88DC-7C9E-4EF2-9B0F-5C503FF24EB4}" type="presOf" srcId="{A55DD790-2564-427A-91D4-774803C73905}" destId="{BB207B3A-6063-4E55-9822-167B464B353E}" srcOrd="0" destOrd="0" presId="urn:microsoft.com/office/officeart/2005/8/layout/list1"/>
    <dgm:cxn modelId="{E26E4ADE-8258-4E3F-9A4B-06F8686F432A}" srcId="{9F4CA815-C166-4ABC-85AD-B0C8ED2E1C33}" destId="{AEAC7FF7-D4CA-4AB9-8730-A89A2C1AA2A1}" srcOrd="0" destOrd="0" parTransId="{F3353E81-0319-47D6-BF70-14A908D6B2B1}" sibTransId="{BAB50B7B-C6A7-42E4-844A-7D0D573B1CD3}"/>
    <dgm:cxn modelId="{38ED0B6A-4ADF-4DC6-8C68-E9EDB7A456E2}" type="presParOf" srcId="{BD7E1BAE-8F8D-4898-B762-8ABA9D9AC6F0}" destId="{386C2637-E21A-4889-86CF-25100CCC3B12}" srcOrd="0" destOrd="0" presId="urn:microsoft.com/office/officeart/2005/8/layout/list1"/>
    <dgm:cxn modelId="{2E25D6F7-63AF-4859-A825-0F77F6644C67}" type="presParOf" srcId="{386C2637-E21A-4889-86CF-25100CCC3B12}" destId="{54C8298B-8529-49D0-A4F4-09E9A3A0D8B9}" srcOrd="0" destOrd="0" presId="urn:microsoft.com/office/officeart/2005/8/layout/list1"/>
    <dgm:cxn modelId="{BE22C50C-73ED-4438-B37C-4400D8413943}" type="presParOf" srcId="{386C2637-E21A-4889-86CF-25100CCC3B12}" destId="{188461EE-287A-4F9D-9166-AF1ED83A6E41}" srcOrd="1" destOrd="0" presId="urn:microsoft.com/office/officeart/2005/8/layout/list1"/>
    <dgm:cxn modelId="{B0FCA446-FE69-4F30-9A87-B3215F0EACE4}" type="presParOf" srcId="{BD7E1BAE-8F8D-4898-B762-8ABA9D9AC6F0}" destId="{49288C76-C9DE-4CF0-926D-7DB3CE5D2B0E}" srcOrd="1" destOrd="0" presId="urn:microsoft.com/office/officeart/2005/8/layout/list1"/>
    <dgm:cxn modelId="{7DE86019-DF54-42DD-9EA9-C0A34EF2BE1F}" type="presParOf" srcId="{BD7E1BAE-8F8D-4898-B762-8ABA9D9AC6F0}" destId="{21E65E04-8A3A-4D96-B530-6977FED0CFD9}" srcOrd="2" destOrd="0" presId="urn:microsoft.com/office/officeart/2005/8/layout/list1"/>
    <dgm:cxn modelId="{1A0DDE39-D659-430A-A952-2621333E07BB}" type="presParOf" srcId="{BD7E1BAE-8F8D-4898-B762-8ABA9D9AC6F0}" destId="{618F776E-2F6C-425E-BA75-CC96C76B0C46}" srcOrd="3" destOrd="0" presId="urn:microsoft.com/office/officeart/2005/8/layout/list1"/>
    <dgm:cxn modelId="{2C98A1F3-C29F-485C-921E-49ABD085A5B7}" type="presParOf" srcId="{BD7E1BAE-8F8D-4898-B762-8ABA9D9AC6F0}" destId="{DCD2E247-961D-4433-89B3-883B400F7804}" srcOrd="4" destOrd="0" presId="urn:microsoft.com/office/officeart/2005/8/layout/list1"/>
    <dgm:cxn modelId="{152553C3-C605-4E81-B2F6-7C4781C4C5A8}" type="presParOf" srcId="{DCD2E247-961D-4433-89B3-883B400F7804}" destId="{CD924622-2988-4E95-B2AF-8D1DD2B6D346}" srcOrd="0" destOrd="0" presId="urn:microsoft.com/office/officeart/2005/8/layout/list1"/>
    <dgm:cxn modelId="{44275EB6-184F-436F-B615-C00CD170597C}" type="presParOf" srcId="{DCD2E247-961D-4433-89B3-883B400F7804}" destId="{D074B3D6-1E40-4917-BF4D-281E6F76E9D5}" srcOrd="1" destOrd="0" presId="urn:microsoft.com/office/officeart/2005/8/layout/list1"/>
    <dgm:cxn modelId="{9115416B-B031-4C0C-A4FB-3B4D0DA52523}" type="presParOf" srcId="{BD7E1BAE-8F8D-4898-B762-8ABA9D9AC6F0}" destId="{2BBC46BF-74DE-4B27-B261-5198A903183A}" srcOrd="5" destOrd="0" presId="urn:microsoft.com/office/officeart/2005/8/layout/list1"/>
    <dgm:cxn modelId="{5DD0EFC3-BF5C-4785-A0F4-2D47F7A9A739}" type="presParOf" srcId="{BD7E1BAE-8F8D-4898-B762-8ABA9D9AC6F0}" destId="{E09819C9-6050-4FD0-81DE-73A21057484A}" srcOrd="6" destOrd="0" presId="urn:microsoft.com/office/officeart/2005/8/layout/list1"/>
    <dgm:cxn modelId="{56DD830A-FA3A-482D-B44F-9BDF89CC6010}" type="presParOf" srcId="{BD7E1BAE-8F8D-4898-B762-8ABA9D9AC6F0}" destId="{2058503D-F9FC-42CB-A742-2A62DB4F3F7A}" srcOrd="7" destOrd="0" presId="urn:microsoft.com/office/officeart/2005/8/layout/list1"/>
    <dgm:cxn modelId="{0F38CB1F-4071-42DD-8EEA-27C45EF6D7F3}" type="presParOf" srcId="{BD7E1BAE-8F8D-4898-B762-8ABA9D9AC6F0}" destId="{BE122975-278E-4C2C-86FD-F543D05FDF4A}" srcOrd="8" destOrd="0" presId="urn:microsoft.com/office/officeart/2005/8/layout/list1"/>
    <dgm:cxn modelId="{94771530-4698-4E6F-8AB5-D774B8CAEA81}" type="presParOf" srcId="{BE122975-278E-4C2C-86FD-F543D05FDF4A}" destId="{FF04A871-4217-409C-87D4-FC79495DBB90}" srcOrd="0" destOrd="0" presId="urn:microsoft.com/office/officeart/2005/8/layout/list1"/>
    <dgm:cxn modelId="{851BABFA-B630-41C1-933F-104C08CC5C41}" type="presParOf" srcId="{BE122975-278E-4C2C-86FD-F543D05FDF4A}" destId="{C78E122A-E499-4946-BCEF-0C4B8504D75B}" srcOrd="1" destOrd="0" presId="urn:microsoft.com/office/officeart/2005/8/layout/list1"/>
    <dgm:cxn modelId="{1FDCCF62-7E3B-4883-A0C5-38CEECD8D876}" type="presParOf" srcId="{BD7E1BAE-8F8D-4898-B762-8ABA9D9AC6F0}" destId="{81360F8D-37F8-4420-9251-A5FA9FD332DC}" srcOrd="9" destOrd="0" presId="urn:microsoft.com/office/officeart/2005/8/layout/list1"/>
    <dgm:cxn modelId="{9182B51E-B8F1-4CFE-9272-80E0B5269671}" type="presParOf" srcId="{BD7E1BAE-8F8D-4898-B762-8ABA9D9AC6F0}" destId="{BB207B3A-6063-4E55-9822-167B464B353E}"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286A458-4ACB-43BB-8FA0-E5CE841E10B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D9DBD3D-4E2C-45B0-9E40-29138E5786A9}">
      <dgm:prSet/>
      <dgm:spPr/>
      <dgm:t>
        <a:bodyPr/>
        <a:lstStyle/>
        <a:p>
          <a:r>
            <a:rPr lang="en-US" baseline="0"/>
            <a:t>By default, Azure SQL Database backups are stored in </a:t>
          </a:r>
          <a:r>
            <a:rPr lang="en-US" b="1" baseline="0"/>
            <a:t>geo-replicated blob storage </a:t>
          </a:r>
          <a:r>
            <a:rPr lang="en-US" baseline="0"/>
            <a:t>(RA-GRS storage type).</a:t>
          </a:r>
          <a:endParaRPr lang="en-US"/>
        </a:p>
      </dgm:t>
    </dgm:pt>
    <dgm:pt modelId="{5F1819C6-8B90-4B9F-8E52-3BE871293815}" type="parTrans" cxnId="{03F8460E-FCB9-4550-A8F5-1384BD1DE149}">
      <dgm:prSet/>
      <dgm:spPr/>
      <dgm:t>
        <a:bodyPr/>
        <a:lstStyle/>
        <a:p>
          <a:endParaRPr lang="en-US"/>
        </a:p>
      </dgm:t>
    </dgm:pt>
    <dgm:pt modelId="{43651014-6E8F-4798-9171-52468E37DFA5}" type="sibTrans" cxnId="{03F8460E-FCB9-4550-A8F5-1384BD1DE149}">
      <dgm:prSet/>
      <dgm:spPr/>
      <dgm:t>
        <a:bodyPr/>
        <a:lstStyle/>
        <a:p>
          <a:endParaRPr lang="en-US"/>
        </a:p>
      </dgm:t>
    </dgm:pt>
    <dgm:pt modelId="{117C609A-9240-4D59-9138-7A021D381176}">
      <dgm:prSet/>
      <dgm:spPr/>
      <dgm:t>
        <a:bodyPr/>
        <a:lstStyle/>
        <a:p>
          <a:r>
            <a:rPr lang="en-US" baseline="0" dirty="0"/>
            <a:t>The following options are available for database recovery by using automated database backups. You can:</a:t>
          </a:r>
          <a:endParaRPr lang="en-US" dirty="0"/>
        </a:p>
      </dgm:t>
    </dgm:pt>
    <dgm:pt modelId="{96FB6BAC-AF22-44B2-9193-EA855952C34F}" type="parTrans" cxnId="{256D0328-3D0C-4A84-AB8C-EE3873A04467}">
      <dgm:prSet/>
      <dgm:spPr/>
      <dgm:t>
        <a:bodyPr/>
        <a:lstStyle/>
        <a:p>
          <a:endParaRPr lang="en-US"/>
        </a:p>
      </dgm:t>
    </dgm:pt>
    <dgm:pt modelId="{FD8F9899-D446-46F9-A485-BE41E14FE454}" type="sibTrans" cxnId="{256D0328-3D0C-4A84-AB8C-EE3873A04467}">
      <dgm:prSet/>
      <dgm:spPr/>
      <dgm:t>
        <a:bodyPr/>
        <a:lstStyle/>
        <a:p>
          <a:endParaRPr lang="en-US"/>
        </a:p>
      </dgm:t>
    </dgm:pt>
    <dgm:pt modelId="{6905A8A3-E3DC-4CC5-A454-AFCD70506D6E}">
      <dgm:prSet/>
      <dgm:spPr/>
      <dgm:t>
        <a:bodyPr/>
        <a:lstStyle/>
        <a:p>
          <a:r>
            <a:rPr lang="en-US" baseline="0"/>
            <a:t>Create a </a:t>
          </a:r>
          <a:r>
            <a:rPr lang="en-US" b="1" baseline="0"/>
            <a:t>new database </a:t>
          </a:r>
          <a:r>
            <a:rPr lang="en-US" baseline="0"/>
            <a:t>on the </a:t>
          </a:r>
          <a:r>
            <a:rPr lang="en-US" b="1" baseline="0"/>
            <a:t>same SQL Database server</a:t>
          </a:r>
          <a:r>
            <a:rPr lang="en-US" baseline="0"/>
            <a:t>, recovered to a specified point in time within the retention period.</a:t>
          </a:r>
          <a:endParaRPr lang="en-US"/>
        </a:p>
      </dgm:t>
    </dgm:pt>
    <dgm:pt modelId="{269F5290-94F0-4F52-B5C2-1C2014C5FF39}" type="parTrans" cxnId="{3789BA35-6FE2-4BC2-AF8D-D3DCB6A1DE0A}">
      <dgm:prSet/>
      <dgm:spPr/>
      <dgm:t>
        <a:bodyPr/>
        <a:lstStyle/>
        <a:p>
          <a:endParaRPr lang="en-US"/>
        </a:p>
      </dgm:t>
    </dgm:pt>
    <dgm:pt modelId="{EBDCED8F-48F7-4BC8-B509-626280420C90}" type="sibTrans" cxnId="{3789BA35-6FE2-4BC2-AF8D-D3DCB6A1DE0A}">
      <dgm:prSet/>
      <dgm:spPr/>
      <dgm:t>
        <a:bodyPr/>
        <a:lstStyle/>
        <a:p>
          <a:endParaRPr lang="en-US"/>
        </a:p>
      </dgm:t>
    </dgm:pt>
    <dgm:pt modelId="{09169F42-819B-4882-959D-62597B19A589}">
      <dgm:prSet/>
      <dgm:spPr/>
      <dgm:t>
        <a:bodyPr/>
        <a:lstStyle/>
        <a:p>
          <a:r>
            <a:rPr lang="en-US" baseline="0"/>
            <a:t>Create a </a:t>
          </a:r>
          <a:r>
            <a:rPr lang="en-US" b="1" baseline="0"/>
            <a:t>database</a:t>
          </a:r>
          <a:r>
            <a:rPr lang="en-US" baseline="0"/>
            <a:t> on the </a:t>
          </a:r>
          <a:r>
            <a:rPr lang="en-US" b="1" baseline="0"/>
            <a:t>same SQL Database server</a:t>
          </a:r>
          <a:r>
            <a:rPr lang="en-US" baseline="0"/>
            <a:t>, recovered to the deletion time for a deleted database.</a:t>
          </a:r>
          <a:endParaRPr lang="en-US"/>
        </a:p>
      </dgm:t>
    </dgm:pt>
    <dgm:pt modelId="{FDB95A69-C276-474F-BBEF-986A5CFD1781}" type="parTrans" cxnId="{D963A8DE-20D2-44D3-AC50-9EB25151E501}">
      <dgm:prSet/>
      <dgm:spPr/>
      <dgm:t>
        <a:bodyPr/>
        <a:lstStyle/>
        <a:p>
          <a:endParaRPr lang="en-US"/>
        </a:p>
      </dgm:t>
    </dgm:pt>
    <dgm:pt modelId="{7FC5CD48-8072-4412-B544-8D46F5526BDB}" type="sibTrans" cxnId="{D963A8DE-20D2-44D3-AC50-9EB25151E501}">
      <dgm:prSet/>
      <dgm:spPr/>
      <dgm:t>
        <a:bodyPr/>
        <a:lstStyle/>
        <a:p>
          <a:endParaRPr lang="en-US"/>
        </a:p>
      </dgm:t>
    </dgm:pt>
    <dgm:pt modelId="{5FBA363D-7E75-4997-B750-0A615758D5C3}">
      <dgm:prSet/>
      <dgm:spPr/>
      <dgm:t>
        <a:bodyPr/>
        <a:lstStyle/>
        <a:p>
          <a:r>
            <a:rPr lang="en-US" baseline="0"/>
            <a:t>Create a </a:t>
          </a:r>
          <a:r>
            <a:rPr lang="en-US" b="1" baseline="0"/>
            <a:t>new database </a:t>
          </a:r>
          <a:r>
            <a:rPr lang="en-US" baseline="0"/>
            <a:t>on any SQL Database server </a:t>
          </a:r>
          <a:r>
            <a:rPr lang="en-US" b="1" baseline="0"/>
            <a:t>in the same region</a:t>
          </a:r>
          <a:r>
            <a:rPr lang="en-US" baseline="0"/>
            <a:t>, recovered to the point of the most recent backups.</a:t>
          </a:r>
          <a:endParaRPr lang="en-US"/>
        </a:p>
      </dgm:t>
    </dgm:pt>
    <dgm:pt modelId="{0AB8A5D8-A723-4156-A265-5A129E97D802}" type="parTrans" cxnId="{03944DC9-C802-4CC2-AF84-C1CE560138DA}">
      <dgm:prSet/>
      <dgm:spPr/>
      <dgm:t>
        <a:bodyPr/>
        <a:lstStyle/>
        <a:p>
          <a:endParaRPr lang="en-US"/>
        </a:p>
      </dgm:t>
    </dgm:pt>
    <dgm:pt modelId="{93182AAC-6B48-45F5-AF9C-25689568E610}" type="sibTrans" cxnId="{03944DC9-C802-4CC2-AF84-C1CE560138DA}">
      <dgm:prSet/>
      <dgm:spPr/>
      <dgm:t>
        <a:bodyPr/>
        <a:lstStyle/>
        <a:p>
          <a:endParaRPr lang="en-US"/>
        </a:p>
      </dgm:t>
    </dgm:pt>
    <dgm:pt modelId="{424AAA30-FC9C-4F64-B5E8-A94AD7E0B7E5}">
      <dgm:prSet/>
      <dgm:spPr/>
      <dgm:t>
        <a:bodyPr/>
        <a:lstStyle/>
        <a:p>
          <a:r>
            <a:rPr lang="en-US" baseline="0"/>
            <a:t>Create a </a:t>
          </a:r>
          <a:r>
            <a:rPr lang="en-US" b="1" baseline="0"/>
            <a:t>new database </a:t>
          </a:r>
          <a:r>
            <a:rPr lang="en-US" baseline="0"/>
            <a:t>on any SQL Database server </a:t>
          </a:r>
          <a:r>
            <a:rPr lang="en-US" b="1" baseline="0"/>
            <a:t>in any other region</a:t>
          </a:r>
          <a:r>
            <a:rPr lang="en-US" baseline="0"/>
            <a:t>, recovered to the point of the most recent replicated backups.</a:t>
          </a:r>
          <a:endParaRPr lang="en-US"/>
        </a:p>
      </dgm:t>
    </dgm:pt>
    <dgm:pt modelId="{1EA11E23-1757-4D2C-9F33-E48562E90207}" type="parTrans" cxnId="{64CE589E-8F16-4D06-AFE4-241361491874}">
      <dgm:prSet/>
      <dgm:spPr/>
      <dgm:t>
        <a:bodyPr/>
        <a:lstStyle/>
        <a:p>
          <a:endParaRPr lang="en-US"/>
        </a:p>
      </dgm:t>
    </dgm:pt>
    <dgm:pt modelId="{FFE1A743-4420-468B-A2FD-971443FD0655}" type="sibTrans" cxnId="{64CE589E-8F16-4D06-AFE4-241361491874}">
      <dgm:prSet/>
      <dgm:spPr/>
      <dgm:t>
        <a:bodyPr/>
        <a:lstStyle/>
        <a:p>
          <a:endParaRPr lang="en-US"/>
        </a:p>
      </dgm:t>
    </dgm:pt>
    <dgm:pt modelId="{F350EA5A-8F9A-47E1-87C7-655292041C75}">
      <dgm:prSet/>
      <dgm:spPr/>
      <dgm:t>
        <a:bodyPr/>
        <a:lstStyle/>
        <a:p>
          <a:r>
            <a:rPr lang="en-US" baseline="0"/>
            <a:t>If you configured backup long-term retention, you could also create a new database from any long-term retention backup on any SQL Database server.</a:t>
          </a:r>
          <a:endParaRPr lang="en-US"/>
        </a:p>
      </dgm:t>
    </dgm:pt>
    <dgm:pt modelId="{602DAC10-3517-4CE7-88FA-32BD0F3BF17F}" type="parTrans" cxnId="{925B4A33-448E-4A7E-800D-9CEDAB2C9E02}">
      <dgm:prSet/>
      <dgm:spPr/>
      <dgm:t>
        <a:bodyPr/>
        <a:lstStyle/>
        <a:p>
          <a:endParaRPr lang="en-US"/>
        </a:p>
      </dgm:t>
    </dgm:pt>
    <dgm:pt modelId="{7C5F2623-5275-4198-8177-5042574B374F}" type="sibTrans" cxnId="{925B4A33-448E-4A7E-800D-9CEDAB2C9E02}">
      <dgm:prSet/>
      <dgm:spPr/>
      <dgm:t>
        <a:bodyPr/>
        <a:lstStyle/>
        <a:p>
          <a:endParaRPr lang="en-US"/>
        </a:p>
      </dgm:t>
    </dgm:pt>
    <dgm:pt modelId="{6E281B41-0F82-40EA-9AF0-262DCE6F658C}" type="pres">
      <dgm:prSet presAssocID="{E286A458-4ACB-43BB-8FA0-E5CE841E10BD}" presName="linear" presStyleCnt="0">
        <dgm:presLayoutVars>
          <dgm:animLvl val="lvl"/>
          <dgm:resizeHandles val="exact"/>
        </dgm:presLayoutVars>
      </dgm:prSet>
      <dgm:spPr/>
    </dgm:pt>
    <dgm:pt modelId="{362D63A3-D5B4-43DD-9988-3A022CF81764}" type="pres">
      <dgm:prSet presAssocID="{4D9DBD3D-4E2C-45B0-9E40-29138E5786A9}" presName="parentText" presStyleLbl="node1" presStyleIdx="0" presStyleCnt="3">
        <dgm:presLayoutVars>
          <dgm:chMax val="0"/>
          <dgm:bulletEnabled val="1"/>
        </dgm:presLayoutVars>
      </dgm:prSet>
      <dgm:spPr/>
    </dgm:pt>
    <dgm:pt modelId="{4061EE00-160F-46D7-97A4-747FAC66A968}" type="pres">
      <dgm:prSet presAssocID="{43651014-6E8F-4798-9171-52468E37DFA5}" presName="spacer" presStyleCnt="0"/>
      <dgm:spPr/>
    </dgm:pt>
    <dgm:pt modelId="{3C95E4D3-8F1E-4F06-96FD-AC5266A94F80}" type="pres">
      <dgm:prSet presAssocID="{117C609A-9240-4D59-9138-7A021D381176}" presName="parentText" presStyleLbl="node1" presStyleIdx="1" presStyleCnt="3">
        <dgm:presLayoutVars>
          <dgm:chMax val="0"/>
          <dgm:bulletEnabled val="1"/>
        </dgm:presLayoutVars>
      </dgm:prSet>
      <dgm:spPr/>
    </dgm:pt>
    <dgm:pt modelId="{9D2253F8-1761-4A09-A7C7-C7328F7EF53C}" type="pres">
      <dgm:prSet presAssocID="{117C609A-9240-4D59-9138-7A021D381176}" presName="childText" presStyleLbl="revTx" presStyleIdx="0" presStyleCnt="1">
        <dgm:presLayoutVars>
          <dgm:bulletEnabled val="1"/>
        </dgm:presLayoutVars>
      </dgm:prSet>
      <dgm:spPr/>
    </dgm:pt>
    <dgm:pt modelId="{B3251ED3-7EEB-4F45-84D6-B870EF7825B6}" type="pres">
      <dgm:prSet presAssocID="{F350EA5A-8F9A-47E1-87C7-655292041C75}" presName="parentText" presStyleLbl="node1" presStyleIdx="2" presStyleCnt="3">
        <dgm:presLayoutVars>
          <dgm:chMax val="0"/>
          <dgm:bulletEnabled val="1"/>
        </dgm:presLayoutVars>
      </dgm:prSet>
      <dgm:spPr/>
    </dgm:pt>
  </dgm:ptLst>
  <dgm:cxnLst>
    <dgm:cxn modelId="{03F8460E-FCB9-4550-A8F5-1384BD1DE149}" srcId="{E286A458-4ACB-43BB-8FA0-E5CE841E10BD}" destId="{4D9DBD3D-4E2C-45B0-9E40-29138E5786A9}" srcOrd="0" destOrd="0" parTransId="{5F1819C6-8B90-4B9F-8E52-3BE871293815}" sibTransId="{43651014-6E8F-4798-9171-52468E37DFA5}"/>
    <dgm:cxn modelId="{256D0328-3D0C-4A84-AB8C-EE3873A04467}" srcId="{E286A458-4ACB-43BB-8FA0-E5CE841E10BD}" destId="{117C609A-9240-4D59-9138-7A021D381176}" srcOrd="1" destOrd="0" parTransId="{96FB6BAC-AF22-44B2-9193-EA855952C34F}" sibTransId="{FD8F9899-D446-46F9-A485-BE41E14FE454}"/>
    <dgm:cxn modelId="{925B4A33-448E-4A7E-800D-9CEDAB2C9E02}" srcId="{E286A458-4ACB-43BB-8FA0-E5CE841E10BD}" destId="{F350EA5A-8F9A-47E1-87C7-655292041C75}" srcOrd="2" destOrd="0" parTransId="{602DAC10-3517-4CE7-88FA-32BD0F3BF17F}" sibTransId="{7C5F2623-5275-4198-8177-5042574B374F}"/>
    <dgm:cxn modelId="{3789BA35-6FE2-4BC2-AF8D-D3DCB6A1DE0A}" srcId="{117C609A-9240-4D59-9138-7A021D381176}" destId="{6905A8A3-E3DC-4CC5-A454-AFCD70506D6E}" srcOrd="0" destOrd="0" parTransId="{269F5290-94F0-4F52-B5C2-1C2014C5FF39}" sibTransId="{EBDCED8F-48F7-4BC8-B509-626280420C90}"/>
    <dgm:cxn modelId="{335B4562-69C3-49AD-B8D5-0C5C0A27F802}" type="presOf" srcId="{5FBA363D-7E75-4997-B750-0A615758D5C3}" destId="{9D2253F8-1761-4A09-A7C7-C7328F7EF53C}" srcOrd="0" destOrd="2" presId="urn:microsoft.com/office/officeart/2005/8/layout/vList2"/>
    <dgm:cxn modelId="{822A1F7A-40F5-4AC7-B027-9B375508BC47}" type="presOf" srcId="{E286A458-4ACB-43BB-8FA0-E5CE841E10BD}" destId="{6E281B41-0F82-40EA-9AF0-262DCE6F658C}" srcOrd="0" destOrd="0" presId="urn:microsoft.com/office/officeart/2005/8/layout/vList2"/>
    <dgm:cxn modelId="{B2F0968B-E876-4E0D-9C75-15A5F036031E}" type="presOf" srcId="{F350EA5A-8F9A-47E1-87C7-655292041C75}" destId="{B3251ED3-7EEB-4F45-84D6-B870EF7825B6}" srcOrd="0" destOrd="0" presId="urn:microsoft.com/office/officeart/2005/8/layout/vList2"/>
    <dgm:cxn modelId="{4F2E6691-6C94-4435-A5EA-43CE6178B9EE}" type="presOf" srcId="{117C609A-9240-4D59-9138-7A021D381176}" destId="{3C95E4D3-8F1E-4F06-96FD-AC5266A94F80}" srcOrd="0" destOrd="0" presId="urn:microsoft.com/office/officeart/2005/8/layout/vList2"/>
    <dgm:cxn modelId="{64CE589E-8F16-4D06-AFE4-241361491874}" srcId="{117C609A-9240-4D59-9138-7A021D381176}" destId="{424AAA30-FC9C-4F64-B5E8-A94AD7E0B7E5}" srcOrd="3" destOrd="0" parTransId="{1EA11E23-1757-4D2C-9F33-E48562E90207}" sibTransId="{FFE1A743-4420-468B-A2FD-971443FD0655}"/>
    <dgm:cxn modelId="{72F290A2-7A7E-42F4-B39C-15A3A5309F48}" type="presOf" srcId="{6905A8A3-E3DC-4CC5-A454-AFCD70506D6E}" destId="{9D2253F8-1761-4A09-A7C7-C7328F7EF53C}" srcOrd="0" destOrd="0" presId="urn:microsoft.com/office/officeart/2005/8/layout/vList2"/>
    <dgm:cxn modelId="{5F7BC3AC-C8F4-4BDD-9F09-D1819849CB98}" type="presOf" srcId="{4D9DBD3D-4E2C-45B0-9E40-29138E5786A9}" destId="{362D63A3-D5B4-43DD-9988-3A022CF81764}" srcOrd="0" destOrd="0" presId="urn:microsoft.com/office/officeart/2005/8/layout/vList2"/>
    <dgm:cxn modelId="{34D806C3-32CD-45E7-9148-3F7009390620}" type="presOf" srcId="{424AAA30-FC9C-4F64-B5E8-A94AD7E0B7E5}" destId="{9D2253F8-1761-4A09-A7C7-C7328F7EF53C}" srcOrd="0" destOrd="3" presId="urn:microsoft.com/office/officeart/2005/8/layout/vList2"/>
    <dgm:cxn modelId="{03944DC9-C802-4CC2-AF84-C1CE560138DA}" srcId="{117C609A-9240-4D59-9138-7A021D381176}" destId="{5FBA363D-7E75-4997-B750-0A615758D5C3}" srcOrd="2" destOrd="0" parTransId="{0AB8A5D8-A723-4156-A265-5A129E97D802}" sibTransId="{93182AAC-6B48-45F5-AF9C-25689568E610}"/>
    <dgm:cxn modelId="{A56460D5-6A15-48FE-AF00-78E6BCBDB896}" type="presOf" srcId="{09169F42-819B-4882-959D-62597B19A589}" destId="{9D2253F8-1761-4A09-A7C7-C7328F7EF53C}" srcOrd="0" destOrd="1" presId="urn:microsoft.com/office/officeart/2005/8/layout/vList2"/>
    <dgm:cxn modelId="{D963A8DE-20D2-44D3-AC50-9EB25151E501}" srcId="{117C609A-9240-4D59-9138-7A021D381176}" destId="{09169F42-819B-4882-959D-62597B19A589}" srcOrd="1" destOrd="0" parTransId="{FDB95A69-C276-474F-BBEF-986A5CFD1781}" sibTransId="{7FC5CD48-8072-4412-B544-8D46F5526BDB}"/>
    <dgm:cxn modelId="{CE68CF59-2D00-45BA-BA43-8DE55599C6B6}" type="presParOf" srcId="{6E281B41-0F82-40EA-9AF0-262DCE6F658C}" destId="{362D63A3-D5B4-43DD-9988-3A022CF81764}" srcOrd="0" destOrd="0" presId="urn:microsoft.com/office/officeart/2005/8/layout/vList2"/>
    <dgm:cxn modelId="{F7A71299-FE10-48BE-9F5C-739ECA5C13AC}" type="presParOf" srcId="{6E281B41-0F82-40EA-9AF0-262DCE6F658C}" destId="{4061EE00-160F-46D7-97A4-747FAC66A968}" srcOrd="1" destOrd="0" presId="urn:microsoft.com/office/officeart/2005/8/layout/vList2"/>
    <dgm:cxn modelId="{72177229-6BC5-4377-B6ED-3B3B0151AC0A}" type="presParOf" srcId="{6E281B41-0F82-40EA-9AF0-262DCE6F658C}" destId="{3C95E4D3-8F1E-4F06-96FD-AC5266A94F80}" srcOrd="2" destOrd="0" presId="urn:microsoft.com/office/officeart/2005/8/layout/vList2"/>
    <dgm:cxn modelId="{C3557CF6-8205-48C9-8C15-815150DDDC73}" type="presParOf" srcId="{6E281B41-0F82-40EA-9AF0-262DCE6F658C}" destId="{9D2253F8-1761-4A09-A7C7-C7328F7EF53C}" srcOrd="3" destOrd="0" presId="urn:microsoft.com/office/officeart/2005/8/layout/vList2"/>
    <dgm:cxn modelId="{AE3C323B-4D86-434E-A004-A792A6BB3BF2}" type="presParOf" srcId="{6E281B41-0F82-40EA-9AF0-262DCE6F658C}" destId="{B3251ED3-7EEB-4F45-84D6-B870EF7825B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DF13E98-97D4-4766-B807-F3474CC186D0}" type="doc">
      <dgm:prSet loTypeId="urn:microsoft.com/office/officeart/2005/8/layout/venn1" loCatId="relationship" qsTypeId="urn:microsoft.com/office/officeart/2005/8/quickstyle/simple1" qsCatId="simple" csTypeId="urn:microsoft.com/office/officeart/2005/8/colors/accent1_2" csCatId="accent1"/>
      <dgm:spPr/>
      <dgm:t>
        <a:bodyPr/>
        <a:lstStyle/>
        <a:p>
          <a:endParaRPr lang="en-US"/>
        </a:p>
      </dgm:t>
    </dgm:pt>
    <dgm:pt modelId="{78FB5762-843B-4F8D-83BF-686416A6D361}">
      <dgm:prSet/>
      <dgm:spPr/>
      <dgm:t>
        <a:bodyPr/>
        <a:lstStyle/>
        <a:p>
          <a:r>
            <a:rPr lang="en-US" baseline="0"/>
            <a:t>Size of the database.</a:t>
          </a:r>
          <a:endParaRPr lang="en-US"/>
        </a:p>
      </dgm:t>
    </dgm:pt>
    <dgm:pt modelId="{888319FB-AF09-457E-B011-8D67F4EB07F1}" type="parTrans" cxnId="{278D84F3-36B9-420A-9D08-705127D75C4A}">
      <dgm:prSet/>
      <dgm:spPr/>
      <dgm:t>
        <a:bodyPr/>
        <a:lstStyle/>
        <a:p>
          <a:endParaRPr lang="en-US"/>
        </a:p>
      </dgm:t>
    </dgm:pt>
    <dgm:pt modelId="{77115676-7FF0-4017-A438-ED40C93A6AC9}" type="sibTrans" cxnId="{278D84F3-36B9-420A-9D08-705127D75C4A}">
      <dgm:prSet/>
      <dgm:spPr/>
      <dgm:t>
        <a:bodyPr/>
        <a:lstStyle/>
        <a:p>
          <a:endParaRPr lang="en-US"/>
        </a:p>
      </dgm:t>
    </dgm:pt>
    <dgm:pt modelId="{5DCB749A-61D0-4B87-B9C1-11BC3CC9D954}">
      <dgm:prSet/>
      <dgm:spPr/>
      <dgm:t>
        <a:bodyPr/>
        <a:lstStyle/>
        <a:p>
          <a:r>
            <a:rPr lang="en-US" baseline="0"/>
            <a:t>Performance level of the database.</a:t>
          </a:r>
          <a:endParaRPr lang="en-US"/>
        </a:p>
      </dgm:t>
    </dgm:pt>
    <dgm:pt modelId="{BB07FB86-A806-474E-B36C-188ADCC8C3E5}" type="parTrans" cxnId="{0D50EE9A-6AD7-4324-A6B9-A2989DE19920}">
      <dgm:prSet/>
      <dgm:spPr/>
      <dgm:t>
        <a:bodyPr/>
        <a:lstStyle/>
        <a:p>
          <a:endParaRPr lang="en-US"/>
        </a:p>
      </dgm:t>
    </dgm:pt>
    <dgm:pt modelId="{EE55D127-856A-4713-958B-D5D894707463}" type="sibTrans" cxnId="{0D50EE9A-6AD7-4324-A6B9-A2989DE19920}">
      <dgm:prSet/>
      <dgm:spPr/>
      <dgm:t>
        <a:bodyPr/>
        <a:lstStyle/>
        <a:p>
          <a:endParaRPr lang="en-US"/>
        </a:p>
      </dgm:t>
    </dgm:pt>
    <dgm:pt modelId="{0938A407-79C7-4D48-8935-8F5B2C99FDDF}">
      <dgm:prSet/>
      <dgm:spPr/>
      <dgm:t>
        <a:bodyPr/>
        <a:lstStyle/>
        <a:p>
          <a:r>
            <a:rPr lang="en-US" baseline="0"/>
            <a:t>The number of transaction logs involved.</a:t>
          </a:r>
          <a:endParaRPr lang="en-US"/>
        </a:p>
      </dgm:t>
    </dgm:pt>
    <dgm:pt modelId="{DCB6017B-5BA4-4458-BAAE-F89394ADEE7E}" type="parTrans" cxnId="{B9467ADB-1418-4D15-AB2C-7EC2D8E478DE}">
      <dgm:prSet/>
      <dgm:spPr/>
      <dgm:t>
        <a:bodyPr/>
        <a:lstStyle/>
        <a:p>
          <a:endParaRPr lang="en-US"/>
        </a:p>
      </dgm:t>
    </dgm:pt>
    <dgm:pt modelId="{E41AF8B3-319F-457E-975A-229FBBC2C313}" type="sibTrans" cxnId="{B9467ADB-1418-4D15-AB2C-7EC2D8E478DE}">
      <dgm:prSet/>
      <dgm:spPr/>
      <dgm:t>
        <a:bodyPr/>
        <a:lstStyle/>
        <a:p>
          <a:endParaRPr lang="en-US"/>
        </a:p>
      </dgm:t>
    </dgm:pt>
    <dgm:pt modelId="{436EE85A-0CB2-481F-96B7-5E7CC9EC8ABF}">
      <dgm:prSet/>
      <dgm:spPr/>
      <dgm:t>
        <a:bodyPr/>
        <a:lstStyle/>
        <a:p>
          <a:r>
            <a:rPr lang="en-US" baseline="0"/>
            <a:t>The network bandwidth if the restore is to a different region.</a:t>
          </a:r>
          <a:endParaRPr lang="en-US"/>
        </a:p>
      </dgm:t>
    </dgm:pt>
    <dgm:pt modelId="{610D7CEF-30E1-484F-9B95-ACA421C89769}" type="parTrans" cxnId="{910482C1-C885-4A6C-973E-E267E1845C8C}">
      <dgm:prSet/>
      <dgm:spPr/>
      <dgm:t>
        <a:bodyPr/>
        <a:lstStyle/>
        <a:p>
          <a:endParaRPr lang="en-US"/>
        </a:p>
      </dgm:t>
    </dgm:pt>
    <dgm:pt modelId="{1CF31D66-970D-4231-895E-37D357A3A189}" type="sibTrans" cxnId="{910482C1-C885-4A6C-973E-E267E1845C8C}">
      <dgm:prSet/>
      <dgm:spPr/>
      <dgm:t>
        <a:bodyPr/>
        <a:lstStyle/>
        <a:p>
          <a:endParaRPr lang="en-US"/>
        </a:p>
      </dgm:t>
    </dgm:pt>
    <dgm:pt modelId="{006257BA-9373-4EFF-8384-53C10186BA4B}">
      <dgm:prSet/>
      <dgm:spPr/>
      <dgm:t>
        <a:bodyPr/>
        <a:lstStyle/>
        <a:p>
          <a:r>
            <a:rPr lang="en-US" baseline="0"/>
            <a:t>Number of concurrent restore requests.</a:t>
          </a:r>
          <a:endParaRPr lang="en-US"/>
        </a:p>
      </dgm:t>
    </dgm:pt>
    <dgm:pt modelId="{2878C4EC-393A-4AA5-8C69-6510C7CDCB07}" type="parTrans" cxnId="{6DED429C-8A19-47C9-AC38-CC46E32F810C}">
      <dgm:prSet/>
      <dgm:spPr/>
      <dgm:t>
        <a:bodyPr/>
        <a:lstStyle/>
        <a:p>
          <a:endParaRPr lang="en-US"/>
        </a:p>
      </dgm:t>
    </dgm:pt>
    <dgm:pt modelId="{D16AE2D2-A408-4437-A1C6-054243F86B7E}" type="sibTrans" cxnId="{6DED429C-8A19-47C9-AC38-CC46E32F810C}">
      <dgm:prSet/>
      <dgm:spPr/>
      <dgm:t>
        <a:bodyPr/>
        <a:lstStyle/>
        <a:p>
          <a:endParaRPr lang="en-US"/>
        </a:p>
      </dgm:t>
    </dgm:pt>
    <dgm:pt modelId="{4AFED1C6-D557-40D5-A039-6274EAB07386}" type="pres">
      <dgm:prSet presAssocID="{CDF13E98-97D4-4766-B807-F3474CC186D0}" presName="compositeShape" presStyleCnt="0">
        <dgm:presLayoutVars>
          <dgm:chMax val="7"/>
          <dgm:dir/>
          <dgm:resizeHandles val="exact"/>
        </dgm:presLayoutVars>
      </dgm:prSet>
      <dgm:spPr/>
    </dgm:pt>
    <dgm:pt modelId="{E828351A-40D0-4941-80AF-53850D41DF4C}" type="pres">
      <dgm:prSet presAssocID="{78FB5762-843B-4F8D-83BF-686416A6D361}" presName="circ1" presStyleLbl="vennNode1" presStyleIdx="0" presStyleCnt="5"/>
      <dgm:spPr/>
    </dgm:pt>
    <dgm:pt modelId="{810E39F1-24D5-47C3-B694-7C4DF2837B36}" type="pres">
      <dgm:prSet presAssocID="{78FB5762-843B-4F8D-83BF-686416A6D361}" presName="circ1Tx" presStyleLbl="revTx" presStyleIdx="0" presStyleCnt="0">
        <dgm:presLayoutVars>
          <dgm:chMax val="0"/>
          <dgm:chPref val="0"/>
          <dgm:bulletEnabled val="1"/>
        </dgm:presLayoutVars>
      </dgm:prSet>
      <dgm:spPr/>
    </dgm:pt>
    <dgm:pt modelId="{24047426-0FEE-46E7-8808-646381DB1155}" type="pres">
      <dgm:prSet presAssocID="{5DCB749A-61D0-4B87-B9C1-11BC3CC9D954}" presName="circ2" presStyleLbl="vennNode1" presStyleIdx="1" presStyleCnt="5"/>
      <dgm:spPr/>
    </dgm:pt>
    <dgm:pt modelId="{4DB2E4A9-1C2C-4EF9-9E04-A6DDEF75E111}" type="pres">
      <dgm:prSet presAssocID="{5DCB749A-61D0-4B87-B9C1-11BC3CC9D954}" presName="circ2Tx" presStyleLbl="revTx" presStyleIdx="0" presStyleCnt="0">
        <dgm:presLayoutVars>
          <dgm:chMax val="0"/>
          <dgm:chPref val="0"/>
          <dgm:bulletEnabled val="1"/>
        </dgm:presLayoutVars>
      </dgm:prSet>
      <dgm:spPr/>
    </dgm:pt>
    <dgm:pt modelId="{EB7376F2-1BEF-45A2-B9F5-10A4E87C4AD7}" type="pres">
      <dgm:prSet presAssocID="{0938A407-79C7-4D48-8935-8F5B2C99FDDF}" presName="circ3" presStyleLbl="vennNode1" presStyleIdx="2" presStyleCnt="5"/>
      <dgm:spPr/>
    </dgm:pt>
    <dgm:pt modelId="{128817C3-E6B0-4D8F-9379-AFCE032C0388}" type="pres">
      <dgm:prSet presAssocID="{0938A407-79C7-4D48-8935-8F5B2C99FDDF}" presName="circ3Tx" presStyleLbl="revTx" presStyleIdx="0" presStyleCnt="0">
        <dgm:presLayoutVars>
          <dgm:chMax val="0"/>
          <dgm:chPref val="0"/>
          <dgm:bulletEnabled val="1"/>
        </dgm:presLayoutVars>
      </dgm:prSet>
      <dgm:spPr/>
    </dgm:pt>
    <dgm:pt modelId="{35B925A0-1C74-45D6-809C-A54E4E97ACB8}" type="pres">
      <dgm:prSet presAssocID="{436EE85A-0CB2-481F-96B7-5E7CC9EC8ABF}" presName="circ4" presStyleLbl="vennNode1" presStyleIdx="3" presStyleCnt="5"/>
      <dgm:spPr/>
    </dgm:pt>
    <dgm:pt modelId="{3AEA8EC1-8830-4245-A706-48CF8FF66275}" type="pres">
      <dgm:prSet presAssocID="{436EE85A-0CB2-481F-96B7-5E7CC9EC8ABF}" presName="circ4Tx" presStyleLbl="revTx" presStyleIdx="0" presStyleCnt="0">
        <dgm:presLayoutVars>
          <dgm:chMax val="0"/>
          <dgm:chPref val="0"/>
          <dgm:bulletEnabled val="1"/>
        </dgm:presLayoutVars>
      </dgm:prSet>
      <dgm:spPr/>
    </dgm:pt>
    <dgm:pt modelId="{F37FA6F2-A921-4AF1-B716-BF4E4805A8A0}" type="pres">
      <dgm:prSet presAssocID="{006257BA-9373-4EFF-8384-53C10186BA4B}" presName="circ5" presStyleLbl="vennNode1" presStyleIdx="4" presStyleCnt="5"/>
      <dgm:spPr/>
    </dgm:pt>
    <dgm:pt modelId="{E0538B74-BC93-48C2-9908-A1D41D77D36F}" type="pres">
      <dgm:prSet presAssocID="{006257BA-9373-4EFF-8384-53C10186BA4B}" presName="circ5Tx" presStyleLbl="revTx" presStyleIdx="0" presStyleCnt="0">
        <dgm:presLayoutVars>
          <dgm:chMax val="0"/>
          <dgm:chPref val="0"/>
          <dgm:bulletEnabled val="1"/>
        </dgm:presLayoutVars>
      </dgm:prSet>
      <dgm:spPr/>
    </dgm:pt>
  </dgm:ptLst>
  <dgm:cxnLst>
    <dgm:cxn modelId="{92E43507-61A7-479C-B84E-176A4C35597A}" type="presOf" srcId="{CDF13E98-97D4-4766-B807-F3474CC186D0}" destId="{4AFED1C6-D557-40D5-A039-6274EAB07386}" srcOrd="0" destOrd="0" presId="urn:microsoft.com/office/officeart/2005/8/layout/venn1"/>
    <dgm:cxn modelId="{1CB6504F-EA89-4E1B-B660-1751259553DA}" type="presOf" srcId="{78FB5762-843B-4F8D-83BF-686416A6D361}" destId="{810E39F1-24D5-47C3-B694-7C4DF2837B36}" srcOrd="0" destOrd="0" presId="urn:microsoft.com/office/officeart/2005/8/layout/venn1"/>
    <dgm:cxn modelId="{A4723154-01BB-4354-A900-47795BA47D98}" type="presOf" srcId="{5DCB749A-61D0-4B87-B9C1-11BC3CC9D954}" destId="{4DB2E4A9-1C2C-4EF9-9E04-A6DDEF75E111}" srcOrd="0" destOrd="0" presId="urn:microsoft.com/office/officeart/2005/8/layout/venn1"/>
    <dgm:cxn modelId="{5ECCAA87-D2B8-48A4-A96F-31817662C6A9}" type="presOf" srcId="{006257BA-9373-4EFF-8384-53C10186BA4B}" destId="{E0538B74-BC93-48C2-9908-A1D41D77D36F}" srcOrd="0" destOrd="0" presId="urn:microsoft.com/office/officeart/2005/8/layout/venn1"/>
    <dgm:cxn modelId="{0D50EE9A-6AD7-4324-A6B9-A2989DE19920}" srcId="{CDF13E98-97D4-4766-B807-F3474CC186D0}" destId="{5DCB749A-61D0-4B87-B9C1-11BC3CC9D954}" srcOrd="1" destOrd="0" parTransId="{BB07FB86-A806-474E-B36C-188ADCC8C3E5}" sibTransId="{EE55D127-856A-4713-958B-D5D894707463}"/>
    <dgm:cxn modelId="{6DED429C-8A19-47C9-AC38-CC46E32F810C}" srcId="{CDF13E98-97D4-4766-B807-F3474CC186D0}" destId="{006257BA-9373-4EFF-8384-53C10186BA4B}" srcOrd="4" destOrd="0" parTransId="{2878C4EC-393A-4AA5-8C69-6510C7CDCB07}" sibTransId="{D16AE2D2-A408-4437-A1C6-054243F86B7E}"/>
    <dgm:cxn modelId="{C7F104A2-61C7-4D55-896F-37E227E67A6C}" type="presOf" srcId="{0938A407-79C7-4D48-8935-8F5B2C99FDDF}" destId="{128817C3-E6B0-4D8F-9379-AFCE032C0388}" srcOrd="0" destOrd="0" presId="urn:microsoft.com/office/officeart/2005/8/layout/venn1"/>
    <dgm:cxn modelId="{F3BEE5A3-E1F7-4604-B8C2-C4161B415FFB}" type="presOf" srcId="{436EE85A-0CB2-481F-96B7-5E7CC9EC8ABF}" destId="{3AEA8EC1-8830-4245-A706-48CF8FF66275}" srcOrd="0" destOrd="0" presId="urn:microsoft.com/office/officeart/2005/8/layout/venn1"/>
    <dgm:cxn modelId="{910482C1-C885-4A6C-973E-E267E1845C8C}" srcId="{CDF13E98-97D4-4766-B807-F3474CC186D0}" destId="{436EE85A-0CB2-481F-96B7-5E7CC9EC8ABF}" srcOrd="3" destOrd="0" parTransId="{610D7CEF-30E1-484F-9B95-ACA421C89769}" sibTransId="{1CF31D66-970D-4231-895E-37D357A3A189}"/>
    <dgm:cxn modelId="{B9467ADB-1418-4D15-AB2C-7EC2D8E478DE}" srcId="{CDF13E98-97D4-4766-B807-F3474CC186D0}" destId="{0938A407-79C7-4D48-8935-8F5B2C99FDDF}" srcOrd="2" destOrd="0" parTransId="{DCB6017B-5BA4-4458-BAAE-F89394ADEE7E}" sibTransId="{E41AF8B3-319F-457E-975A-229FBBC2C313}"/>
    <dgm:cxn modelId="{278D84F3-36B9-420A-9D08-705127D75C4A}" srcId="{CDF13E98-97D4-4766-B807-F3474CC186D0}" destId="{78FB5762-843B-4F8D-83BF-686416A6D361}" srcOrd="0" destOrd="0" parTransId="{888319FB-AF09-457E-B011-8D67F4EB07F1}" sibTransId="{77115676-7FF0-4017-A438-ED40C93A6AC9}"/>
    <dgm:cxn modelId="{D827F150-B27D-453A-84DB-9A331BBA31BE}" type="presParOf" srcId="{4AFED1C6-D557-40D5-A039-6274EAB07386}" destId="{E828351A-40D0-4941-80AF-53850D41DF4C}" srcOrd="0" destOrd="0" presId="urn:microsoft.com/office/officeart/2005/8/layout/venn1"/>
    <dgm:cxn modelId="{501F492B-14EB-4BD1-8416-C5743D04AC9D}" type="presParOf" srcId="{4AFED1C6-D557-40D5-A039-6274EAB07386}" destId="{810E39F1-24D5-47C3-B694-7C4DF2837B36}" srcOrd="1" destOrd="0" presId="urn:microsoft.com/office/officeart/2005/8/layout/venn1"/>
    <dgm:cxn modelId="{BE5C26C5-C189-45DB-B4EE-C5741C2B63CA}" type="presParOf" srcId="{4AFED1C6-D557-40D5-A039-6274EAB07386}" destId="{24047426-0FEE-46E7-8808-646381DB1155}" srcOrd="2" destOrd="0" presId="urn:microsoft.com/office/officeart/2005/8/layout/venn1"/>
    <dgm:cxn modelId="{BC28FE33-E0A5-434D-9F3C-D4F06483C05F}" type="presParOf" srcId="{4AFED1C6-D557-40D5-A039-6274EAB07386}" destId="{4DB2E4A9-1C2C-4EF9-9E04-A6DDEF75E111}" srcOrd="3" destOrd="0" presId="urn:microsoft.com/office/officeart/2005/8/layout/venn1"/>
    <dgm:cxn modelId="{1CE9ACFB-9F1C-4ABE-8E3C-DAB31B74D59D}" type="presParOf" srcId="{4AFED1C6-D557-40D5-A039-6274EAB07386}" destId="{EB7376F2-1BEF-45A2-B9F5-10A4E87C4AD7}" srcOrd="4" destOrd="0" presId="urn:microsoft.com/office/officeart/2005/8/layout/venn1"/>
    <dgm:cxn modelId="{6927991F-4134-4C00-ABF5-1C6987530E37}" type="presParOf" srcId="{4AFED1C6-D557-40D5-A039-6274EAB07386}" destId="{128817C3-E6B0-4D8F-9379-AFCE032C0388}" srcOrd="5" destOrd="0" presId="urn:microsoft.com/office/officeart/2005/8/layout/venn1"/>
    <dgm:cxn modelId="{DE587129-8328-4EB8-BC7E-898D8F04CCBE}" type="presParOf" srcId="{4AFED1C6-D557-40D5-A039-6274EAB07386}" destId="{35B925A0-1C74-45D6-809C-A54E4E97ACB8}" srcOrd="6" destOrd="0" presId="urn:microsoft.com/office/officeart/2005/8/layout/venn1"/>
    <dgm:cxn modelId="{5592CA6B-417E-464D-B29F-1C393FA816C3}" type="presParOf" srcId="{4AFED1C6-D557-40D5-A039-6274EAB07386}" destId="{3AEA8EC1-8830-4245-A706-48CF8FF66275}" srcOrd="7" destOrd="0" presId="urn:microsoft.com/office/officeart/2005/8/layout/venn1"/>
    <dgm:cxn modelId="{E9C9DDB0-B867-4AC0-A058-5912F8843B7B}" type="presParOf" srcId="{4AFED1C6-D557-40D5-A039-6274EAB07386}" destId="{F37FA6F2-A921-4AF1-B716-BF4E4805A8A0}" srcOrd="8" destOrd="0" presId="urn:microsoft.com/office/officeart/2005/8/layout/venn1"/>
    <dgm:cxn modelId="{A01C8911-DDD5-403F-B43E-193B8191B216}" type="presParOf" srcId="{4AFED1C6-D557-40D5-A039-6274EAB07386}" destId="{E0538B74-BC93-48C2-9908-A1D41D77D36F}" srcOrd="9"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solidFill>
                <a:srgbClr val="FFFFFF"/>
              </a:solidFill>
            </a:rPr>
            <a:t>True or false: Daily and weekly backups of Azure SQL databases are automatically uploaded to geo-redundant Azure Storage</a:t>
          </a:r>
          <a:r>
            <a:rPr lang="en-US" dirty="0">
              <a:solidFill>
                <a:srgbClr val="FFFFFF"/>
              </a:solidFill>
              <a:latin typeface="Segoe UI"/>
            </a:rPr>
            <a:t>.</a:t>
          </a:r>
          <a:endParaRPr lang="en-US"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solidFill>
                <a:srgbClr val="FFFFFF"/>
              </a:solidFill>
            </a:rPr>
            <a:t>True or false: When performing a point-in-time restore, you can choose to overwrite the source database?</a:t>
          </a:r>
          <a:endParaRPr lang="en-US" dirty="0"/>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4743FF5-59DF-487E-BBB3-5DBC57BF568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5817215-8DF5-42A1-96B5-90E9A065157C}">
      <dgm:prSet/>
      <dgm:spPr/>
      <dgm:t>
        <a:bodyPr/>
        <a:lstStyle/>
        <a:p>
          <a:r>
            <a:rPr lang="en-US" baseline="0"/>
            <a:t>Restores last daily backup to any Azure region.</a:t>
          </a:r>
          <a:endParaRPr lang="en-US"/>
        </a:p>
      </dgm:t>
    </dgm:pt>
    <dgm:pt modelId="{AD626A5E-7F0E-45DC-B7AA-C1B6EF2AC3DA}" type="parTrans" cxnId="{7EA67BF1-FC73-4593-BA62-3C7850267A3B}">
      <dgm:prSet/>
      <dgm:spPr/>
      <dgm:t>
        <a:bodyPr/>
        <a:lstStyle/>
        <a:p>
          <a:endParaRPr lang="en-US"/>
        </a:p>
      </dgm:t>
    </dgm:pt>
    <dgm:pt modelId="{E5EA7858-A526-4DED-94CE-1154AF9C5E15}" type="sibTrans" cxnId="{7EA67BF1-FC73-4593-BA62-3C7850267A3B}">
      <dgm:prSet/>
      <dgm:spPr/>
      <dgm:t>
        <a:bodyPr/>
        <a:lstStyle/>
        <a:p>
          <a:endParaRPr lang="en-US"/>
        </a:p>
      </dgm:t>
    </dgm:pt>
    <dgm:pt modelId="{0A5D674F-DD97-4543-828A-F887B8ED0B97}">
      <dgm:prSet/>
      <dgm:spPr/>
      <dgm:t>
        <a:bodyPr/>
        <a:lstStyle/>
        <a:p>
          <a:r>
            <a:rPr lang="en-US" baseline="0"/>
            <a:t>Built on geo-redundant Azure Storage.</a:t>
          </a:r>
          <a:endParaRPr lang="en-US"/>
        </a:p>
      </dgm:t>
    </dgm:pt>
    <dgm:pt modelId="{934FA101-025D-4624-9C83-A937C24D4FDD}" type="parTrans" cxnId="{28E81488-B0D2-4437-84CA-C3C8F27F1124}">
      <dgm:prSet/>
      <dgm:spPr/>
      <dgm:t>
        <a:bodyPr/>
        <a:lstStyle/>
        <a:p>
          <a:endParaRPr lang="en-US"/>
        </a:p>
      </dgm:t>
    </dgm:pt>
    <dgm:pt modelId="{D10C6326-E4CE-4899-8C7F-3C27539A7CA2}" type="sibTrans" cxnId="{28E81488-B0D2-4437-84CA-C3C8F27F1124}">
      <dgm:prSet/>
      <dgm:spPr/>
      <dgm:t>
        <a:bodyPr/>
        <a:lstStyle/>
        <a:p>
          <a:endParaRPr lang="en-US"/>
        </a:p>
      </dgm:t>
    </dgm:pt>
    <dgm:pt modelId="{13077163-5DCD-4236-9665-B7FBED8837E2}">
      <dgm:prSet/>
      <dgm:spPr/>
      <dgm:t>
        <a:bodyPr/>
        <a:lstStyle/>
        <a:p>
          <a:r>
            <a:rPr lang="en-US" baseline="0"/>
            <a:t>No extra cost, no capacity guarantee.</a:t>
          </a:r>
          <a:endParaRPr lang="en-US"/>
        </a:p>
      </dgm:t>
    </dgm:pt>
    <dgm:pt modelId="{96A3D466-0893-4412-9E8E-43F2E76F132C}" type="parTrans" cxnId="{4518CBC7-BF11-47C5-A0EB-3260884241CB}">
      <dgm:prSet/>
      <dgm:spPr/>
      <dgm:t>
        <a:bodyPr/>
        <a:lstStyle/>
        <a:p>
          <a:endParaRPr lang="en-US"/>
        </a:p>
      </dgm:t>
    </dgm:pt>
    <dgm:pt modelId="{556C22D0-C11E-42D3-9798-E8730250CFD3}" type="sibTrans" cxnId="{4518CBC7-BF11-47C5-A0EB-3260884241CB}">
      <dgm:prSet/>
      <dgm:spPr/>
      <dgm:t>
        <a:bodyPr/>
        <a:lstStyle/>
        <a:p>
          <a:endParaRPr lang="en-US"/>
        </a:p>
      </dgm:t>
    </dgm:pt>
    <dgm:pt modelId="{2744D28E-E705-457B-B479-D721ABAA87B7}">
      <dgm:prSet/>
      <dgm:spPr/>
      <dgm:t>
        <a:bodyPr/>
        <a:lstStyle/>
        <a:p>
          <a:r>
            <a:rPr lang="en-US" baseline="0"/>
            <a:t>RTO≥24h, RPO=24h</a:t>
          </a:r>
          <a:endParaRPr lang="en-US"/>
        </a:p>
      </dgm:t>
    </dgm:pt>
    <dgm:pt modelId="{8F223FC4-2AD0-4EF6-80BD-B83DA83E8555}" type="parTrans" cxnId="{B2915F41-F121-4BA0-94A8-CBE627215DCF}">
      <dgm:prSet/>
      <dgm:spPr/>
      <dgm:t>
        <a:bodyPr/>
        <a:lstStyle/>
        <a:p>
          <a:endParaRPr lang="en-US"/>
        </a:p>
      </dgm:t>
    </dgm:pt>
    <dgm:pt modelId="{BD552166-49F0-4D4F-914E-A7BDEC222913}" type="sibTrans" cxnId="{B2915F41-F121-4BA0-94A8-CBE627215DCF}">
      <dgm:prSet/>
      <dgm:spPr/>
      <dgm:t>
        <a:bodyPr/>
        <a:lstStyle/>
        <a:p>
          <a:endParaRPr lang="en-US"/>
        </a:p>
      </dgm:t>
    </dgm:pt>
    <dgm:pt modelId="{27BA84DD-9A23-4572-A681-FDDA5FD3DEDF}">
      <dgm:prSet/>
      <dgm:spPr/>
      <dgm:t>
        <a:bodyPr/>
        <a:lstStyle/>
        <a:p>
          <a:r>
            <a:rPr lang="en-US" baseline="0"/>
            <a:t>Database URL will change after restore.</a:t>
          </a:r>
          <a:endParaRPr lang="en-US"/>
        </a:p>
      </dgm:t>
    </dgm:pt>
    <dgm:pt modelId="{633CF307-E04B-49FD-91F2-395411D8DA55}" type="parTrans" cxnId="{131D4DDD-F770-4629-98CA-E6E2F8617AA3}">
      <dgm:prSet/>
      <dgm:spPr/>
      <dgm:t>
        <a:bodyPr/>
        <a:lstStyle/>
        <a:p>
          <a:endParaRPr lang="en-US"/>
        </a:p>
      </dgm:t>
    </dgm:pt>
    <dgm:pt modelId="{59B6AD72-FA54-4E63-958C-76D5E0FDF4F8}" type="sibTrans" cxnId="{131D4DDD-F770-4629-98CA-E6E2F8617AA3}">
      <dgm:prSet/>
      <dgm:spPr/>
      <dgm:t>
        <a:bodyPr/>
        <a:lstStyle/>
        <a:p>
          <a:endParaRPr lang="en-US"/>
        </a:p>
      </dgm:t>
    </dgm:pt>
    <dgm:pt modelId="{EB3D0E50-D18C-4123-A540-84E8A5393722}">
      <dgm:prSet/>
      <dgm:spPr/>
      <dgm:t>
        <a:bodyPr/>
        <a:lstStyle/>
        <a:p>
          <a:r>
            <a:rPr lang="en-US" baseline="0"/>
            <a:t>Point-in-time restore on a geo-secondary is not currently supported.</a:t>
          </a:r>
          <a:endParaRPr lang="en-US"/>
        </a:p>
      </dgm:t>
    </dgm:pt>
    <dgm:pt modelId="{07FEBBB7-1FB2-4E4E-BABC-423EEF2BCA87}" type="parTrans" cxnId="{6572F1B3-A524-45E3-A352-778AC8FD3042}">
      <dgm:prSet/>
      <dgm:spPr/>
      <dgm:t>
        <a:bodyPr/>
        <a:lstStyle/>
        <a:p>
          <a:endParaRPr lang="en-US"/>
        </a:p>
      </dgm:t>
    </dgm:pt>
    <dgm:pt modelId="{D89DCC93-4F3A-479C-8C24-3B0A8EAE4D4E}" type="sibTrans" cxnId="{6572F1B3-A524-45E3-A352-778AC8FD3042}">
      <dgm:prSet/>
      <dgm:spPr/>
      <dgm:t>
        <a:bodyPr/>
        <a:lstStyle/>
        <a:p>
          <a:endParaRPr lang="en-US"/>
        </a:p>
      </dgm:t>
    </dgm:pt>
    <dgm:pt modelId="{C10C2DC0-E9EF-4AD3-8FB9-894981575A7E}" type="pres">
      <dgm:prSet presAssocID="{74743FF5-59DF-487E-BBB3-5DBC57BF5686}" presName="linear" presStyleCnt="0">
        <dgm:presLayoutVars>
          <dgm:animLvl val="lvl"/>
          <dgm:resizeHandles val="exact"/>
        </dgm:presLayoutVars>
      </dgm:prSet>
      <dgm:spPr/>
    </dgm:pt>
    <dgm:pt modelId="{8B887CFA-A886-4E96-8CDC-B2C318ED4E22}" type="pres">
      <dgm:prSet presAssocID="{F5817215-8DF5-42A1-96B5-90E9A065157C}" presName="parentText" presStyleLbl="node1" presStyleIdx="0" presStyleCnt="6">
        <dgm:presLayoutVars>
          <dgm:chMax val="0"/>
          <dgm:bulletEnabled val="1"/>
        </dgm:presLayoutVars>
      </dgm:prSet>
      <dgm:spPr/>
    </dgm:pt>
    <dgm:pt modelId="{D7E0F2D5-F345-4F5A-980D-D7955B2702D2}" type="pres">
      <dgm:prSet presAssocID="{E5EA7858-A526-4DED-94CE-1154AF9C5E15}" presName="spacer" presStyleCnt="0"/>
      <dgm:spPr/>
    </dgm:pt>
    <dgm:pt modelId="{68B32CE1-2899-424E-A5FF-36192703A75A}" type="pres">
      <dgm:prSet presAssocID="{0A5D674F-DD97-4543-828A-F887B8ED0B97}" presName="parentText" presStyleLbl="node1" presStyleIdx="1" presStyleCnt="6">
        <dgm:presLayoutVars>
          <dgm:chMax val="0"/>
          <dgm:bulletEnabled val="1"/>
        </dgm:presLayoutVars>
      </dgm:prSet>
      <dgm:spPr/>
    </dgm:pt>
    <dgm:pt modelId="{9E46C840-E229-4DCE-93D7-F70134F5E353}" type="pres">
      <dgm:prSet presAssocID="{D10C6326-E4CE-4899-8C7F-3C27539A7CA2}" presName="spacer" presStyleCnt="0"/>
      <dgm:spPr/>
    </dgm:pt>
    <dgm:pt modelId="{C61BF79B-C696-446F-B8A7-B83948AD4D42}" type="pres">
      <dgm:prSet presAssocID="{13077163-5DCD-4236-9665-B7FBED8837E2}" presName="parentText" presStyleLbl="node1" presStyleIdx="2" presStyleCnt="6">
        <dgm:presLayoutVars>
          <dgm:chMax val="0"/>
          <dgm:bulletEnabled val="1"/>
        </dgm:presLayoutVars>
      </dgm:prSet>
      <dgm:spPr/>
    </dgm:pt>
    <dgm:pt modelId="{22FA834A-6530-4564-935A-D6080DEAE517}" type="pres">
      <dgm:prSet presAssocID="{556C22D0-C11E-42D3-9798-E8730250CFD3}" presName="spacer" presStyleCnt="0"/>
      <dgm:spPr/>
    </dgm:pt>
    <dgm:pt modelId="{B53A2D1D-5683-4755-90B3-0F5A1FAA0F68}" type="pres">
      <dgm:prSet presAssocID="{2744D28E-E705-457B-B479-D721ABAA87B7}" presName="parentText" presStyleLbl="node1" presStyleIdx="3" presStyleCnt="6">
        <dgm:presLayoutVars>
          <dgm:chMax val="0"/>
          <dgm:bulletEnabled val="1"/>
        </dgm:presLayoutVars>
      </dgm:prSet>
      <dgm:spPr/>
    </dgm:pt>
    <dgm:pt modelId="{978B7455-2E5C-4405-B669-87686D424D2B}" type="pres">
      <dgm:prSet presAssocID="{BD552166-49F0-4D4F-914E-A7BDEC222913}" presName="spacer" presStyleCnt="0"/>
      <dgm:spPr/>
    </dgm:pt>
    <dgm:pt modelId="{E6250CD0-ED20-4E0F-AC2F-C6D51072CE50}" type="pres">
      <dgm:prSet presAssocID="{27BA84DD-9A23-4572-A681-FDDA5FD3DEDF}" presName="parentText" presStyleLbl="node1" presStyleIdx="4" presStyleCnt="6">
        <dgm:presLayoutVars>
          <dgm:chMax val="0"/>
          <dgm:bulletEnabled val="1"/>
        </dgm:presLayoutVars>
      </dgm:prSet>
      <dgm:spPr/>
    </dgm:pt>
    <dgm:pt modelId="{B8B1D1A6-A5DD-44EA-A8AB-8E2418EF66B5}" type="pres">
      <dgm:prSet presAssocID="{59B6AD72-FA54-4E63-958C-76D5E0FDF4F8}" presName="spacer" presStyleCnt="0"/>
      <dgm:spPr/>
    </dgm:pt>
    <dgm:pt modelId="{6346FDF9-00C4-4E68-A8D3-907FB60030EE}" type="pres">
      <dgm:prSet presAssocID="{EB3D0E50-D18C-4123-A540-84E8A5393722}" presName="parentText" presStyleLbl="node1" presStyleIdx="5" presStyleCnt="6">
        <dgm:presLayoutVars>
          <dgm:chMax val="0"/>
          <dgm:bulletEnabled val="1"/>
        </dgm:presLayoutVars>
      </dgm:prSet>
      <dgm:spPr/>
    </dgm:pt>
  </dgm:ptLst>
  <dgm:cxnLst>
    <dgm:cxn modelId="{A547E906-A70A-4DA5-9880-52BA18FE2D77}" type="presOf" srcId="{0A5D674F-DD97-4543-828A-F887B8ED0B97}" destId="{68B32CE1-2899-424E-A5FF-36192703A75A}" srcOrd="0" destOrd="0" presId="urn:microsoft.com/office/officeart/2005/8/layout/vList2"/>
    <dgm:cxn modelId="{BF6AA53E-E84B-454C-A503-0EDBE3815691}" type="presOf" srcId="{27BA84DD-9A23-4572-A681-FDDA5FD3DEDF}" destId="{E6250CD0-ED20-4E0F-AC2F-C6D51072CE50}" srcOrd="0" destOrd="0" presId="urn:microsoft.com/office/officeart/2005/8/layout/vList2"/>
    <dgm:cxn modelId="{B2915F41-F121-4BA0-94A8-CBE627215DCF}" srcId="{74743FF5-59DF-487E-BBB3-5DBC57BF5686}" destId="{2744D28E-E705-457B-B479-D721ABAA87B7}" srcOrd="3" destOrd="0" parTransId="{8F223FC4-2AD0-4EF6-80BD-B83DA83E8555}" sibTransId="{BD552166-49F0-4D4F-914E-A7BDEC222913}"/>
    <dgm:cxn modelId="{1DDCE561-0E97-4E20-887B-EECA61CE3733}" type="presOf" srcId="{F5817215-8DF5-42A1-96B5-90E9A065157C}" destId="{8B887CFA-A886-4E96-8CDC-B2C318ED4E22}" srcOrd="0" destOrd="0" presId="urn:microsoft.com/office/officeart/2005/8/layout/vList2"/>
    <dgm:cxn modelId="{28E81488-B0D2-4437-84CA-C3C8F27F1124}" srcId="{74743FF5-59DF-487E-BBB3-5DBC57BF5686}" destId="{0A5D674F-DD97-4543-828A-F887B8ED0B97}" srcOrd="1" destOrd="0" parTransId="{934FA101-025D-4624-9C83-A937C24D4FDD}" sibTransId="{D10C6326-E4CE-4899-8C7F-3C27539A7CA2}"/>
    <dgm:cxn modelId="{FDE72FA8-C84D-4D1A-B232-6AFC5C9597C9}" type="presOf" srcId="{EB3D0E50-D18C-4123-A540-84E8A5393722}" destId="{6346FDF9-00C4-4E68-A8D3-907FB60030EE}" srcOrd="0" destOrd="0" presId="urn:microsoft.com/office/officeart/2005/8/layout/vList2"/>
    <dgm:cxn modelId="{0E7986A9-D9D0-4E65-B6AC-54C22C7F51D9}" type="presOf" srcId="{2744D28E-E705-457B-B479-D721ABAA87B7}" destId="{B53A2D1D-5683-4755-90B3-0F5A1FAA0F68}" srcOrd="0" destOrd="0" presId="urn:microsoft.com/office/officeart/2005/8/layout/vList2"/>
    <dgm:cxn modelId="{265D4AB2-1F92-41CA-B7F3-BAF278ABC1CB}" type="presOf" srcId="{13077163-5DCD-4236-9665-B7FBED8837E2}" destId="{C61BF79B-C696-446F-B8A7-B83948AD4D42}" srcOrd="0" destOrd="0" presId="urn:microsoft.com/office/officeart/2005/8/layout/vList2"/>
    <dgm:cxn modelId="{6572F1B3-A524-45E3-A352-778AC8FD3042}" srcId="{74743FF5-59DF-487E-BBB3-5DBC57BF5686}" destId="{EB3D0E50-D18C-4123-A540-84E8A5393722}" srcOrd="5" destOrd="0" parTransId="{07FEBBB7-1FB2-4E4E-BABC-423EEF2BCA87}" sibTransId="{D89DCC93-4F3A-479C-8C24-3B0A8EAE4D4E}"/>
    <dgm:cxn modelId="{4518CBC7-BF11-47C5-A0EB-3260884241CB}" srcId="{74743FF5-59DF-487E-BBB3-5DBC57BF5686}" destId="{13077163-5DCD-4236-9665-B7FBED8837E2}" srcOrd="2" destOrd="0" parTransId="{96A3D466-0893-4412-9E8E-43F2E76F132C}" sibTransId="{556C22D0-C11E-42D3-9798-E8730250CFD3}"/>
    <dgm:cxn modelId="{131D4DDD-F770-4629-98CA-E6E2F8617AA3}" srcId="{74743FF5-59DF-487E-BBB3-5DBC57BF5686}" destId="{27BA84DD-9A23-4572-A681-FDDA5FD3DEDF}" srcOrd="4" destOrd="0" parTransId="{633CF307-E04B-49FD-91F2-395411D8DA55}" sibTransId="{59B6AD72-FA54-4E63-958C-76D5E0FDF4F8}"/>
    <dgm:cxn modelId="{ABC544ED-58F9-4871-9486-A3DE7B30CE06}" type="presOf" srcId="{74743FF5-59DF-487E-BBB3-5DBC57BF5686}" destId="{C10C2DC0-E9EF-4AD3-8FB9-894981575A7E}" srcOrd="0" destOrd="0" presId="urn:microsoft.com/office/officeart/2005/8/layout/vList2"/>
    <dgm:cxn modelId="{7EA67BF1-FC73-4593-BA62-3C7850267A3B}" srcId="{74743FF5-59DF-487E-BBB3-5DBC57BF5686}" destId="{F5817215-8DF5-42A1-96B5-90E9A065157C}" srcOrd="0" destOrd="0" parTransId="{AD626A5E-7F0E-45DC-B7AA-C1B6EF2AC3DA}" sibTransId="{E5EA7858-A526-4DED-94CE-1154AF9C5E15}"/>
    <dgm:cxn modelId="{6DC8DC0F-0E05-4F31-BDE6-42B2F9B01212}" type="presParOf" srcId="{C10C2DC0-E9EF-4AD3-8FB9-894981575A7E}" destId="{8B887CFA-A886-4E96-8CDC-B2C318ED4E22}" srcOrd="0" destOrd="0" presId="urn:microsoft.com/office/officeart/2005/8/layout/vList2"/>
    <dgm:cxn modelId="{3BD34F6E-843F-498E-92F8-6725D5F58B94}" type="presParOf" srcId="{C10C2DC0-E9EF-4AD3-8FB9-894981575A7E}" destId="{D7E0F2D5-F345-4F5A-980D-D7955B2702D2}" srcOrd="1" destOrd="0" presId="urn:microsoft.com/office/officeart/2005/8/layout/vList2"/>
    <dgm:cxn modelId="{66102094-102C-498E-AEA2-1A1C382B68E2}" type="presParOf" srcId="{C10C2DC0-E9EF-4AD3-8FB9-894981575A7E}" destId="{68B32CE1-2899-424E-A5FF-36192703A75A}" srcOrd="2" destOrd="0" presId="urn:microsoft.com/office/officeart/2005/8/layout/vList2"/>
    <dgm:cxn modelId="{5B659FFE-54F9-4445-A75F-1CCF5912B949}" type="presParOf" srcId="{C10C2DC0-E9EF-4AD3-8FB9-894981575A7E}" destId="{9E46C840-E229-4DCE-93D7-F70134F5E353}" srcOrd="3" destOrd="0" presId="urn:microsoft.com/office/officeart/2005/8/layout/vList2"/>
    <dgm:cxn modelId="{49D60001-EA2E-4363-8573-E5AACF1DBAA8}" type="presParOf" srcId="{C10C2DC0-E9EF-4AD3-8FB9-894981575A7E}" destId="{C61BF79B-C696-446F-B8A7-B83948AD4D42}" srcOrd="4" destOrd="0" presId="urn:microsoft.com/office/officeart/2005/8/layout/vList2"/>
    <dgm:cxn modelId="{DB78C62A-95EA-4816-AD32-7B92BEC85B6B}" type="presParOf" srcId="{C10C2DC0-E9EF-4AD3-8FB9-894981575A7E}" destId="{22FA834A-6530-4564-935A-D6080DEAE517}" srcOrd="5" destOrd="0" presId="urn:microsoft.com/office/officeart/2005/8/layout/vList2"/>
    <dgm:cxn modelId="{4864B6D8-6625-4705-A882-90D3C8F3F685}" type="presParOf" srcId="{C10C2DC0-E9EF-4AD3-8FB9-894981575A7E}" destId="{B53A2D1D-5683-4755-90B3-0F5A1FAA0F68}" srcOrd="6" destOrd="0" presId="urn:microsoft.com/office/officeart/2005/8/layout/vList2"/>
    <dgm:cxn modelId="{61EDC83A-B76A-4717-A945-5CA407EB1EA2}" type="presParOf" srcId="{C10C2DC0-E9EF-4AD3-8FB9-894981575A7E}" destId="{978B7455-2E5C-4405-B669-87686D424D2B}" srcOrd="7" destOrd="0" presId="urn:microsoft.com/office/officeart/2005/8/layout/vList2"/>
    <dgm:cxn modelId="{F3146C4F-16B2-4EB3-B1F3-D598ED560E59}" type="presParOf" srcId="{C10C2DC0-E9EF-4AD3-8FB9-894981575A7E}" destId="{E6250CD0-ED20-4E0F-AC2F-C6D51072CE50}" srcOrd="8" destOrd="0" presId="urn:microsoft.com/office/officeart/2005/8/layout/vList2"/>
    <dgm:cxn modelId="{4E79A0ED-A5C3-4543-8F02-7CB9629BA5C4}" type="presParOf" srcId="{C10C2DC0-E9EF-4AD3-8FB9-894981575A7E}" destId="{B8B1D1A6-A5DD-44EA-A8AB-8E2418EF66B5}" srcOrd="9" destOrd="0" presId="urn:microsoft.com/office/officeart/2005/8/layout/vList2"/>
    <dgm:cxn modelId="{897F6A69-83F8-47A5-8BDA-F0F9083E98ED}" type="presParOf" srcId="{C10C2DC0-E9EF-4AD3-8FB9-894981575A7E}" destId="{6346FDF9-00C4-4E68-A8D3-907FB60030EE}"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33CAE6DD-8520-4469-9902-4489BC35703C}"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A2B1A15D-4713-46D3-AE6D-A1074D79CA87}">
      <dgm:prSet custT="1"/>
      <dgm:spPr/>
      <dgm:t>
        <a:bodyPr/>
        <a:lstStyle/>
        <a:p>
          <a:r>
            <a:rPr lang="en-US" sz="2400" baseline="0" dirty="0"/>
            <a:t>Asynchronous Replication</a:t>
          </a:r>
          <a:endParaRPr lang="en-US" sz="2400" dirty="0"/>
        </a:p>
      </dgm:t>
    </dgm:pt>
    <dgm:pt modelId="{0E037F49-439F-4A68-BF80-DB430B47242E}" type="parTrans" cxnId="{2577911F-028C-4992-8207-8A77C3C18B99}">
      <dgm:prSet/>
      <dgm:spPr/>
      <dgm:t>
        <a:bodyPr/>
        <a:lstStyle/>
        <a:p>
          <a:endParaRPr lang="en-US"/>
        </a:p>
      </dgm:t>
    </dgm:pt>
    <dgm:pt modelId="{6BCF663F-76D2-4120-9E18-99E4AB7C93C6}" type="sibTrans" cxnId="{2577911F-028C-4992-8207-8A77C3C18B99}">
      <dgm:prSet/>
      <dgm:spPr/>
      <dgm:t>
        <a:bodyPr/>
        <a:lstStyle/>
        <a:p>
          <a:endParaRPr lang="en-US"/>
        </a:p>
      </dgm:t>
    </dgm:pt>
    <dgm:pt modelId="{FEECCDC8-F4AC-4780-AEE7-F0BF889E0F8C}">
      <dgm:prSet custT="1"/>
      <dgm:spPr/>
      <dgm:t>
        <a:bodyPr/>
        <a:lstStyle/>
        <a:p>
          <a:r>
            <a:rPr lang="en-US" sz="2400" baseline="0" dirty="0"/>
            <a:t>Readable secondary databases</a:t>
          </a:r>
          <a:endParaRPr lang="en-US" sz="2400" dirty="0"/>
        </a:p>
      </dgm:t>
    </dgm:pt>
    <dgm:pt modelId="{82971207-2896-4908-AC65-41533552EA43}" type="parTrans" cxnId="{116C2A6F-597B-42DF-AFE7-8B4462B3FD09}">
      <dgm:prSet/>
      <dgm:spPr/>
      <dgm:t>
        <a:bodyPr/>
        <a:lstStyle/>
        <a:p>
          <a:endParaRPr lang="en-US"/>
        </a:p>
      </dgm:t>
    </dgm:pt>
    <dgm:pt modelId="{2951C2C5-5729-4DD3-9386-E103A2FA9AE1}" type="sibTrans" cxnId="{116C2A6F-597B-42DF-AFE7-8B4462B3FD09}">
      <dgm:prSet/>
      <dgm:spPr/>
      <dgm:t>
        <a:bodyPr/>
        <a:lstStyle/>
        <a:p>
          <a:endParaRPr lang="en-US"/>
        </a:p>
      </dgm:t>
    </dgm:pt>
    <dgm:pt modelId="{15E8365B-CFDC-48C6-A3FD-3679CAD8C412}">
      <dgm:prSet custT="1"/>
      <dgm:spPr/>
      <dgm:t>
        <a:bodyPr/>
        <a:lstStyle/>
        <a:p>
          <a:r>
            <a:rPr lang="en-US" sz="2400" baseline="0" dirty="0"/>
            <a:t>Multiple Readable Secondary Replicas</a:t>
          </a:r>
          <a:endParaRPr lang="en-US" sz="2400" dirty="0"/>
        </a:p>
      </dgm:t>
    </dgm:pt>
    <dgm:pt modelId="{01B5A319-96BC-46FA-ABD5-3C1819AAA304}" type="parTrans" cxnId="{ACFA0D93-DC2D-43A4-9A0C-EB43E68E2F16}">
      <dgm:prSet/>
      <dgm:spPr/>
      <dgm:t>
        <a:bodyPr/>
        <a:lstStyle/>
        <a:p>
          <a:endParaRPr lang="en-US"/>
        </a:p>
      </dgm:t>
    </dgm:pt>
    <dgm:pt modelId="{97BE6B22-4563-412E-8EF0-6B68013FCDB1}" type="sibTrans" cxnId="{ACFA0D93-DC2D-43A4-9A0C-EB43E68E2F16}">
      <dgm:prSet/>
      <dgm:spPr/>
      <dgm:t>
        <a:bodyPr/>
        <a:lstStyle/>
        <a:p>
          <a:endParaRPr lang="en-US"/>
        </a:p>
      </dgm:t>
    </dgm:pt>
    <dgm:pt modelId="{06A5101C-C43F-4B42-A2C9-9C5BE49B3168}">
      <dgm:prSet custT="1"/>
      <dgm:spPr/>
      <dgm:t>
        <a:bodyPr/>
        <a:lstStyle/>
        <a:p>
          <a:r>
            <a:rPr lang="en-US" sz="2400" baseline="0" dirty="0"/>
            <a:t>Configurable performance level of the secondary database</a:t>
          </a:r>
          <a:endParaRPr lang="en-US" sz="2400" dirty="0"/>
        </a:p>
      </dgm:t>
    </dgm:pt>
    <dgm:pt modelId="{7A5C32ED-CCCA-4D5F-9251-34245AD9EBF3}" type="parTrans" cxnId="{0BA22082-0AC9-4E14-9A4D-1121DF20D45C}">
      <dgm:prSet/>
      <dgm:spPr/>
      <dgm:t>
        <a:bodyPr/>
        <a:lstStyle/>
        <a:p>
          <a:endParaRPr lang="en-US"/>
        </a:p>
      </dgm:t>
    </dgm:pt>
    <dgm:pt modelId="{34224E02-8CED-4D9B-A967-1175FDA044B9}" type="sibTrans" cxnId="{0BA22082-0AC9-4E14-9A4D-1121DF20D45C}">
      <dgm:prSet/>
      <dgm:spPr/>
      <dgm:t>
        <a:bodyPr/>
        <a:lstStyle/>
        <a:p>
          <a:endParaRPr lang="en-US"/>
        </a:p>
      </dgm:t>
    </dgm:pt>
    <dgm:pt modelId="{DF03C66B-139A-4D15-B706-D2C145FE9955}">
      <dgm:prSet custT="1"/>
      <dgm:spPr/>
      <dgm:t>
        <a:bodyPr/>
        <a:lstStyle/>
        <a:p>
          <a:r>
            <a:rPr lang="en-US" sz="2400" baseline="0" dirty="0"/>
            <a:t>User-controlled failover and failback</a:t>
          </a:r>
          <a:endParaRPr lang="en-US" sz="2400" dirty="0"/>
        </a:p>
      </dgm:t>
    </dgm:pt>
    <dgm:pt modelId="{483A1B60-535F-4666-9CF9-A843331FFDF3}" type="parTrans" cxnId="{5875B744-577C-43C5-862E-277000BB3C09}">
      <dgm:prSet/>
      <dgm:spPr/>
      <dgm:t>
        <a:bodyPr/>
        <a:lstStyle/>
        <a:p>
          <a:endParaRPr lang="en-US"/>
        </a:p>
      </dgm:t>
    </dgm:pt>
    <dgm:pt modelId="{8BDC7ECC-9512-4A86-813D-69D0F7A2F7AA}" type="sibTrans" cxnId="{5875B744-577C-43C5-862E-277000BB3C09}">
      <dgm:prSet/>
      <dgm:spPr/>
      <dgm:t>
        <a:bodyPr/>
        <a:lstStyle/>
        <a:p>
          <a:endParaRPr lang="en-US"/>
        </a:p>
      </dgm:t>
    </dgm:pt>
    <dgm:pt modelId="{388B9FE2-092E-489B-B167-7E978C945D04}">
      <dgm:prSet custT="1"/>
      <dgm:spPr/>
      <dgm:t>
        <a:bodyPr/>
        <a:lstStyle/>
        <a:p>
          <a:r>
            <a:rPr lang="en-US" sz="2400" baseline="0" dirty="0"/>
            <a:t>Keeping credentials and firewall rules in sync</a:t>
          </a:r>
          <a:endParaRPr lang="en-US" sz="2400" dirty="0"/>
        </a:p>
      </dgm:t>
    </dgm:pt>
    <dgm:pt modelId="{C36EF4FF-6B74-41E2-A9DC-903F9AA0C122}" type="parTrans" cxnId="{1906375F-75DE-45DD-AA85-B824FC57D6AF}">
      <dgm:prSet/>
      <dgm:spPr/>
      <dgm:t>
        <a:bodyPr/>
        <a:lstStyle/>
        <a:p>
          <a:endParaRPr lang="en-US"/>
        </a:p>
      </dgm:t>
    </dgm:pt>
    <dgm:pt modelId="{BE04BC85-5EB2-4D21-8EF5-B1459968EFE2}" type="sibTrans" cxnId="{1906375F-75DE-45DD-AA85-B824FC57D6AF}">
      <dgm:prSet/>
      <dgm:spPr/>
      <dgm:t>
        <a:bodyPr/>
        <a:lstStyle/>
        <a:p>
          <a:endParaRPr lang="en-US"/>
        </a:p>
      </dgm:t>
    </dgm:pt>
    <dgm:pt modelId="{9CBFE4AD-5450-4893-A487-023363FF2939}" type="pres">
      <dgm:prSet presAssocID="{33CAE6DD-8520-4469-9902-4489BC35703C}" presName="diagram" presStyleCnt="0">
        <dgm:presLayoutVars>
          <dgm:dir/>
          <dgm:resizeHandles val="exact"/>
        </dgm:presLayoutVars>
      </dgm:prSet>
      <dgm:spPr/>
    </dgm:pt>
    <dgm:pt modelId="{1C97FB46-561E-46AE-9050-95679A12C873}" type="pres">
      <dgm:prSet presAssocID="{A2B1A15D-4713-46D3-AE6D-A1074D79CA87}" presName="node" presStyleLbl="node1" presStyleIdx="0" presStyleCnt="6">
        <dgm:presLayoutVars>
          <dgm:bulletEnabled val="1"/>
        </dgm:presLayoutVars>
      </dgm:prSet>
      <dgm:spPr/>
    </dgm:pt>
    <dgm:pt modelId="{A456F300-5A86-4E7A-B4C1-164FC371B121}" type="pres">
      <dgm:prSet presAssocID="{6BCF663F-76D2-4120-9E18-99E4AB7C93C6}" presName="sibTrans" presStyleCnt="0"/>
      <dgm:spPr/>
    </dgm:pt>
    <dgm:pt modelId="{0C61EA64-759D-4C25-8C06-2F82C3872D99}" type="pres">
      <dgm:prSet presAssocID="{FEECCDC8-F4AC-4780-AEE7-F0BF889E0F8C}" presName="node" presStyleLbl="node1" presStyleIdx="1" presStyleCnt="6">
        <dgm:presLayoutVars>
          <dgm:bulletEnabled val="1"/>
        </dgm:presLayoutVars>
      </dgm:prSet>
      <dgm:spPr/>
    </dgm:pt>
    <dgm:pt modelId="{DD025F9D-10C0-44C7-AB7C-E51CE646E545}" type="pres">
      <dgm:prSet presAssocID="{2951C2C5-5729-4DD3-9386-E103A2FA9AE1}" presName="sibTrans" presStyleCnt="0"/>
      <dgm:spPr/>
    </dgm:pt>
    <dgm:pt modelId="{A8261650-8EED-4832-B415-241CD35F6020}" type="pres">
      <dgm:prSet presAssocID="{15E8365B-CFDC-48C6-A3FD-3679CAD8C412}" presName="node" presStyleLbl="node1" presStyleIdx="2" presStyleCnt="6">
        <dgm:presLayoutVars>
          <dgm:bulletEnabled val="1"/>
        </dgm:presLayoutVars>
      </dgm:prSet>
      <dgm:spPr/>
    </dgm:pt>
    <dgm:pt modelId="{35BC9465-3D6A-4985-B3EA-1935EAC605FC}" type="pres">
      <dgm:prSet presAssocID="{97BE6B22-4563-412E-8EF0-6B68013FCDB1}" presName="sibTrans" presStyleCnt="0"/>
      <dgm:spPr/>
    </dgm:pt>
    <dgm:pt modelId="{001C1A67-6647-4AF3-B3A1-5EB28DDC9FF2}" type="pres">
      <dgm:prSet presAssocID="{06A5101C-C43F-4B42-A2C9-9C5BE49B3168}" presName="node" presStyleLbl="node1" presStyleIdx="3" presStyleCnt="6">
        <dgm:presLayoutVars>
          <dgm:bulletEnabled val="1"/>
        </dgm:presLayoutVars>
      </dgm:prSet>
      <dgm:spPr/>
    </dgm:pt>
    <dgm:pt modelId="{3DA3BB50-8346-4D4E-B304-AEE4875B2F24}" type="pres">
      <dgm:prSet presAssocID="{34224E02-8CED-4D9B-A967-1175FDA044B9}" presName="sibTrans" presStyleCnt="0"/>
      <dgm:spPr/>
    </dgm:pt>
    <dgm:pt modelId="{573846A7-12F4-4820-B538-829AB54D7AA3}" type="pres">
      <dgm:prSet presAssocID="{DF03C66B-139A-4D15-B706-D2C145FE9955}" presName="node" presStyleLbl="node1" presStyleIdx="4" presStyleCnt="6">
        <dgm:presLayoutVars>
          <dgm:bulletEnabled val="1"/>
        </dgm:presLayoutVars>
      </dgm:prSet>
      <dgm:spPr/>
    </dgm:pt>
    <dgm:pt modelId="{9F6E239C-470E-49CD-91CC-C7C06D8E8418}" type="pres">
      <dgm:prSet presAssocID="{8BDC7ECC-9512-4A86-813D-69D0F7A2F7AA}" presName="sibTrans" presStyleCnt="0"/>
      <dgm:spPr/>
    </dgm:pt>
    <dgm:pt modelId="{108F261E-6450-434B-B1FA-DBDC2C17E6F0}" type="pres">
      <dgm:prSet presAssocID="{388B9FE2-092E-489B-B167-7E978C945D04}" presName="node" presStyleLbl="node1" presStyleIdx="5" presStyleCnt="6">
        <dgm:presLayoutVars>
          <dgm:bulletEnabled val="1"/>
        </dgm:presLayoutVars>
      </dgm:prSet>
      <dgm:spPr/>
    </dgm:pt>
  </dgm:ptLst>
  <dgm:cxnLst>
    <dgm:cxn modelId="{3431D916-F81D-4AFB-921A-1564EFFFC129}" type="presOf" srcId="{33CAE6DD-8520-4469-9902-4489BC35703C}" destId="{9CBFE4AD-5450-4893-A487-023363FF2939}" srcOrd="0" destOrd="0" presId="urn:microsoft.com/office/officeart/2005/8/layout/default"/>
    <dgm:cxn modelId="{2577911F-028C-4992-8207-8A77C3C18B99}" srcId="{33CAE6DD-8520-4469-9902-4489BC35703C}" destId="{A2B1A15D-4713-46D3-AE6D-A1074D79CA87}" srcOrd="0" destOrd="0" parTransId="{0E037F49-439F-4A68-BF80-DB430B47242E}" sibTransId="{6BCF663F-76D2-4120-9E18-99E4AB7C93C6}"/>
    <dgm:cxn modelId="{1906375F-75DE-45DD-AA85-B824FC57D6AF}" srcId="{33CAE6DD-8520-4469-9902-4489BC35703C}" destId="{388B9FE2-092E-489B-B167-7E978C945D04}" srcOrd="5" destOrd="0" parTransId="{C36EF4FF-6B74-41E2-A9DC-903F9AA0C122}" sibTransId="{BE04BC85-5EB2-4D21-8EF5-B1459968EFE2}"/>
    <dgm:cxn modelId="{76315043-2A22-49E5-BF76-97ACD3241C1C}" type="presOf" srcId="{15E8365B-CFDC-48C6-A3FD-3679CAD8C412}" destId="{A8261650-8EED-4832-B415-241CD35F6020}" srcOrd="0" destOrd="0" presId="urn:microsoft.com/office/officeart/2005/8/layout/default"/>
    <dgm:cxn modelId="{5875B744-577C-43C5-862E-277000BB3C09}" srcId="{33CAE6DD-8520-4469-9902-4489BC35703C}" destId="{DF03C66B-139A-4D15-B706-D2C145FE9955}" srcOrd="4" destOrd="0" parTransId="{483A1B60-535F-4666-9CF9-A843331FFDF3}" sibTransId="{8BDC7ECC-9512-4A86-813D-69D0F7A2F7AA}"/>
    <dgm:cxn modelId="{116C2A6F-597B-42DF-AFE7-8B4462B3FD09}" srcId="{33CAE6DD-8520-4469-9902-4489BC35703C}" destId="{FEECCDC8-F4AC-4780-AEE7-F0BF889E0F8C}" srcOrd="1" destOrd="0" parTransId="{82971207-2896-4908-AC65-41533552EA43}" sibTransId="{2951C2C5-5729-4DD3-9386-E103A2FA9AE1}"/>
    <dgm:cxn modelId="{CF6AEE54-2563-46AA-B724-86B0F59AE133}" type="presOf" srcId="{DF03C66B-139A-4D15-B706-D2C145FE9955}" destId="{573846A7-12F4-4820-B538-829AB54D7AA3}" srcOrd="0" destOrd="0" presId="urn:microsoft.com/office/officeart/2005/8/layout/default"/>
    <dgm:cxn modelId="{0BA22082-0AC9-4E14-9A4D-1121DF20D45C}" srcId="{33CAE6DD-8520-4469-9902-4489BC35703C}" destId="{06A5101C-C43F-4B42-A2C9-9C5BE49B3168}" srcOrd="3" destOrd="0" parTransId="{7A5C32ED-CCCA-4D5F-9251-34245AD9EBF3}" sibTransId="{34224E02-8CED-4D9B-A967-1175FDA044B9}"/>
    <dgm:cxn modelId="{ACFA0D93-DC2D-43A4-9A0C-EB43E68E2F16}" srcId="{33CAE6DD-8520-4469-9902-4489BC35703C}" destId="{15E8365B-CFDC-48C6-A3FD-3679CAD8C412}" srcOrd="2" destOrd="0" parTransId="{01B5A319-96BC-46FA-ABD5-3C1819AAA304}" sibTransId="{97BE6B22-4563-412E-8EF0-6B68013FCDB1}"/>
    <dgm:cxn modelId="{426F13A4-C599-4AFC-A873-D3C094992BDA}" type="presOf" srcId="{06A5101C-C43F-4B42-A2C9-9C5BE49B3168}" destId="{001C1A67-6647-4AF3-B3A1-5EB28DDC9FF2}" srcOrd="0" destOrd="0" presId="urn:microsoft.com/office/officeart/2005/8/layout/default"/>
    <dgm:cxn modelId="{02A19DB7-BEA8-474D-A96B-3B7BD973EE1F}" type="presOf" srcId="{FEECCDC8-F4AC-4780-AEE7-F0BF889E0F8C}" destId="{0C61EA64-759D-4C25-8C06-2F82C3872D99}" srcOrd="0" destOrd="0" presId="urn:microsoft.com/office/officeart/2005/8/layout/default"/>
    <dgm:cxn modelId="{0CD06ADC-EBF3-459B-BBDF-7744E81F61E5}" type="presOf" srcId="{A2B1A15D-4713-46D3-AE6D-A1074D79CA87}" destId="{1C97FB46-561E-46AE-9050-95679A12C873}" srcOrd="0" destOrd="0" presId="urn:microsoft.com/office/officeart/2005/8/layout/default"/>
    <dgm:cxn modelId="{52203AF2-2DEE-48AC-B6B4-3454211EC273}" type="presOf" srcId="{388B9FE2-092E-489B-B167-7E978C945D04}" destId="{108F261E-6450-434B-B1FA-DBDC2C17E6F0}" srcOrd="0" destOrd="0" presId="urn:microsoft.com/office/officeart/2005/8/layout/default"/>
    <dgm:cxn modelId="{A4DD071A-6C5B-4E57-9CE2-DBDAD197C418}" type="presParOf" srcId="{9CBFE4AD-5450-4893-A487-023363FF2939}" destId="{1C97FB46-561E-46AE-9050-95679A12C873}" srcOrd="0" destOrd="0" presId="urn:microsoft.com/office/officeart/2005/8/layout/default"/>
    <dgm:cxn modelId="{6D1D7D99-52CF-4D10-A519-C55E381A5840}" type="presParOf" srcId="{9CBFE4AD-5450-4893-A487-023363FF2939}" destId="{A456F300-5A86-4E7A-B4C1-164FC371B121}" srcOrd="1" destOrd="0" presId="urn:microsoft.com/office/officeart/2005/8/layout/default"/>
    <dgm:cxn modelId="{4160DF1A-EA5F-4650-91AC-35DAC2D4C02F}" type="presParOf" srcId="{9CBFE4AD-5450-4893-A487-023363FF2939}" destId="{0C61EA64-759D-4C25-8C06-2F82C3872D99}" srcOrd="2" destOrd="0" presId="urn:microsoft.com/office/officeart/2005/8/layout/default"/>
    <dgm:cxn modelId="{5A5B3C77-D58D-4F3A-90FA-FCFCDBC523A3}" type="presParOf" srcId="{9CBFE4AD-5450-4893-A487-023363FF2939}" destId="{DD025F9D-10C0-44C7-AB7C-E51CE646E545}" srcOrd="3" destOrd="0" presId="urn:microsoft.com/office/officeart/2005/8/layout/default"/>
    <dgm:cxn modelId="{C604ED55-5E74-42E3-919D-75DCD727485D}" type="presParOf" srcId="{9CBFE4AD-5450-4893-A487-023363FF2939}" destId="{A8261650-8EED-4832-B415-241CD35F6020}" srcOrd="4" destOrd="0" presId="urn:microsoft.com/office/officeart/2005/8/layout/default"/>
    <dgm:cxn modelId="{6BE78289-6754-4342-95E6-88BEE055BD84}" type="presParOf" srcId="{9CBFE4AD-5450-4893-A487-023363FF2939}" destId="{35BC9465-3D6A-4985-B3EA-1935EAC605FC}" srcOrd="5" destOrd="0" presId="urn:microsoft.com/office/officeart/2005/8/layout/default"/>
    <dgm:cxn modelId="{A2BC42CC-8780-4D11-AE81-03075B90A44B}" type="presParOf" srcId="{9CBFE4AD-5450-4893-A487-023363FF2939}" destId="{001C1A67-6647-4AF3-B3A1-5EB28DDC9FF2}" srcOrd="6" destOrd="0" presId="urn:microsoft.com/office/officeart/2005/8/layout/default"/>
    <dgm:cxn modelId="{AC78568F-162D-4CD7-B5E8-39DF9BD6A6C1}" type="presParOf" srcId="{9CBFE4AD-5450-4893-A487-023363FF2939}" destId="{3DA3BB50-8346-4D4E-B304-AEE4875B2F24}" srcOrd="7" destOrd="0" presId="urn:microsoft.com/office/officeart/2005/8/layout/default"/>
    <dgm:cxn modelId="{7F413F36-2064-4D85-A059-B4BCDA89EA97}" type="presParOf" srcId="{9CBFE4AD-5450-4893-A487-023363FF2939}" destId="{573846A7-12F4-4820-B538-829AB54D7AA3}" srcOrd="8" destOrd="0" presId="urn:microsoft.com/office/officeart/2005/8/layout/default"/>
    <dgm:cxn modelId="{876C488D-86D4-4809-AAAC-EFE7A8FFC878}" type="presParOf" srcId="{9CBFE4AD-5450-4893-A487-023363FF2939}" destId="{9F6E239C-470E-49CD-91CC-C7C06D8E8418}" srcOrd="9" destOrd="0" presId="urn:microsoft.com/office/officeart/2005/8/layout/default"/>
    <dgm:cxn modelId="{33FE3EC1-7C6F-4325-9DF9-1F42F8D93328}" type="presParOf" srcId="{9CBFE4AD-5450-4893-A487-023363FF2939}" destId="{108F261E-6450-434B-B1FA-DBDC2C17E6F0}"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726F8551-BBB2-4B53-8689-FCE8BA15D8F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38EF79F-9C21-4000-B914-B7AF27F9159C}">
      <dgm:prSet/>
      <dgm:spPr/>
      <dgm:t>
        <a:bodyPr/>
        <a:lstStyle/>
        <a:p>
          <a:r>
            <a:rPr lang="en-US" baseline="0" dirty="0"/>
            <a:t>Enable geo-replication for a group of databases within a server.</a:t>
          </a:r>
          <a:endParaRPr lang="en-US" dirty="0"/>
        </a:p>
      </dgm:t>
    </dgm:pt>
    <dgm:pt modelId="{9608DF3B-1A36-418B-950D-2FF66ECCB1E0}" type="parTrans" cxnId="{04DDDC41-E594-4205-8951-77052B35DCE6}">
      <dgm:prSet/>
      <dgm:spPr/>
      <dgm:t>
        <a:bodyPr/>
        <a:lstStyle/>
        <a:p>
          <a:endParaRPr lang="en-US"/>
        </a:p>
      </dgm:t>
    </dgm:pt>
    <dgm:pt modelId="{CE115458-3F91-4BC4-B304-4D06A0A2023B}" type="sibTrans" cxnId="{04DDDC41-E594-4205-8951-77052B35DCE6}">
      <dgm:prSet/>
      <dgm:spPr/>
      <dgm:t>
        <a:bodyPr/>
        <a:lstStyle/>
        <a:p>
          <a:endParaRPr lang="en-US"/>
        </a:p>
      </dgm:t>
    </dgm:pt>
    <dgm:pt modelId="{0A6B4C4F-AC70-41DB-864E-829E3DB63D4D}">
      <dgm:prSet/>
      <dgm:spPr/>
      <dgm:t>
        <a:bodyPr/>
        <a:lstStyle/>
        <a:p>
          <a:r>
            <a:rPr lang="en-US" baseline="0" dirty="0"/>
            <a:t>Automatically or manually failover a group of databases.</a:t>
          </a:r>
          <a:endParaRPr lang="en-US" dirty="0"/>
        </a:p>
      </dgm:t>
    </dgm:pt>
    <dgm:pt modelId="{23267E6C-AFC7-41BD-8F24-BCB63AB50446}" type="parTrans" cxnId="{BD2B6E7E-354B-4820-94DB-5D76BF97A94A}">
      <dgm:prSet/>
      <dgm:spPr/>
      <dgm:t>
        <a:bodyPr/>
        <a:lstStyle/>
        <a:p>
          <a:endParaRPr lang="en-US"/>
        </a:p>
      </dgm:t>
    </dgm:pt>
    <dgm:pt modelId="{EAC21C90-D2D3-4653-B61B-7F80D085B695}" type="sibTrans" cxnId="{BD2B6E7E-354B-4820-94DB-5D76BF97A94A}">
      <dgm:prSet/>
      <dgm:spPr/>
      <dgm:t>
        <a:bodyPr/>
        <a:lstStyle/>
        <a:p>
          <a:endParaRPr lang="en-US"/>
        </a:p>
      </dgm:t>
    </dgm:pt>
    <dgm:pt modelId="{F759F95B-F0C7-4CB5-A2E4-6A1BE68742EB}">
      <dgm:prSet/>
      <dgm:spPr/>
      <dgm:t>
        <a:bodyPr/>
        <a:lstStyle/>
        <a:p>
          <a:r>
            <a:rPr lang="en-US" baseline="0" dirty="0"/>
            <a:t>Available for all service tiers.</a:t>
          </a:r>
          <a:endParaRPr lang="en-US" dirty="0"/>
        </a:p>
      </dgm:t>
    </dgm:pt>
    <dgm:pt modelId="{F6860377-49AF-458A-B71C-C50E80BFD9F4}" type="parTrans" cxnId="{737704B0-0368-4046-BC05-84C90F374585}">
      <dgm:prSet/>
      <dgm:spPr/>
      <dgm:t>
        <a:bodyPr/>
        <a:lstStyle/>
        <a:p>
          <a:endParaRPr lang="en-US"/>
        </a:p>
      </dgm:t>
    </dgm:pt>
    <dgm:pt modelId="{222BE4B3-D96B-4FA9-9C41-2B4D93E2C5C0}" type="sibTrans" cxnId="{737704B0-0368-4046-BC05-84C90F374585}">
      <dgm:prSet/>
      <dgm:spPr/>
      <dgm:t>
        <a:bodyPr/>
        <a:lstStyle/>
        <a:p>
          <a:endParaRPr lang="en-US"/>
        </a:p>
      </dgm:t>
    </dgm:pt>
    <dgm:pt modelId="{0AA92178-B943-472D-B847-04A446594D6D}">
      <dgm:prSet/>
      <dgm:spPr/>
      <dgm:t>
        <a:bodyPr/>
        <a:lstStyle/>
        <a:p>
          <a:r>
            <a:rPr lang="en-US" baseline="0"/>
            <a:t>Configure the auto-failover policy that best meets your application needs.</a:t>
          </a:r>
          <a:endParaRPr lang="en-US"/>
        </a:p>
      </dgm:t>
    </dgm:pt>
    <dgm:pt modelId="{9F105EAA-F6D2-46AF-8A68-82DF291BDCF5}" type="parTrans" cxnId="{ED410E05-C5EB-43F8-923A-E525052D0BB7}">
      <dgm:prSet/>
      <dgm:spPr/>
      <dgm:t>
        <a:bodyPr/>
        <a:lstStyle/>
        <a:p>
          <a:endParaRPr lang="en-US"/>
        </a:p>
      </dgm:t>
    </dgm:pt>
    <dgm:pt modelId="{DEAB4FD0-B690-4311-80C2-1CDD2C211F7F}" type="sibTrans" cxnId="{ED410E05-C5EB-43F8-923A-E525052D0BB7}">
      <dgm:prSet/>
      <dgm:spPr/>
      <dgm:t>
        <a:bodyPr/>
        <a:lstStyle/>
        <a:p>
          <a:endParaRPr lang="en-US"/>
        </a:p>
      </dgm:t>
    </dgm:pt>
    <dgm:pt modelId="{4FDECC04-849E-4688-9727-53F86DE0203C}">
      <dgm:prSet/>
      <dgm:spPr/>
      <dgm:t>
        <a:bodyPr/>
        <a:lstStyle/>
        <a:p>
          <a:r>
            <a:rPr lang="en-US" baseline="0"/>
            <a:t>Usage of and listener end-points.</a:t>
          </a:r>
          <a:endParaRPr lang="en-US"/>
        </a:p>
      </dgm:t>
    </dgm:pt>
    <dgm:pt modelId="{23A7A82E-C624-4E10-860B-8E7B1107CE71}" type="parTrans" cxnId="{6B11ADA1-5961-4D20-931D-6023A7CA966E}">
      <dgm:prSet/>
      <dgm:spPr/>
      <dgm:t>
        <a:bodyPr/>
        <a:lstStyle/>
        <a:p>
          <a:endParaRPr lang="en-US"/>
        </a:p>
      </dgm:t>
    </dgm:pt>
    <dgm:pt modelId="{2BC39B67-CDC5-47E7-A39D-E4DF5996BA1B}" type="sibTrans" cxnId="{6B11ADA1-5961-4D20-931D-6023A7CA966E}">
      <dgm:prSet/>
      <dgm:spPr/>
      <dgm:t>
        <a:bodyPr/>
        <a:lstStyle/>
        <a:p>
          <a:endParaRPr lang="en-US"/>
        </a:p>
      </dgm:t>
    </dgm:pt>
    <dgm:pt modelId="{998AB7FB-949C-4312-934D-C6884872222B}">
      <dgm:prSet/>
      <dgm:spPr/>
      <dgm:t>
        <a:bodyPr/>
        <a:lstStyle/>
        <a:p>
          <a:r>
            <a:rPr lang="en-US" baseline="0"/>
            <a:t>DNS record is automatically updated. </a:t>
          </a:r>
          <a:endParaRPr lang="en-US"/>
        </a:p>
      </dgm:t>
    </dgm:pt>
    <dgm:pt modelId="{350ED429-0A4B-406C-8BFC-CF0DCC5D6DF4}" type="parTrans" cxnId="{FF8B8886-6687-42B1-90A3-6DEC8D1B9CB4}">
      <dgm:prSet/>
      <dgm:spPr/>
      <dgm:t>
        <a:bodyPr/>
        <a:lstStyle/>
        <a:p>
          <a:endParaRPr lang="en-US"/>
        </a:p>
      </dgm:t>
    </dgm:pt>
    <dgm:pt modelId="{B4CCDBD2-48E4-437C-A51A-D8DBB239B38B}" type="sibTrans" cxnId="{FF8B8886-6687-42B1-90A3-6DEC8D1B9CB4}">
      <dgm:prSet/>
      <dgm:spPr/>
      <dgm:t>
        <a:bodyPr/>
        <a:lstStyle/>
        <a:p>
          <a:endParaRPr lang="en-US"/>
        </a:p>
      </dgm:t>
    </dgm:pt>
    <dgm:pt modelId="{4F9ADC3E-6351-4F5C-B41D-3514FDA574F3}" type="pres">
      <dgm:prSet presAssocID="{726F8551-BBB2-4B53-8689-FCE8BA15D8FE}" presName="linear" presStyleCnt="0">
        <dgm:presLayoutVars>
          <dgm:animLvl val="lvl"/>
          <dgm:resizeHandles val="exact"/>
        </dgm:presLayoutVars>
      </dgm:prSet>
      <dgm:spPr/>
    </dgm:pt>
    <dgm:pt modelId="{2EFB0852-C8C0-41EF-A670-4631E19D4666}" type="pres">
      <dgm:prSet presAssocID="{A38EF79F-9C21-4000-B914-B7AF27F9159C}" presName="parentText" presStyleLbl="node1" presStyleIdx="0" presStyleCnt="6">
        <dgm:presLayoutVars>
          <dgm:chMax val="0"/>
          <dgm:bulletEnabled val="1"/>
        </dgm:presLayoutVars>
      </dgm:prSet>
      <dgm:spPr/>
    </dgm:pt>
    <dgm:pt modelId="{23CA2FF5-CF73-46E0-B400-9A0B00B4B860}" type="pres">
      <dgm:prSet presAssocID="{CE115458-3F91-4BC4-B304-4D06A0A2023B}" presName="spacer" presStyleCnt="0"/>
      <dgm:spPr/>
    </dgm:pt>
    <dgm:pt modelId="{8DCDF152-3662-49F3-979F-AC2B108F8F75}" type="pres">
      <dgm:prSet presAssocID="{0A6B4C4F-AC70-41DB-864E-829E3DB63D4D}" presName="parentText" presStyleLbl="node1" presStyleIdx="1" presStyleCnt="6">
        <dgm:presLayoutVars>
          <dgm:chMax val="0"/>
          <dgm:bulletEnabled val="1"/>
        </dgm:presLayoutVars>
      </dgm:prSet>
      <dgm:spPr/>
    </dgm:pt>
    <dgm:pt modelId="{5B558029-D43F-4521-BBC1-1006CCEB4823}" type="pres">
      <dgm:prSet presAssocID="{EAC21C90-D2D3-4653-B61B-7F80D085B695}" presName="spacer" presStyleCnt="0"/>
      <dgm:spPr/>
    </dgm:pt>
    <dgm:pt modelId="{4FF0E93A-EE92-4877-BDD5-2C9A329F8D4C}" type="pres">
      <dgm:prSet presAssocID="{F759F95B-F0C7-4CB5-A2E4-6A1BE68742EB}" presName="parentText" presStyleLbl="node1" presStyleIdx="2" presStyleCnt="6">
        <dgm:presLayoutVars>
          <dgm:chMax val="0"/>
          <dgm:bulletEnabled val="1"/>
        </dgm:presLayoutVars>
      </dgm:prSet>
      <dgm:spPr/>
    </dgm:pt>
    <dgm:pt modelId="{3C12E28C-219C-46F6-A5FA-9F22E5E53BFC}" type="pres">
      <dgm:prSet presAssocID="{222BE4B3-D96B-4FA9-9C41-2B4D93E2C5C0}" presName="spacer" presStyleCnt="0"/>
      <dgm:spPr/>
    </dgm:pt>
    <dgm:pt modelId="{45C8ECF9-B0D8-444C-AA2A-8938EBFE0562}" type="pres">
      <dgm:prSet presAssocID="{0AA92178-B943-472D-B847-04A446594D6D}" presName="parentText" presStyleLbl="node1" presStyleIdx="3" presStyleCnt="6">
        <dgm:presLayoutVars>
          <dgm:chMax val="0"/>
          <dgm:bulletEnabled val="1"/>
        </dgm:presLayoutVars>
      </dgm:prSet>
      <dgm:spPr/>
    </dgm:pt>
    <dgm:pt modelId="{773A205E-6E0D-45B6-9792-536FDD0F3406}" type="pres">
      <dgm:prSet presAssocID="{DEAB4FD0-B690-4311-80C2-1CDD2C211F7F}" presName="spacer" presStyleCnt="0"/>
      <dgm:spPr/>
    </dgm:pt>
    <dgm:pt modelId="{249B9357-27B7-48FA-9693-A4E8A251272B}" type="pres">
      <dgm:prSet presAssocID="{4FDECC04-849E-4688-9727-53F86DE0203C}" presName="parentText" presStyleLbl="node1" presStyleIdx="4" presStyleCnt="6">
        <dgm:presLayoutVars>
          <dgm:chMax val="0"/>
          <dgm:bulletEnabled val="1"/>
        </dgm:presLayoutVars>
      </dgm:prSet>
      <dgm:spPr/>
    </dgm:pt>
    <dgm:pt modelId="{B8A29393-44B0-407A-8921-892EC428E40D}" type="pres">
      <dgm:prSet presAssocID="{2BC39B67-CDC5-47E7-A39D-E4DF5996BA1B}" presName="spacer" presStyleCnt="0"/>
      <dgm:spPr/>
    </dgm:pt>
    <dgm:pt modelId="{DF3F32AA-A900-43D6-B269-510E87493361}" type="pres">
      <dgm:prSet presAssocID="{998AB7FB-949C-4312-934D-C6884872222B}" presName="parentText" presStyleLbl="node1" presStyleIdx="5" presStyleCnt="6">
        <dgm:presLayoutVars>
          <dgm:chMax val="0"/>
          <dgm:bulletEnabled val="1"/>
        </dgm:presLayoutVars>
      </dgm:prSet>
      <dgm:spPr/>
    </dgm:pt>
  </dgm:ptLst>
  <dgm:cxnLst>
    <dgm:cxn modelId="{6F611003-E09D-4D7B-9C86-858683CFC437}" type="presOf" srcId="{F759F95B-F0C7-4CB5-A2E4-6A1BE68742EB}" destId="{4FF0E93A-EE92-4877-BDD5-2C9A329F8D4C}" srcOrd="0" destOrd="0" presId="urn:microsoft.com/office/officeart/2005/8/layout/vList2"/>
    <dgm:cxn modelId="{ED410E05-C5EB-43F8-923A-E525052D0BB7}" srcId="{726F8551-BBB2-4B53-8689-FCE8BA15D8FE}" destId="{0AA92178-B943-472D-B847-04A446594D6D}" srcOrd="3" destOrd="0" parTransId="{9F105EAA-F6D2-46AF-8A68-82DF291BDCF5}" sibTransId="{DEAB4FD0-B690-4311-80C2-1CDD2C211F7F}"/>
    <dgm:cxn modelId="{ABD1921E-8B8E-45FD-8ED7-8C9AB74164AB}" type="presOf" srcId="{A38EF79F-9C21-4000-B914-B7AF27F9159C}" destId="{2EFB0852-C8C0-41EF-A670-4631E19D4666}" srcOrd="0" destOrd="0" presId="urn:microsoft.com/office/officeart/2005/8/layout/vList2"/>
    <dgm:cxn modelId="{04DDDC41-E594-4205-8951-77052B35DCE6}" srcId="{726F8551-BBB2-4B53-8689-FCE8BA15D8FE}" destId="{A38EF79F-9C21-4000-B914-B7AF27F9159C}" srcOrd="0" destOrd="0" parTransId="{9608DF3B-1A36-418B-950D-2FF66ECCB1E0}" sibTransId="{CE115458-3F91-4BC4-B304-4D06A0A2023B}"/>
    <dgm:cxn modelId="{4054886E-7E7B-4469-965C-34F8F9D53AE7}" type="presOf" srcId="{998AB7FB-949C-4312-934D-C6884872222B}" destId="{DF3F32AA-A900-43D6-B269-510E87493361}" srcOrd="0" destOrd="0" presId="urn:microsoft.com/office/officeart/2005/8/layout/vList2"/>
    <dgm:cxn modelId="{BD2B6E7E-354B-4820-94DB-5D76BF97A94A}" srcId="{726F8551-BBB2-4B53-8689-FCE8BA15D8FE}" destId="{0A6B4C4F-AC70-41DB-864E-829E3DB63D4D}" srcOrd="1" destOrd="0" parTransId="{23267E6C-AFC7-41BD-8F24-BCB63AB50446}" sibTransId="{EAC21C90-D2D3-4653-B61B-7F80D085B695}"/>
    <dgm:cxn modelId="{FF8B8886-6687-42B1-90A3-6DEC8D1B9CB4}" srcId="{726F8551-BBB2-4B53-8689-FCE8BA15D8FE}" destId="{998AB7FB-949C-4312-934D-C6884872222B}" srcOrd="5" destOrd="0" parTransId="{350ED429-0A4B-406C-8BFC-CF0DCC5D6DF4}" sibTransId="{B4CCDBD2-48E4-437C-A51A-D8DBB239B38B}"/>
    <dgm:cxn modelId="{D6D1BF88-6C4E-43BF-8834-3130A0668233}" type="presOf" srcId="{0AA92178-B943-472D-B847-04A446594D6D}" destId="{45C8ECF9-B0D8-444C-AA2A-8938EBFE0562}" srcOrd="0" destOrd="0" presId="urn:microsoft.com/office/officeart/2005/8/layout/vList2"/>
    <dgm:cxn modelId="{6B11ADA1-5961-4D20-931D-6023A7CA966E}" srcId="{726F8551-BBB2-4B53-8689-FCE8BA15D8FE}" destId="{4FDECC04-849E-4688-9727-53F86DE0203C}" srcOrd="4" destOrd="0" parTransId="{23A7A82E-C624-4E10-860B-8E7B1107CE71}" sibTransId="{2BC39B67-CDC5-47E7-A39D-E4DF5996BA1B}"/>
    <dgm:cxn modelId="{CD66F2AE-3BDD-4078-851E-85B382DC5ED7}" type="presOf" srcId="{4FDECC04-849E-4688-9727-53F86DE0203C}" destId="{249B9357-27B7-48FA-9693-A4E8A251272B}" srcOrd="0" destOrd="0" presId="urn:microsoft.com/office/officeart/2005/8/layout/vList2"/>
    <dgm:cxn modelId="{737704B0-0368-4046-BC05-84C90F374585}" srcId="{726F8551-BBB2-4B53-8689-FCE8BA15D8FE}" destId="{F759F95B-F0C7-4CB5-A2E4-6A1BE68742EB}" srcOrd="2" destOrd="0" parTransId="{F6860377-49AF-458A-B71C-C50E80BFD9F4}" sibTransId="{222BE4B3-D96B-4FA9-9C41-2B4D93E2C5C0}"/>
    <dgm:cxn modelId="{264F5ED0-D027-4D72-B52E-008C968F79CA}" type="presOf" srcId="{0A6B4C4F-AC70-41DB-864E-829E3DB63D4D}" destId="{8DCDF152-3662-49F3-979F-AC2B108F8F75}" srcOrd="0" destOrd="0" presId="urn:microsoft.com/office/officeart/2005/8/layout/vList2"/>
    <dgm:cxn modelId="{5C4F78FD-739D-4369-860D-2C6241774966}" type="presOf" srcId="{726F8551-BBB2-4B53-8689-FCE8BA15D8FE}" destId="{4F9ADC3E-6351-4F5C-B41D-3514FDA574F3}" srcOrd="0" destOrd="0" presId="urn:microsoft.com/office/officeart/2005/8/layout/vList2"/>
    <dgm:cxn modelId="{89A3244C-B2FD-4563-9CED-6715E7E7A767}" type="presParOf" srcId="{4F9ADC3E-6351-4F5C-B41D-3514FDA574F3}" destId="{2EFB0852-C8C0-41EF-A670-4631E19D4666}" srcOrd="0" destOrd="0" presId="urn:microsoft.com/office/officeart/2005/8/layout/vList2"/>
    <dgm:cxn modelId="{6401BAFB-E1E1-42CF-BDEC-FA21ACBF9CF5}" type="presParOf" srcId="{4F9ADC3E-6351-4F5C-B41D-3514FDA574F3}" destId="{23CA2FF5-CF73-46E0-B400-9A0B00B4B860}" srcOrd="1" destOrd="0" presId="urn:microsoft.com/office/officeart/2005/8/layout/vList2"/>
    <dgm:cxn modelId="{256A35D2-141C-4D89-879A-DC5811255D18}" type="presParOf" srcId="{4F9ADC3E-6351-4F5C-B41D-3514FDA574F3}" destId="{8DCDF152-3662-49F3-979F-AC2B108F8F75}" srcOrd="2" destOrd="0" presId="urn:microsoft.com/office/officeart/2005/8/layout/vList2"/>
    <dgm:cxn modelId="{0F6A7630-477B-4A83-ACFB-061BA07E872C}" type="presParOf" srcId="{4F9ADC3E-6351-4F5C-B41D-3514FDA574F3}" destId="{5B558029-D43F-4521-BBC1-1006CCEB4823}" srcOrd="3" destOrd="0" presId="urn:microsoft.com/office/officeart/2005/8/layout/vList2"/>
    <dgm:cxn modelId="{3212F8C5-FC53-4A74-9B4C-0E605EC8EFE1}" type="presParOf" srcId="{4F9ADC3E-6351-4F5C-B41D-3514FDA574F3}" destId="{4FF0E93A-EE92-4877-BDD5-2C9A329F8D4C}" srcOrd="4" destOrd="0" presId="urn:microsoft.com/office/officeart/2005/8/layout/vList2"/>
    <dgm:cxn modelId="{346A9BAA-B412-4784-A381-A29B3165E488}" type="presParOf" srcId="{4F9ADC3E-6351-4F5C-B41D-3514FDA574F3}" destId="{3C12E28C-219C-46F6-A5FA-9F22E5E53BFC}" srcOrd="5" destOrd="0" presId="urn:microsoft.com/office/officeart/2005/8/layout/vList2"/>
    <dgm:cxn modelId="{BC59105E-D07F-4FE3-82CB-3F67A296385B}" type="presParOf" srcId="{4F9ADC3E-6351-4F5C-B41D-3514FDA574F3}" destId="{45C8ECF9-B0D8-444C-AA2A-8938EBFE0562}" srcOrd="6" destOrd="0" presId="urn:microsoft.com/office/officeart/2005/8/layout/vList2"/>
    <dgm:cxn modelId="{06F0EB04-A4B9-47A9-AB95-6214FE809187}" type="presParOf" srcId="{4F9ADC3E-6351-4F5C-B41D-3514FDA574F3}" destId="{773A205E-6E0D-45B6-9792-536FDD0F3406}" srcOrd="7" destOrd="0" presId="urn:microsoft.com/office/officeart/2005/8/layout/vList2"/>
    <dgm:cxn modelId="{C6DD162A-AEEB-4001-8F58-24FA5F7C5E4D}" type="presParOf" srcId="{4F9ADC3E-6351-4F5C-B41D-3514FDA574F3}" destId="{249B9357-27B7-48FA-9693-A4E8A251272B}" srcOrd="8" destOrd="0" presId="urn:microsoft.com/office/officeart/2005/8/layout/vList2"/>
    <dgm:cxn modelId="{317C08D5-B774-4E50-AF8B-57DE86527698}" type="presParOf" srcId="{4F9ADC3E-6351-4F5C-B41D-3514FDA574F3}" destId="{B8A29393-44B0-407A-8921-892EC428E40D}" srcOrd="9" destOrd="0" presId="urn:microsoft.com/office/officeart/2005/8/layout/vList2"/>
    <dgm:cxn modelId="{740BD7DE-854A-4F85-A69B-95F57EA6ECE7}" type="presParOf" srcId="{4F9ADC3E-6351-4F5C-B41D-3514FDA574F3}" destId="{DF3F32AA-A900-43D6-B269-510E87493361}"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0E1BC427-AF15-4662-82B3-FCB76E3ED830}"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426485C0-53C5-4237-8779-570F52CF4475}">
      <dgm:prSet custT="1"/>
      <dgm:spPr/>
      <dgm:t>
        <a:bodyPr/>
        <a:lstStyle/>
        <a:p>
          <a:r>
            <a:rPr lang="en-US" sz="2400" baseline="0" dirty="0"/>
            <a:t>Failover group</a:t>
          </a:r>
          <a:endParaRPr lang="en-US" sz="2400" dirty="0"/>
        </a:p>
      </dgm:t>
    </dgm:pt>
    <dgm:pt modelId="{5E8449F2-F1AB-44B9-8C23-A6740A054D6A}" type="parTrans" cxnId="{478916A7-E07B-4B33-A7BC-4880B4A273DA}">
      <dgm:prSet/>
      <dgm:spPr/>
      <dgm:t>
        <a:bodyPr/>
        <a:lstStyle/>
        <a:p>
          <a:endParaRPr lang="en-US"/>
        </a:p>
      </dgm:t>
    </dgm:pt>
    <dgm:pt modelId="{5C1D77B8-4677-4179-BE31-E09F19B3D262}" type="sibTrans" cxnId="{478916A7-E07B-4B33-A7BC-4880B4A273DA}">
      <dgm:prSet/>
      <dgm:spPr/>
      <dgm:t>
        <a:bodyPr/>
        <a:lstStyle/>
        <a:p>
          <a:endParaRPr lang="en-US"/>
        </a:p>
      </dgm:t>
    </dgm:pt>
    <dgm:pt modelId="{E54EA78C-1D57-4306-AC87-66D24D61D400}">
      <dgm:prSet custT="1"/>
      <dgm:spPr/>
      <dgm:t>
        <a:bodyPr/>
        <a:lstStyle/>
        <a:p>
          <a:r>
            <a:rPr lang="en-US" sz="2400" baseline="0" dirty="0"/>
            <a:t>Failover group listener</a:t>
          </a:r>
          <a:endParaRPr lang="en-US" sz="2400" dirty="0"/>
        </a:p>
      </dgm:t>
    </dgm:pt>
    <dgm:pt modelId="{35B9B1F8-252E-48CA-B18A-ACECCF90441C}" type="parTrans" cxnId="{01041014-C04D-4B8F-8F92-8D94CF9AB0F9}">
      <dgm:prSet/>
      <dgm:spPr/>
      <dgm:t>
        <a:bodyPr/>
        <a:lstStyle/>
        <a:p>
          <a:endParaRPr lang="en-US"/>
        </a:p>
      </dgm:t>
    </dgm:pt>
    <dgm:pt modelId="{E592F89E-FDE2-4944-B844-F7576094DF7D}" type="sibTrans" cxnId="{01041014-C04D-4B8F-8F92-8D94CF9AB0F9}">
      <dgm:prSet/>
      <dgm:spPr/>
      <dgm:t>
        <a:bodyPr/>
        <a:lstStyle/>
        <a:p>
          <a:endParaRPr lang="en-US"/>
        </a:p>
      </dgm:t>
    </dgm:pt>
    <dgm:pt modelId="{D245C225-BD21-47FA-80DA-8B9EDA98D846}">
      <dgm:prSet custT="1"/>
      <dgm:spPr/>
      <dgm:t>
        <a:bodyPr/>
        <a:lstStyle/>
        <a:p>
          <a:r>
            <a:rPr lang="en-US" sz="2400" baseline="0" dirty="0"/>
            <a:t>Automatic Failover Policy</a:t>
          </a:r>
          <a:endParaRPr lang="en-US" sz="2400" dirty="0"/>
        </a:p>
      </dgm:t>
    </dgm:pt>
    <dgm:pt modelId="{14A32855-443A-45B4-8CB3-86579A468F8D}" type="parTrans" cxnId="{BFF2D1B7-F8B4-485A-970B-C00957370B3C}">
      <dgm:prSet/>
      <dgm:spPr/>
      <dgm:t>
        <a:bodyPr/>
        <a:lstStyle/>
        <a:p>
          <a:endParaRPr lang="en-US"/>
        </a:p>
      </dgm:t>
    </dgm:pt>
    <dgm:pt modelId="{8451ED4A-B770-407C-9EFB-4853898E9F45}" type="sibTrans" cxnId="{BFF2D1B7-F8B4-485A-970B-C00957370B3C}">
      <dgm:prSet/>
      <dgm:spPr/>
      <dgm:t>
        <a:bodyPr/>
        <a:lstStyle/>
        <a:p>
          <a:endParaRPr lang="en-US"/>
        </a:p>
      </dgm:t>
    </dgm:pt>
    <dgm:pt modelId="{E897490D-7F97-4893-A8A1-1E0B298A23CD}">
      <dgm:prSet custT="1"/>
      <dgm:spPr/>
      <dgm:t>
        <a:bodyPr/>
        <a:lstStyle/>
        <a:p>
          <a:r>
            <a:rPr lang="en-US" sz="2400" baseline="0" dirty="0"/>
            <a:t>Grace Period with Data Loss</a:t>
          </a:r>
          <a:endParaRPr lang="en-US" sz="2400" dirty="0"/>
        </a:p>
      </dgm:t>
    </dgm:pt>
    <dgm:pt modelId="{4CC95970-8AD0-449A-A34E-FDDFCB76840B}" type="parTrans" cxnId="{376F7EC7-60CB-45C5-A233-ABD9C0A05714}">
      <dgm:prSet/>
      <dgm:spPr/>
      <dgm:t>
        <a:bodyPr/>
        <a:lstStyle/>
        <a:p>
          <a:endParaRPr lang="en-US"/>
        </a:p>
      </dgm:t>
    </dgm:pt>
    <dgm:pt modelId="{B5B4ECC0-AA61-4585-80B6-3640D86D4CEF}" type="sibTrans" cxnId="{376F7EC7-60CB-45C5-A233-ABD9C0A05714}">
      <dgm:prSet/>
      <dgm:spPr/>
      <dgm:t>
        <a:bodyPr/>
        <a:lstStyle/>
        <a:p>
          <a:endParaRPr lang="en-US"/>
        </a:p>
      </dgm:t>
    </dgm:pt>
    <dgm:pt modelId="{C60D8DE6-7689-4FEC-BDBC-CD32942513D4}" type="pres">
      <dgm:prSet presAssocID="{0E1BC427-AF15-4662-82B3-FCB76E3ED830}" presName="diagram" presStyleCnt="0">
        <dgm:presLayoutVars>
          <dgm:dir/>
          <dgm:resizeHandles val="exact"/>
        </dgm:presLayoutVars>
      </dgm:prSet>
      <dgm:spPr/>
    </dgm:pt>
    <dgm:pt modelId="{CF952B91-7B4D-4320-92EE-02C9A208A700}" type="pres">
      <dgm:prSet presAssocID="{426485C0-53C5-4237-8779-570F52CF4475}" presName="node" presStyleLbl="node1" presStyleIdx="0" presStyleCnt="4">
        <dgm:presLayoutVars>
          <dgm:bulletEnabled val="1"/>
        </dgm:presLayoutVars>
      </dgm:prSet>
      <dgm:spPr/>
    </dgm:pt>
    <dgm:pt modelId="{2167EE2B-670A-4B75-9B69-641A75678FAD}" type="pres">
      <dgm:prSet presAssocID="{5C1D77B8-4677-4179-BE31-E09F19B3D262}" presName="sibTrans" presStyleCnt="0"/>
      <dgm:spPr/>
    </dgm:pt>
    <dgm:pt modelId="{ADBA2CE2-5D8E-4D42-95B4-19EDC9EEC7FC}" type="pres">
      <dgm:prSet presAssocID="{E54EA78C-1D57-4306-AC87-66D24D61D400}" presName="node" presStyleLbl="node1" presStyleIdx="1" presStyleCnt="4">
        <dgm:presLayoutVars>
          <dgm:bulletEnabled val="1"/>
        </dgm:presLayoutVars>
      </dgm:prSet>
      <dgm:spPr/>
    </dgm:pt>
    <dgm:pt modelId="{F3954F16-61ED-42AE-8B91-D876E0B043B8}" type="pres">
      <dgm:prSet presAssocID="{E592F89E-FDE2-4944-B844-F7576094DF7D}" presName="sibTrans" presStyleCnt="0"/>
      <dgm:spPr/>
    </dgm:pt>
    <dgm:pt modelId="{CC5709CB-00C7-4312-8BAA-DF6B701FD901}" type="pres">
      <dgm:prSet presAssocID="{D245C225-BD21-47FA-80DA-8B9EDA98D846}" presName="node" presStyleLbl="node1" presStyleIdx="2" presStyleCnt="4">
        <dgm:presLayoutVars>
          <dgm:bulletEnabled val="1"/>
        </dgm:presLayoutVars>
      </dgm:prSet>
      <dgm:spPr/>
    </dgm:pt>
    <dgm:pt modelId="{367B43AD-788C-467E-867B-1F39B8794F8C}" type="pres">
      <dgm:prSet presAssocID="{8451ED4A-B770-407C-9EFB-4853898E9F45}" presName="sibTrans" presStyleCnt="0"/>
      <dgm:spPr/>
    </dgm:pt>
    <dgm:pt modelId="{F33AE7D5-3463-4657-A4BD-D19D09E3FB84}" type="pres">
      <dgm:prSet presAssocID="{E897490D-7F97-4893-A8A1-1E0B298A23CD}" presName="node" presStyleLbl="node1" presStyleIdx="3" presStyleCnt="4">
        <dgm:presLayoutVars>
          <dgm:bulletEnabled val="1"/>
        </dgm:presLayoutVars>
      </dgm:prSet>
      <dgm:spPr/>
    </dgm:pt>
  </dgm:ptLst>
  <dgm:cxnLst>
    <dgm:cxn modelId="{01041014-C04D-4B8F-8F92-8D94CF9AB0F9}" srcId="{0E1BC427-AF15-4662-82B3-FCB76E3ED830}" destId="{E54EA78C-1D57-4306-AC87-66D24D61D400}" srcOrd="1" destOrd="0" parTransId="{35B9B1F8-252E-48CA-B18A-ACECCF90441C}" sibTransId="{E592F89E-FDE2-4944-B844-F7576094DF7D}"/>
    <dgm:cxn modelId="{B37C6F1F-0C1A-49EB-A269-5ACBC84F7A01}" type="presOf" srcId="{E54EA78C-1D57-4306-AC87-66D24D61D400}" destId="{ADBA2CE2-5D8E-4D42-95B4-19EDC9EEC7FC}" srcOrd="0" destOrd="0" presId="urn:microsoft.com/office/officeart/2005/8/layout/default"/>
    <dgm:cxn modelId="{B8336D5D-1EE2-46D6-B211-FDE692DC4ACA}" type="presOf" srcId="{426485C0-53C5-4237-8779-570F52CF4475}" destId="{CF952B91-7B4D-4320-92EE-02C9A208A700}" srcOrd="0" destOrd="0" presId="urn:microsoft.com/office/officeart/2005/8/layout/default"/>
    <dgm:cxn modelId="{9168AE52-3313-434B-A73A-E9519B626B74}" type="presOf" srcId="{E897490D-7F97-4893-A8A1-1E0B298A23CD}" destId="{F33AE7D5-3463-4657-A4BD-D19D09E3FB84}" srcOrd="0" destOrd="0" presId="urn:microsoft.com/office/officeart/2005/8/layout/default"/>
    <dgm:cxn modelId="{FBB2FC83-9324-48EB-9576-55AD39FB9586}" type="presOf" srcId="{0E1BC427-AF15-4662-82B3-FCB76E3ED830}" destId="{C60D8DE6-7689-4FEC-BDBC-CD32942513D4}" srcOrd="0" destOrd="0" presId="urn:microsoft.com/office/officeart/2005/8/layout/default"/>
    <dgm:cxn modelId="{478916A7-E07B-4B33-A7BC-4880B4A273DA}" srcId="{0E1BC427-AF15-4662-82B3-FCB76E3ED830}" destId="{426485C0-53C5-4237-8779-570F52CF4475}" srcOrd="0" destOrd="0" parTransId="{5E8449F2-F1AB-44B9-8C23-A6740A054D6A}" sibTransId="{5C1D77B8-4677-4179-BE31-E09F19B3D262}"/>
    <dgm:cxn modelId="{BFF2D1B7-F8B4-485A-970B-C00957370B3C}" srcId="{0E1BC427-AF15-4662-82B3-FCB76E3ED830}" destId="{D245C225-BD21-47FA-80DA-8B9EDA98D846}" srcOrd="2" destOrd="0" parTransId="{14A32855-443A-45B4-8CB3-86579A468F8D}" sibTransId="{8451ED4A-B770-407C-9EFB-4853898E9F45}"/>
    <dgm:cxn modelId="{376F7EC7-60CB-45C5-A233-ABD9C0A05714}" srcId="{0E1BC427-AF15-4662-82B3-FCB76E3ED830}" destId="{E897490D-7F97-4893-A8A1-1E0B298A23CD}" srcOrd="3" destOrd="0" parTransId="{4CC95970-8AD0-449A-A34E-FDDFCB76840B}" sibTransId="{B5B4ECC0-AA61-4585-80B6-3640D86D4CEF}"/>
    <dgm:cxn modelId="{E777A0FC-03B3-4136-BDBB-D7DEEA1CE873}" type="presOf" srcId="{D245C225-BD21-47FA-80DA-8B9EDA98D846}" destId="{CC5709CB-00C7-4312-8BAA-DF6B701FD901}" srcOrd="0" destOrd="0" presId="urn:microsoft.com/office/officeart/2005/8/layout/default"/>
    <dgm:cxn modelId="{E924F0E2-DFC9-4D2E-AAFB-A337731BE76A}" type="presParOf" srcId="{C60D8DE6-7689-4FEC-BDBC-CD32942513D4}" destId="{CF952B91-7B4D-4320-92EE-02C9A208A700}" srcOrd="0" destOrd="0" presId="urn:microsoft.com/office/officeart/2005/8/layout/default"/>
    <dgm:cxn modelId="{AFA53BB5-EAE5-4B8E-ABD0-E1B1CD37A918}" type="presParOf" srcId="{C60D8DE6-7689-4FEC-BDBC-CD32942513D4}" destId="{2167EE2B-670A-4B75-9B69-641A75678FAD}" srcOrd="1" destOrd="0" presId="urn:microsoft.com/office/officeart/2005/8/layout/default"/>
    <dgm:cxn modelId="{1598F652-E192-4E6F-84AA-18B23690C597}" type="presParOf" srcId="{C60D8DE6-7689-4FEC-BDBC-CD32942513D4}" destId="{ADBA2CE2-5D8E-4D42-95B4-19EDC9EEC7FC}" srcOrd="2" destOrd="0" presId="urn:microsoft.com/office/officeart/2005/8/layout/default"/>
    <dgm:cxn modelId="{E066B956-2A60-4E05-9CDF-2DD78A74411E}" type="presParOf" srcId="{C60D8DE6-7689-4FEC-BDBC-CD32942513D4}" destId="{F3954F16-61ED-42AE-8B91-D876E0B043B8}" srcOrd="3" destOrd="0" presId="urn:microsoft.com/office/officeart/2005/8/layout/default"/>
    <dgm:cxn modelId="{0EBC3D98-4EF8-4C69-B6F0-AA0909352866}" type="presParOf" srcId="{C60D8DE6-7689-4FEC-BDBC-CD32942513D4}" destId="{CC5709CB-00C7-4312-8BAA-DF6B701FD901}" srcOrd="4" destOrd="0" presId="urn:microsoft.com/office/officeart/2005/8/layout/default"/>
    <dgm:cxn modelId="{08FEF4B6-ACEB-49DA-B465-1902652CB7C2}" type="presParOf" srcId="{C60D8DE6-7689-4FEC-BDBC-CD32942513D4}" destId="{367B43AD-788C-467E-867B-1F39B8794F8C}" srcOrd="5" destOrd="0" presId="urn:microsoft.com/office/officeart/2005/8/layout/default"/>
    <dgm:cxn modelId="{D7E996DA-BA6F-4DCB-8F1C-1626FA7DBB3C}" type="presParOf" srcId="{C60D8DE6-7689-4FEC-BDBC-CD32942513D4}" destId="{F33AE7D5-3463-4657-A4BD-D19D09E3FB84}"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6C90DB-5AE1-4682-84B6-A5BE563EBBA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D6C9E9D-17A6-44E1-B085-842F94C7C315}">
      <dgm:prSet custT="1"/>
      <dgm:spPr/>
      <dgm:t>
        <a:bodyPr/>
        <a:lstStyle/>
        <a:p>
          <a:r>
            <a:rPr lang="en-US" sz="2400" baseline="0" dirty="0"/>
            <a:t>Remote storage configurations are used for Basic, Standard or General-Purpose tiers </a:t>
          </a:r>
          <a:endParaRPr lang="en-US" sz="2400" dirty="0"/>
        </a:p>
      </dgm:t>
    </dgm:pt>
    <dgm:pt modelId="{9409CBB0-CB90-41D2-83D8-CF81E8401C11}" type="parTrans" cxnId="{F1078BB5-7598-47CA-A296-FB7271EA495A}">
      <dgm:prSet/>
      <dgm:spPr/>
      <dgm:t>
        <a:bodyPr/>
        <a:lstStyle/>
        <a:p>
          <a:endParaRPr lang="en-US"/>
        </a:p>
      </dgm:t>
    </dgm:pt>
    <dgm:pt modelId="{2E6E3FFA-EC8B-4EDE-A2EB-4B19DE2C5CC9}" type="sibTrans" cxnId="{F1078BB5-7598-47CA-A296-FB7271EA495A}">
      <dgm:prSet/>
      <dgm:spPr/>
      <dgm:t>
        <a:bodyPr/>
        <a:lstStyle/>
        <a:p>
          <a:endParaRPr lang="en-US"/>
        </a:p>
      </dgm:t>
    </dgm:pt>
    <dgm:pt modelId="{1ECD0122-C711-442B-BB24-338A5C3FEA17}">
      <dgm:prSet custT="1"/>
      <dgm:spPr/>
      <dgm:t>
        <a:bodyPr/>
        <a:lstStyle/>
        <a:p>
          <a:r>
            <a:rPr lang="en-US" sz="2400" b="0" i="0" dirty="0"/>
            <a:t>The Basic, Standard, and General-Purpose service tiers leverage the standard availability architecture for both serverless and provisioned compute.</a:t>
          </a:r>
          <a:endParaRPr lang="en-US" sz="2400" dirty="0"/>
        </a:p>
      </dgm:t>
    </dgm:pt>
    <dgm:pt modelId="{9E9517F4-2236-440E-9F61-7AE3E4183CF1}" type="parTrans" cxnId="{44A4EB08-76E9-4C79-9374-DE26B453A79F}">
      <dgm:prSet/>
      <dgm:spPr/>
      <dgm:t>
        <a:bodyPr/>
        <a:lstStyle/>
        <a:p>
          <a:endParaRPr lang="en-US"/>
        </a:p>
      </dgm:t>
    </dgm:pt>
    <dgm:pt modelId="{465E747E-60D8-48F7-9E78-F50AB474B6BB}" type="sibTrans" cxnId="{44A4EB08-76E9-4C79-9374-DE26B453A79F}">
      <dgm:prSet/>
      <dgm:spPr/>
      <dgm:t>
        <a:bodyPr/>
        <a:lstStyle/>
        <a:p>
          <a:endParaRPr lang="en-US"/>
        </a:p>
      </dgm:t>
    </dgm:pt>
    <dgm:pt modelId="{5A7B7A96-A49B-4C9D-8066-5B0BE99D0B28}" type="pres">
      <dgm:prSet presAssocID="{676C90DB-5AE1-4682-84B6-A5BE563EBBA2}" presName="linear" presStyleCnt="0">
        <dgm:presLayoutVars>
          <dgm:animLvl val="lvl"/>
          <dgm:resizeHandles val="exact"/>
        </dgm:presLayoutVars>
      </dgm:prSet>
      <dgm:spPr/>
    </dgm:pt>
    <dgm:pt modelId="{420EDE85-7BB9-4860-8F7B-C631049EEDFF}" type="pres">
      <dgm:prSet presAssocID="{1ECD0122-C711-442B-BB24-338A5C3FEA17}" presName="parentText" presStyleLbl="node1" presStyleIdx="0" presStyleCnt="2">
        <dgm:presLayoutVars>
          <dgm:chMax val="0"/>
          <dgm:bulletEnabled val="1"/>
        </dgm:presLayoutVars>
      </dgm:prSet>
      <dgm:spPr/>
    </dgm:pt>
    <dgm:pt modelId="{5CD504B0-F889-43DA-816E-CBB4591A3E6D}" type="pres">
      <dgm:prSet presAssocID="{465E747E-60D8-48F7-9E78-F50AB474B6BB}" presName="spacer" presStyleCnt="0"/>
      <dgm:spPr/>
    </dgm:pt>
    <dgm:pt modelId="{6F140564-8F93-493C-95C5-08B67E63D302}" type="pres">
      <dgm:prSet presAssocID="{6D6C9E9D-17A6-44E1-B085-842F94C7C315}" presName="parentText" presStyleLbl="node1" presStyleIdx="1" presStyleCnt="2">
        <dgm:presLayoutVars>
          <dgm:chMax val="0"/>
          <dgm:bulletEnabled val="1"/>
        </dgm:presLayoutVars>
      </dgm:prSet>
      <dgm:spPr/>
    </dgm:pt>
  </dgm:ptLst>
  <dgm:cxnLst>
    <dgm:cxn modelId="{44A4EB08-76E9-4C79-9374-DE26B453A79F}" srcId="{676C90DB-5AE1-4682-84B6-A5BE563EBBA2}" destId="{1ECD0122-C711-442B-BB24-338A5C3FEA17}" srcOrd="0" destOrd="0" parTransId="{9E9517F4-2236-440E-9F61-7AE3E4183CF1}" sibTransId="{465E747E-60D8-48F7-9E78-F50AB474B6BB}"/>
    <dgm:cxn modelId="{02B40610-908D-4A2B-A66E-B7543FF14FF5}" type="presOf" srcId="{1ECD0122-C711-442B-BB24-338A5C3FEA17}" destId="{420EDE85-7BB9-4860-8F7B-C631049EEDFF}" srcOrd="0" destOrd="0" presId="urn:microsoft.com/office/officeart/2005/8/layout/vList2"/>
    <dgm:cxn modelId="{8A152F41-C385-4020-886F-DF5B4D87998E}" type="presOf" srcId="{6D6C9E9D-17A6-44E1-B085-842F94C7C315}" destId="{6F140564-8F93-493C-95C5-08B67E63D302}" srcOrd="0" destOrd="0" presId="urn:microsoft.com/office/officeart/2005/8/layout/vList2"/>
    <dgm:cxn modelId="{F1078BB5-7598-47CA-A296-FB7271EA495A}" srcId="{676C90DB-5AE1-4682-84B6-A5BE563EBBA2}" destId="{6D6C9E9D-17A6-44E1-B085-842F94C7C315}" srcOrd="1" destOrd="0" parTransId="{9409CBB0-CB90-41D2-83D8-CF81E8401C11}" sibTransId="{2E6E3FFA-EC8B-4EDE-A2EB-4B19DE2C5CC9}"/>
    <dgm:cxn modelId="{A49628E0-4862-466E-A869-057667A91120}" type="presOf" srcId="{676C90DB-5AE1-4682-84B6-A5BE563EBBA2}" destId="{5A7B7A96-A49B-4C9D-8066-5B0BE99D0B28}" srcOrd="0" destOrd="0" presId="urn:microsoft.com/office/officeart/2005/8/layout/vList2"/>
    <dgm:cxn modelId="{6AF40BE9-E2A6-44DF-8EAE-DB2BCD6E1FAE}" type="presParOf" srcId="{5A7B7A96-A49B-4C9D-8066-5B0BE99D0B28}" destId="{420EDE85-7BB9-4860-8F7B-C631049EEDFF}" srcOrd="0" destOrd="0" presId="urn:microsoft.com/office/officeart/2005/8/layout/vList2"/>
    <dgm:cxn modelId="{B1A99E82-6AE7-4A84-8383-91FCDC575396}" type="presParOf" srcId="{5A7B7A96-A49B-4C9D-8066-5B0BE99D0B28}" destId="{5CD504B0-F889-43DA-816E-CBB4591A3E6D}" srcOrd="1" destOrd="0" presId="urn:microsoft.com/office/officeart/2005/8/layout/vList2"/>
    <dgm:cxn modelId="{896DCE4B-0086-4057-858D-4B664EAB5AED}" type="presParOf" srcId="{5A7B7A96-A49B-4C9D-8066-5B0BE99D0B28}" destId="{6F140564-8F93-493C-95C5-08B67E63D302}"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8F6E7947-EC02-4CC4-A7A7-A795F595D374}"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908DAEE7-A813-433F-B8D8-254C089FE19E}">
      <dgm:prSet custT="1"/>
      <dgm:spPr/>
      <dgm:t>
        <a:bodyPr/>
        <a:lstStyle/>
        <a:p>
          <a:r>
            <a:rPr lang="en-US" sz="2400" baseline="0" dirty="0"/>
            <a:t>A new SQL database engine feature that greatly improves database availability, especially in the presence of long running transactions, by redesigning the SQL database engine recovery process.</a:t>
          </a:r>
          <a:endParaRPr lang="en-US" sz="2400" dirty="0"/>
        </a:p>
      </dgm:t>
    </dgm:pt>
    <dgm:pt modelId="{9A699437-3696-407D-98CE-1AF93A8C9024}" type="parTrans" cxnId="{51671846-FCD5-41F4-A680-20003D894A29}">
      <dgm:prSet/>
      <dgm:spPr/>
      <dgm:t>
        <a:bodyPr/>
        <a:lstStyle/>
        <a:p>
          <a:endParaRPr lang="en-US"/>
        </a:p>
      </dgm:t>
    </dgm:pt>
    <dgm:pt modelId="{B3839DE0-D8EC-4BC6-81C0-E9CFEA2121C5}" type="sibTrans" cxnId="{51671846-FCD5-41F4-A680-20003D894A29}">
      <dgm:prSet/>
      <dgm:spPr/>
      <dgm:t>
        <a:bodyPr/>
        <a:lstStyle/>
        <a:p>
          <a:endParaRPr lang="en-US"/>
        </a:p>
      </dgm:t>
    </dgm:pt>
    <dgm:pt modelId="{7B02DD2A-1D73-4D70-A7BA-A5F1C905E342}">
      <dgm:prSet custT="1"/>
      <dgm:spPr/>
      <dgm:t>
        <a:bodyPr/>
        <a:lstStyle/>
        <a:p>
          <a:r>
            <a:rPr lang="en-US" sz="2400" baseline="0" dirty="0"/>
            <a:t>The primary benefits of ADR are:</a:t>
          </a:r>
          <a:endParaRPr lang="en-US" sz="2400" dirty="0"/>
        </a:p>
      </dgm:t>
    </dgm:pt>
    <dgm:pt modelId="{657EA262-F93F-40A5-81CE-D7C8AADB3D67}" type="parTrans" cxnId="{010258D5-51A8-4F1E-A966-A1FE2C553D96}">
      <dgm:prSet/>
      <dgm:spPr/>
      <dgm:t>
        <a:bodyPr/>
        <a:lstStyle/>
        <a:p>
          <a:endParaRPr lang="en-US"/>
        </a:p>
      </dgm:t>
    </dgm:pt>
    <dgm:pt modelId="{2F8851BA-F248-4790-B45F-671CF3123495}" type="sibTrans" cxnId="{010258D5-51A8-4F1E-A966-A1FE2C553D96}">
      <dgm:prSet/>
      <dgm:spPr/>
      <dgm:t>
        <a:bodyPr/>
        <a:lstStyle/>
        <a:p>
          <a:endParaRPr lang="en-US"/>
        </a:p>
      </dgm:t>
    </dgm:pt>
    <dgm:pt modelId="{55CF58EC-52F3-4632-AF60-4E04085C6BD1}">
      <dgm:prSet custT="1"/>
      <dgm:spPr/>
      <dgm:t>
        <a:bodyPr/>
        <a:lstStyle/>
        <a:p>
          <a:r>
            <a:rPr lang="en-US" sz="2400" baseline="0" dirty="0"/>
            <a:t>Fast and consistent database recovery.</a:t>
          </a:r>
          <a:endParaRPr lang="en-US" sz="2400" dirty="0"/>
        </a:p>
      </dgm:t>
    </dgm:pt>
    <dgm:pt modelId="{380DCF97-D2DB-4091-AA71-5D79FAC6DC93}" type="parTrans" cxnId="{EFB15950-B12A-4994-9B8F-B6C4D1D2B2A9}">
      <dgm:prSet/>
      <dgm:spPr/>
      <dgm:t>
        <a:bodyPr/>
        <a:lstStyle/>
        <a:p>
          <a:endParaRPr lang="en-US"/>
        </a:p>
      </dgm:t>
    </dgm:pt>
    <dgm:pt modelId="{29C33472-E320-4123-839F-00C7DD649B87}" type="sibTrans" cxnId="{EFB15950-B12A-4994-9B8F-B6C4D1D2B2A9}">
      <dgm:prSet/>
      <dgm:spPr/>
      <dgm:t>
        <a:bodyPr/>
        <a:lstStyle/>
        <a:p>
          <a:endParaRPr lang="en-US"/>
        </a:p>
      </dgm:t>
    </dgm:pt>
    <dgm:pt modelId="{7C8D4EFE-4632-41AD-8B03-C7815C3416DC}">
      <dgm:prSet custT="1"/>
      <dgm:spPr/>
      <dgm:t>
        <a:bodyPr/>
        <a:lstStyle/>
        <a:p>
          <a:r>
            <a:rPr lang="en-US" sz="2400" baseline="0" dirty="0"/>
            <a:t>Instantaneous transaction rollback.</a:t>
          </a:r>
          <a:endParaRPr lang="en-US" sz="2400" dirty="0"/>
        </a:p>
      </dgm:t>
    </dgm:pt>
    <dgm:pt modelId="{1DDAB5B9-AF06-47D2-A8F7-712B00A4A7BE}" type="parTrans" cxnId="{7A21F13F-4A5E-49BC-A891-27BD4374C41E}">
      <dgm:prSet/>
      <dgm:spPr/>
      <dgm:t>
        <a:bodyPr/>
        <a:lstStyle/>
        <a:p>
          <a:endParaRPr lang="en-US"/>
        </a:p>
      </dgm:t>
    </dgm:pt>
    <dgm:pt modelId="{D9A5EBCF-6AF8-4A3A-B53A-40E2948D3F5D}" type="sibTrans" cxnId="{7A21F13F-4A5E-49BC-A891-27BD4374C41E}">
      <dgm:prSet/>
      <dgm:spPr/>
      <dgm:t>
        <a:bodyPr/>
        <a:lstStyle/>
        <a:p>
          <a:endParaRPr lang="en-US"/>
        </a:p>
      </dgm:t>
    </dgm:pt>
    <dgm:pt modelId="{F5594579-F215-4F2C-8F74-52FDA645B3EC}">
      <dgm:prSet custT="1"/>
      <dgm:spPr/>
      <dgm:t>
        <a:bodyPr/>
        <a:lstStyle/>
        <a:p>
          <a:r>
            <a:rPr lang="en-US" sz="2400" baseline="0" dirty="0"/>
            <a:t>Truncation.</a:t>
          </a:r>
          <a:endParaRPr lang="en-US" sz="2400" dirty="0"/>
        </a:p>
      </dgm:t>
    </dgm:pt>
    <dgm:pt modelId="{74083ABC-2843-445C-83D6-83BA755FAEF6}" type="parTrans" cxnId="{2CA12F12-9AC7-45AE-B198-5141AEF7A703}">
      <dgm:prSet/>
      <dgm:spPr/>
      <dgm:t>
        <a:bodyPr/>
        <a:lstStyle/>
        <a:p>
          <a:endParaRPr lang="en-US"/>
        </a:p>
      </dgm:t>
    </dgm:pt>
    <dgm:pt modelId="{4653648A-942E-4812-A056-ABBBF9F92C52}" type="sibTrans" cxnId="{2CA12F12-9AC7-45AE-B198-5141AEF7A703}">
      <dgm:prSet/>
      <dgm:spPr/>
      <dgm:t>
        <a:bodyPr/>
        <a:lstStyle/>
        <a:p>
          <a:endParaRPr lang="en-US"/>
        </a:p>
      </dgm:t>
    </dgm:pt>
    <dgm:pt modelId="{96FF72B1-C69E-40A8-A9C0-62B5250E6845}" type="pres">
      <dgm:prSet presAssocID="{8F6E7947-EC02-4CC4-A7A7-A795F595D374}" presName="linear" presStyleCnt="0">
        <dgm:presLayoutVars>
          <dgm:animLvl val="lvl"/>
          <dgm:resizeHandles val="exact"/>
        </dgm:presLayoutVars>
      </dgm:prSet>
      <dgm:spPr/>
    </dgm:pt>
    <dgm:pt modelId="{8E6B7439-18CF-4CE9-8CA9-B39E63424F66}" type="pres">
      <dgm:prSet presAssocID="{908DAEE7-A813-433F-B8D8-254C089FE19E}" presName="parentText" presStyleLbl="node1" presStyleIdx="0" presStyleCnt="2">
        <dgm:presLayoutVars>
          <dgm:chMax val="0"/>
          <dgm:bulletEnabled val="1"/>
        </dgm:presLayoutVars>
      </dgm:prSet>
      <dgm:spPr/>
    </dgm:pt>
    <dgm:pt modelId="{3E1FF068-665B-47C8-BB51-95140518EA23}" type="pres">
      <dgm:prSet presAssocID="{B3839DE0-D8EC-4BC6-81C0-E9CFEA2121C5}" presName="spacer" presStyleCnt="0"/>
      <dgm:spPr/>
    </dgm:pt>
    <dgm:pt modelId="{F0CC0509-8B06-4962-9D75-88B0483ABFAF}" type="pres">
      <dgm:prSet presAssocID="{7B02DD2A-1D73-4D70-A7BA-A5F1C905E342}" presName="parentText" presStyleLbl="node1" presStyleIdx="1" presStyleCnt="2">
        <dgm:presLayoutVars>
          <dgm:chMax val="0"/>
          <dgm:bulletEnabled val="1"/>
        </dgm:presLayoutVars>
      </dgm:prSet>
      <dgm:spPr/>
    </dgm:pt>
    <dgm:pt modelId="{00AD4568-22C4-473B-B5B9-6E37E9A94FDD}" type="pres">
      <dgm:prSet presAssocID="{7B02DD2A-1D73-4D70-A7BA-A5F1C905E342}" presName="childText" presStyleLbl="revTx" presStyleIdx="0" presStyleCnt="1">
        <dgm:presLayoutVars>
          <dgm:bulletEnabled val="1"/>
        </dgm:presLayoutVars>
      </dgm:prSet>
      <dgm:spPr/>
    </dgm:pt>
  </dgm:ptLst>
  <dgm:cxnLst>
    <dgm:cxn modelId="{765FE610-B8E6-4D20-9D98-939CF41BF332}" type="presOf" srcId="{7C8D4EFE-4632-41AD-8B03-C7815C3416DC}" destId="{00AD4568-22C4-473B-B5B9-6E37E9A94FDD}" srcOrd="0" destOrd="1" presId="urn:microsoft.com/office/officeart/2005/8/layout/vList2"/>
    <dgm:cxn modelId="{2CA12F12-9AC7-45AE-B198-5141AEF7A703}" srcId="{7B02DD2A-1D73-4D70-A7BA-A5F1C905E342}" destId="{F5594579-F215-4F2C-8F74-52FDA645B3EC}" srcOrd="2" destOrd="0" parTransId="{74083ABC-2843-445C-83D6-83BA755FAEF6}" sibTransId="{4653648A-942E-4812-A056-ABBBF9F92C52}"/>
    <dgm:cxn modelId="{FD1EF83E-62C2-4C99-B61C-FF0E547844CB}" type="presOf" srcId="{908DAEE7-A813-433F-B8D8-254C089FE19E}" destId="{8E6B7439-18CF-4CE9-8CA9-B39E63424F66}" srcOrd="0" destOrd="0" presId="urn:microsoft.com/office/officeart/2005/8/layout/vList2"/>
    <dgm:cxn modelId="{7A21F13F-4A5E-49BC-A891-27BD4374C41E}" srcId="{7B02DD2A-1D73-4D70-A7BA-A5F1C905E342}" destId="{7C8D4EFE-4632-41AD-8B03-C7815C3416DC}" srcOrd="1" destOrd="0" parTransId="{1DDAB5B9-AF06-47D2-A8F7-712B00A4A7BE}" sibTransId="{D9A5EBCF-6AF8-4A3A-B53A-40E2948D3F5D}"/>
    <dgm:cxn modelId="{51671846-FCD5-41F4-A680-20003D894A29}" srcId="{8F6E7947-EC02-4CC4-A7A7-A795F595D374}" destId="{908DAEE7-A813-433F-B8D8-254C089FE19E}" srcOrd="0" destOrd="0" parTransId="{9A699437-3696-407D-98CE-1AF93A8C9024}" sibTransId="{B3839DE0-D8EC-4BC6-81C0-E9CFEA2121C5}"/>
    <dgm:cxn modelId="{EFB15950-B12A-4994-9B8F-B6C4D1D2B2A9}" srcId="{7B02DD2A-1D73-4D70-A7BA-A5F1C905E342}" destId="{55CF58EC-52F3-4632-AF60-4E04085C6BD1}" srcOrd="0" destOrd="0" parTransId="{380DCF97-D2DB-4091-AA71-5D79FAC6DC93}" sibTransId="{29C33472-E320-4123-839F-00C7DD649B87}"/>
    <dgm:cxn modelId="{BE72077C-F06E-4E02-88F8-1B59AB4279AB}" type="presOf" srcId="{F5594579-F215-4F2C-8F74-52FDA645B3EC}" destId="{00AD4568-22C4-473B-B5B9-6E37E9A94FDD}" srcOrd="0" destOrd="2" presId="urn:microsoft.com/office/officeart/2005/8/layout/vList2"/>
    <dgm:cxn modelId="{DD0BFF86-843D-4B12-AC7B-8A93AF841A5D}" type="presOf" srcId="{7B02DD2A-1D73-4D70-A7BA-A5F1C905E342}" destId="{F0CC0509-8B06-4962-9D75-88B0483ABFAF}" srcOrd="0" destOrd="0" presId="urn:microsoft.com/office/officeart/2005/8/layout/vList2"/>
    <dgm:cxn modelId="{7E7596B5-5C3E-42AF-A041-9FB88989EC27}" type="presOf" srcId="{8F6E7947-EC02-4CC4-A7A7-A795F595D374}" destId="{96FF72B1-C69E-40A8-A9C0-62B5250E6845}" srcOrd="0" destOrd="0" presId="urn:microsoft.com/office/officeart/2005/8/layout/vList2"/>
    <dgm:cxn modelId="{C5FAFBC5-DD6C-4E7B-9AFE-A3FC1B8295EC}" type="presOf" srcId="{55CF58EC-52F3-4632-AF60-4E04085C6BD1}" destId="{00AD4568-22C4-473B-B5B9-6E37E9A94FDD}" srcOrd="0" destOrd="0" presId="urn:microsoft.com/office/officeart/2005/8/layout/vList2"/>
    <dgm:cxn modelId="{010258D5-51A8-4F1E-A966-A1FE2C553D96}" srcId="{8F6E7947-EC02-4CC4-A7A7-A795F595D374}" destId="{7B02DD2A-1D73-4D70-A7BA-A5F1C905E342}" srcOrd="1" destOrd="0" parTransId="{657EA262-F93F-40A5-81CE-D7C8AADB3D67}" sibTransId="{2F8851BA-F248-4790-B45F-671CF3123495}"/>
    <dgm:cxn modelId="{6647257F-C29B-47AC-9A77-1D654CCE21B7}" type="presParOf" srcId="{96FF72B1-C69E-40A8-A9C0-62B5250E6845}" destId="{8E6B7439-18CF-4CE9-8CA9-B39E63424F66}" srcOrd="0" destOrd="0" presId="urn:microsoft.com/office/officeart/2005/8/layout/vList2"/>
    <dgm:cxn modelId="{3BE4BDAA-2347-4E06-B948-7017B7ADF304}" type="presParOf" srcId="{96FF72B1-C69E-40A8-A9C0-62B5250E6845}" destId="{3E1FF068-665B-47C8-BB51-95140518EA23}" srcOrd="1" destOrd="0" presId="urn:microsoft.com/office/officeart/2005/8/layout/vList2"/>
    <dgm:cxn modelId="{6EE26842-B416-4674-8E0A-003710F9A9A7}" type="presParOf" srcId="{96FF72B1-C69E-40A8-A9C0-62B5250E6845}" destId="{F0CC0509-8B06-4962-9D75-88B0483ABFAF}" srcOrd="2" destOrd="0" presId="urn:microsoft.com/office/officeart/2005/8/layout/vList2"/>
    <dgm:cxn modelId="{392AFE11-142B-489F-9C5E-40DD281FC9C9}" type="presParOf" srcId="{96FF72B1-C69E-40A8-A9C0-62B5250E6845}" destId="{00AD4568-22C4-473B-B5B9-6E37E9A94FDD}"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solidFill>
                <a:srgbClr val="FFFFFF"/>
              </a:solidFill>
            </a:rPr>
            <a:t>True or false: Can you configure both Synchronous and Asynchronous Replication for the replicas in Geo Replication</a:t>
          </a:r>
          <a:r>
            <a:rPr kumimoji="0" lang="en-US" b="0" i="0" u="none" strike="noStrike" cap="none" spc="0" normalizeH="0" baseline="0" noProof="0" dirty="0">
              <a:ln>
                <a:noFill/>
              </a:ln>
              <a:solidFill>
                <a:srgbClr val="FFFFFF"/>
              </a:solidFill>
              <a:effectLst/>
              <a:uLnTx/>
              <a:uFillTx/>
              <a:latin typeface="Segoe UI"/>
              <a:ea typeface="+mn-ea"/>
              <a:cs typeface="+mn-cs"/>
            </a:rPr>
            <a:t>?</a:t>
          </a:r>
          <a:endParaRPr lang="en-US"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617F122F-9BB4-45C7-AB84-31AF3E23CB74}">
      <dgm:prSet/>
      <dgm:spPr/>
      <dgm:t>
        <a:bodyPr/>
        <a:lstStyle/>
        <a:p>
          <a:pPr>
            <a:buFont typeface="Arial" panose="020B0604020202020204" pitchFamily="34" charset="0"/>
            <a:buChar char="•"/>
          </a:pPr>
          <a:r>
            <a:rPr lang="en-US" dirty="0">
              <a:solidFill>
                <a:srgbClr val="FFFFFF"/>
              </a:solidFill>
            </a:rPr>
            <a:t>True or false: Both primary and secondary databases are required to have the same service tier.</a:t>
          </a:r>
          <a:endParaRPr lang="en-US" dirty="0"/>
        </a:p>
      </dgm:t>
    </dgm:pt>
    <dgm:pt modelId="{57187B68-9DCC-492D-A2FC-EF118B3CD0DF}" type="parTrans" cxnId="{ABE844EE-5C3E-402C-A1E0-9E9D1ABDD810}">
      <dgm:prSet/>
      <dgm:spPr/>
      <dgm:t>
        <a:bodyPr/>
        <a:lstStyle/>
        <a:p>
          <a:endParaRPr lang="en-US"/>
        </a:p>
      </dgm:t>
    </dgm:pt>
    <dgm:pt modelId="{4B80791C-7687-4C75-8613-3CD2C697476F}" type="sibTrans" cxnId="{ABE844EE-5C3E-402C-A1E0-9E9D1ABDD810}">
      <dgm:prSet/>
      <dgm:spPr/>
      <dgm:t>
        <a:bodyPr/>
        <a:lstStyle/>
        <a:p>
          <a:endParaRPr lang="en-US"/>
        </a:p>
      </dgm:t>
    </dgm:pt>
    <dgm:pt modelId="{B2E6FCC7-37D2-4F3B-A688-0A069D66BF4B}">
      <dgm:prSet/>
      <dgm:spPr/>
      <dgm:t>
        <a:bodyPr/>
        <a:lstStyle/>
        <a:p>
          <a:pPr>
            <a:buFont typeface="Arial" panose="020B0604020202020204" pitchFamily="34" charset="0"/>
            <a:buChar char="•"/>
          </a:pPr>
          <a:r>
            <a:rPr lang="en-US" dirty="0">
              <a:solidFill>
                <a:srgbClr val="FFFFFF"/>
              </a:solidFill>
            </a:rPr>
            <a:t>What is the Grace period with data loss on the Failover Group?</a:t>
          </a:r>
          <a:endParaRPr lang="en-US" dirty="0"/>
        </a:p>
      </dgm:t>
    </dgm:pt>
    <dgm:pt modelId="{FE88AC6C-1A4D-47AC-B4C7-19096196E967}" type="parTrans" cxnId="{2D6E1802-D58F-4F0D-A2D4-85F9E3F06138}">
      <dgm:prSet/>
      <dgm:spPr/>
      <dgm:t>
        <a:bodyPr/>
        <a:lstStyle/>
        <a:p>
          <a:endParaRPr lang="en-US"/>
        </a:p>
      </dgm:t>
    </dgm:pt>
    <dgm:pt modelId="{DBE912F6-B0EE-4F87-A8FA-719D71FCC8CF}" type="sibTrans" cxnId="{2D6E1802-D58F-4F0D-A2D4-85F9E3F06138}">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0C4DDF9B-EA8A-4584-BDA7-05A385F52E7D}" type="pres">
      <dgm:prSet presAssocID="{617F122F-9BB4-45C7-AB84-31AF3E23CB74}" presName="parentText" presStyleLbl="node1" presStyleIdx="1" presStyleCnt="3">
        <dgm:presLayoutVars>
          <dgm:chMax val="0"/>
          <dgm:bulletEnabled val="1"/>
        </dgm:presLayoutVars>
      </dgm:prSet>
      <dgm:spPr/>
    </dgm:pt>
    <dgm:pt modelId="{17481BE9-ABF0-49FE-9A1D-83B642BA95F8}" type="pres">
      <dgm:prSet presAssocID="{4B80791C-7687-4C75-8613-3CD2C697476F}" presName="spacer" presStyleCnt="0"/>
      <dgm:spPr/>
    </dgm:pt>
    <dgm:pt modelId="{EFBAC271-C5E2-4127-9368-761652EECB74}" type="pres">
      <dgm:prSet presAssocID="{B2E6FCC7-37D2-4F3B-A688-0A069D66BF4B}" presName="parentText" presStyleLbl="node1" presStyleIdx="2" presStyleCnt="3">
        <dgm:presLayoutVars>
          <dgm:chMax val="0"/>
          <dgm:bulletEnabled val="1"/>
        </dgm:presLayoutVars>
      </dgm:prSet>
      <dgm:spPr/>
    </dgm:pt>
  </dgm:ptLst>
  <dgm:cxnLst>
    <dgm:cxn modelId="{2D6E1802-D58F-4F0D-A2D4-85F9E3F06138}" srcId="{15A7774C-B622-4F48-8F7B-AF1AAB74E997}" destId="{B2E6FCC7-37D2-4F3B-A688-0A069D66BF4B}" srcOrd="2" destOrd="0" parTransId="{FE88AC6C-1A4D-47AC-B4C7-19096196E967}" sibTransId="{DBE912F6-B0EE-4F87-A8FA-719D71FCC8CF}"/>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D4164830-C980-4355-B625-990C2C4066F4}" type="presOf" srcId="{B2E6FCC7-37D2-4F3B-A688-0A069D66BF4B}" destId="{EFBAC271-C5E2-4127-9368-761652EECB74}" srcOrd="0" destOrd="0" presId="urn:microsoft.com/office/officeart/2005/8/layout/vList2"/>
    <dgm:cxn modelId="{0B31A99B-DCAD-442F-AF13-9E5C2EDA4E96}" type="presOf" srcId="{617F122F-9BB4-45C7-AB84-31AF3E23CB74}" destId="{0C4DDF9B-EA8A-4584-BDA7-05A385F52E7D}"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ABE844EE-5C3E-402C-A1E0-9E9D1ABDD810}" srcId="{15A7774C-B622-4F48-8F7B-AF1AAB74E997}" destId="{617F122F-9BB4-45C7-AB84-31AF3E23CB74}" srcOrd="1" destOrd="0" parTransId="{57187B68-9DCC-492D-A2FC-EF118B3CD0DF}" sibTransId="{4B80791C-7687-4C75-8613-3CD2C697476F}"/>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A83A2028-4960-433B-B819-FE3C475A3491}" type="presParOf" srcId="{97400BD5-14CE-4761-8A6A-64BC46D23158}" destId="{0C4DDF9B-EA8A-4584-BDA7-05A385F52E7D}" srcOrd="2" destOrd="0" presId="urn:microsoft.com/office/officeart/2005/8/layout/vList2"/>
    <dgm:cxn modelId="{28EB9586-3D71-4D88-AFB0-33E25C11AC40}" type="presParOf" srcId="{97400BD5-14CE-4761-8A6A-64BC46D23158}" destId="{17481BE9-ABF0-49FE-9A1D-83B642BA95F8}" srcOrd="3" destOrd="0" presId="urn:microsoft.com/office/officeart/2005/8/layout/vList2"/>
    <dgm:cxn modelId="{9570C399-E7D3-458C-A3B9-59EC7642671C}" type="presParOf" srcId="{97400BD5-14CE-4761-8A6A-64BC46D23158}" destId="{EFBAC271-C5E2-4127-9368-761652EECB7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A9BF92A7-105D-4619-91A1-5DC94A61BC54}" type="doc">
      <dgm:prSet loTypeId="urn:microsoft.com/office/officeart/2005/8/layout/hProcess11" loCatId="process" qsTypeId="urn:microsoft.com/office/officeart/2005/8/quickstyle/simple1" qsCatId="simple" csTypeId="urn:microsoft.com/office/officeart/2005/8/colors/accent1_2" csCatId="accent1"/>
      <dgm:spPr/>
      <dgm:t>
        <a:bodyPr/>
        <a:lstStyle/>
        <a:p>
          <a:endParaRPr lang="en-US"/>
        </a:p>
      </dgm:t>
    </dgm:pt>
    <dgm:pt modelId="{E62CCAEA-0FCD-42A2-9529-188C2D5F5F4F}">
      <dgm:prSet custT="1"/>
      <dgm:spPr/>
      <dgm:t>
        <a:bodyPr/>
        <a:lstStyle/>
        <a:p>
          <a:r>
            <a:rPr lang="en-US" sz="2400" dirty="0"/>
            <a:t>Business Continuity</a:t>
          </a:r>
        </a:p>
      </dgm:t>
    </dgm:pt>
    <dgm:pt modelId="{3FE51DA4-ECFF-4DA5-A8DA-F338774603D4}" type="parTrans" cxnId="{042743E3-8A63-4FB9-8181-B630305AC4B5}">
      <dgm:prSet/>
      <dgm:spPr/>
      <dgm:t>
        <a:bodyPr/>
        <a:lstStyle/>
        <a:p>
          <a:endParaRPr lang="en-US"/>
        </a:p>
      </dgm:t>
    </dgm:pt>
    <dgm:pt modelId="{607344E5-7A4F-46EB-972C-15BAADB69B19}" type="sibTrans" cxnId="{042743E3-8A63-4FB9-8181-B630305AC4B5}">
      <dgm:prSet/>
      <dgm:spPr/>
      <dgm:t>
        <a:bodyPr/>
        <a:lstStyle/>
        <a:p>
          <a:endParaRPr lang="en-US"/>
        </a:p>
      </dgm:t>
    </dgm:pt>
    <dgm:pt modelId="{63D99096-DE12-499B-B2C3-D2343BBC8C7B}">
      <dgm:prSet custT="1"/>
      <dgm:spPr/>
      <dgm:t>
        <a:bodyPr/>
        <a:lstStyle/>
        <a:p>
          <a:r>
            <a:rPr lang="en-US" sz="2400" dirty="0"/>
            <a:t>Disaster Recovery</a:t>
          </a:r>
        </a:p>
      </dgm:t>
    </dgm:pt>
    <dgm:pt modelId="{9580A50D-3941-4EEF-822F-5A0FB452C1CB}" type="parTrans" cxnId="{CC0F7FE7-3663-43F8-9140-C47AEF621B44}">
      <dgm:prSet/>
      <dgm:spPr/>
      <dgm:t>
        <a:bodyPr/>
        <a:lstStyle/>
        <a:p>
          <a:endParaRPr lang="en-US"/>
        </a:p>
      </dgm:t>
    </dgm:pt>
    <dgm:pt modelId="{0A5D1DB0-77B2-442E-8C09-302EEA172D89}" type="sibTrans" cxnId="{CC0F7FE7-3663-43F8-9140-C47AEF621B44}">
      <dgm:prSet/>
      <dgm:spPr/>
      <dgm:t>
        <a:bodyPr/>
        <a:lstStyle/>
        <a:p>
          <a:endParaRPr lang="en-US"/>
        </a:p>
      </dgm:t>
    </dgm:pt>
    <dgm:pt modelId="{6F0EDA8F-7CFC-446A-9DD0-EC1D4392CB62}" type="pres">
      <dgm:prSet presAssocID="{A9BF92A7-105D-4619-91A1-5DC94A61BC54}" presName="Name0" presStyleCnt="0">
        <dgm:presLayoutVars>
          <dgm:dir/>
          <dgm:resizeHandles val="exact"/>
        </dgm:presLayoutVars>
      </dgm:prSet>
      <dgm:spPr/>
    </dgm:pt>
    <dgm:pt modelId="{1FC52799-7694-4970-8E83-4D6F7BE9FA94}" type="pres">
      <dgm:prSet presAssocID="{A9BF92A7-105D-4619-91A1-5DC94A61BC54}" presName="arrow" presStyleLbl="bgShp" presStyleIdx="0" presStyleCnt="1"/>
      <dgm:spPr/>
    </dgm:pt>
    <dgm:pt modelId="{0A578214-41BB-40B4-8D78-B606C1D14D06}" type="pres">
      <dgm:prSet presAssocID="{A9BF92A7-105D-4619-91A1-5DC94A61BC54}" presName="points" presStyleCnt="0"/>
      <dgm:spPr/>
    </dgm:pt>
    <dgm:pt modelId="{6D796CEE-49D1-4AD9-9C95-EA4338BA624D}" type="pres">
      <dgm:prSet presAssocID="{E62CCAEA-0FCD-42A2-9529-188C2D5F5F4F}" presName="compositeA" presStyleCnt="0"/>
      <dgm:spPr/>
    </dgm:pt>
    <dgm:pt modelId="{3F3807C8-8193-4D23-AFE3-FC50D610842C}" type="pres">
      <dgm:prSet presAssocID="{E62CCAEA-0FCD-42A2-9529-188C2D5F5F4F}" presName="textA" presStyleLbl="revTx" presStyleIdx="0" presStyleCnt="2">
        <dgm:presLayoutVars>
          <dgm:bulletEnabled val="1"/>
        </dgm:presLayoutVars>
      </dgm:prSet>
      <dgm:spPr/>
    </dgm:pt>
    <dgm:pt modelId="{40779399-893A-485D-855D-4B7D1E07AEF5}" type="pres">
      <dgm:prSet presAssocID="{E62CCAEA-0FCD-42A2-9529-188C2D5F5F4F}" presName="circleA" presStyleLbl="node1" presStyleIdx="0" presStyleCnt="2"/>
      <dgm:spPr/>
    </dgm:pt>
    <dgm:pt modelId="{F78B7E84-0A6D-4F86-8654-6F8F9FD392D6}" type="pres">
      <dgm:prSet presAssocID="{E62CCAEA-0FCD-42A2-9529-188C2D5F5F4F}" presName="spaceA" presStyleCnt="0"/>
      <dgm:spPr/>
    </dgm:pt>
    <dgm:pt modelId="{E9E0A318-50C7-4A68-9938-14197759CE3C}" type="pres">
      <dgm:prSet presAssocID="{607344E5-7A4F-46EB-972C-15BAADB69B19}" presName="space" presStyleCnt="0"/>
      <dgm:spPr/>
    </dgm:pt>
    <dgm:pt modelId="{40E81918-B178-4BB1-ADE0-ED558D57269F}" type="pres">
      <dgm:prSet presAssocID="{63D99096-DE12-499B-B2C3-D2343BBC8C7B}" presName="compositeB" presStyleCnt="0"/>
      <dgm:spPr/>
    </dgm:pt>
    <dgm:pt modelId="{EADF2CB0-78F7-4FF9-8CB4-2B61C89CB161}" type="pres">
      <dgm:prSet presAssocID="{63D99096-DE12-499B-B2C3-D2343BBC8C7B}" presName="textB" presStyleLbl="revTx" presStyleIdx="1" presStyleCnt="2" custLinFactNeighborX="-8825">
        <dgm:presLayoutVars>
          <dgm:bulletEnabled val="1"/>
        </dgm:presLayoutVars>
      </dgm:prSet>
      <dgm:spPr/>
    </dgm:pt>
    <dgm:pt modelId="{DC693925-943A-404B-9137-34B727E90154}" type="pres">
      <dgm:prSet presAssocID="{63D99096-DE12-499B-B2C3-D2343BBC8C7B}" presName="circleB" presStyleLbl="node1" presStyleIdx="1" presStyleCnt="2"/>
      <dgm:spPr/>
    </dgm:pt>
    <dgm:pt modelId="{8803E8CA-69BA-4401-9521-E0A4728002CD}" type="pres">
      <dgm:prSet presAssocID="{63D99096-DE12-499B-B2C3-D2343BBC8C7B}" presName="spaceB" presStyleCnt="0"/>
      <dgm:spPr/>
    </dgm:pt>
  </dgm:ptLst>
  <dgm:cxnLst>
    <dgm:cxn modelId="{A820ED09-14B3-4D7A-9DA7-76CEF463C2CC}" type="presOf" srcId="{63D99096-DE12-499B-B2C3-D2343BBC8C7B}" destId="{EADF2CB0-78F7-4FF9-8CB4-2B61C89CB161}" srcOrd="0" destOrd="0" presId="urn:microsoft.com/office/officeart/2005/8/layout/hProcess11"/>
    <dgm:cxn modelId="{76F02597-90D5-48E8-B671-42999702D994}" type="presOf" srcId="{A9BF92A7-105D-4619-91A1-5DC94A61BC54}" destId="{6F0EDA8F-7CFC-446A-9DD0-EC1D4392CB62}" srcOrd="0" destOrd="0" presId="urn:microsoft.com/office/officeart/2005/8/layout/hProcess11"/>
    <dgm:cxn modelId="{153899D0-F45C-4317-8595-A874A0CC2CB4}" type="presOf" srcId="{E62CCAEA-0FCD-42A2-9529-188C2D5F5F4F}" destId="{3F3807C8-8193-4D23-AFE3-FC50D610842C}" srcOrd="0" destOrd="0" presId="urn:microsoft.com/office/officeart/2005/8/layout/hProcess11"/>
    <dgm:cxn modelId="{042743E3-8A63-4FB9-8181-B630305AC4B5}" srcId="{A9BF92A7-105D-4619-91A1-5DC94A61BC54}" destId="{E62CCAEA-0FCD-42A2-9529-188C2D5F5F4F}" srcOrd="0" destOrd="0" parTransId="{3FE51DA4-ECFF-4DA5-A8DA-F338774603D4}" sibTransId="{607344E5-7A4F-46EB-972C-15BAADB69B19}"/>
    <dgm:cxn modelId="{CC0F7FE7-3663-43F8-9140-C47AEF621B44}" srcId="{A9BF92A7-105D-4619-91A1-5DC94A61BC54}" destId="{63D99096-DE12-499B-B2C3-D2343BBC8C7B}" srcOrd="1" destOrd="0" parTransId="{9580A50D-3941-4EEF-822F-5A0FB452C1CB}" sibTransId="{0A5D1DB0-77B2-442E-8C09-302EEA172D89}"/>
    <dgm:cxn modelId="{8C2A68FD-3240-4819-B8FB-9A9933285C4E}" type="presParOf" srcId="{6F0EDA8F-7CFC-446A-9DD0-EC1D4392CB62}" destId="{1FC52799-7694-4970-8E83-4D6F7BE9FA94}" srcOrd="0" destOrd="0" presId="urn:microsoft.com/office/officeart/2005/8/layout/hProcess11"/>
    <dgm:cxn modelId="{F67346A9-7D5D-4F12-8776-B03729A500FC}" type="presParOf" srcId="{6F0EDA8F-7CFC-446A-9DD0-EC1D4392CB62}" destId="{0A578214-41BB-40B4-8D78-B606C1D14D06}" srcOrd="1" destOrd="0" presId="urn:microsoft.com/office/officeart/2005/8/layout/hProcess11"/>
    <dgm:cxn modelId="{DCE0E8F1-A62E-41C1-8928-D521ACE2EFEC}" type="presParOf" srcId="{0A578214-41BB-40B4-8D78-B606C1D14D06}" destId="{6D796CEE-49D1-4AD9-9C95-EA4338BA624D}" srcOrd="0" destOrd="0" presId="urn:microsoft.com/office/officeart/2005/8/layout/hProcess11"/>
    <dgm:cxn modelId="{D6A0B99A-6C97-4D32-A1B5-2866D13AE677}" type="presParOf" srcId="{6D796CEE-49D1-4AD9-9C95-EA4338BA624D}" destId="{3F3807C8-8193-4D23-AFE3-FC50D610842C}" srcOrd="0" destOrd="0" presId="urn:microsoft.com/office/officeart/2005/8/layout/hProcess11"/>
    <dgm:cxn modelId="{FC6B12A2-A348-4419-9206-7354F384F4DE}" type="presParOf" srcId="{6D796CEE-49D1-4AD9-9C95-EA4338BA624D}" destId="{40779399-893A-485D-855D-4B7D1E07AEF5}" srcOrd="1" destOrd="0" presId="urn:microsoft.com/office/officeart/2005/8/layout/hProcess11"/>
    <dgm:cxn modelId="{6A266B84-4794-473C-A93F-17ADC9B0715D}" type="presParOf" srcId="{6D796CEE-49D1-4AD9-9C95-EA4338BA624D}" destId="{F78B7E84-0A6D-4F86-8654-6F8F9FD392D6}" srcOrd="2" destOrd="0" presId="urn:microsoft.com/office/officeart/2005/8/layout/hProcess11"/>
    <dgm:cxn modelId="{2103D6AE-97F6-4B01-A084-D57EFAC26207}" type="presParOf" srcId="{0A578214-41BB-40B4-8D78-B606C1D14D06}" destId="{E9E0A318-50C7-4A68-9938-14197759CE3C}" srcOrd="1" destOrd="0" presId="urn:microsoft.com/office/officeart/2005/8/layout/hProcess11"/>
    <dgm:cxn modelId="{60549519-34F3-43DE-8DEF-7581B0665CCA}" type="presParOf" srcId="{0A578214-41BB-40B4-8D78-B606C1D14D06}" destId="{40E81918-B178-4BB1-ADE0-ED558D57269F}" srcOrd="2" destOrd="0" presId="urn:microsoft.com/office/officeart/2005/8/layout/hProcess11"/>
    <dgm:cxn modelId="{903C3396-954C-4388-9472-14912E1CDEED}" type="presParOf" srcId="{40E81918-B178-4BB1-ADE0-ED558D57269F}" destId="{EADF2CB0-78F7-4FF9-8CB4-2B61C89CB161}" srcOrd="0" destOrd="0" presId="urn:microsoft.com/office/officeart/2005/8/layout/hProcess11"/>
    <dgm:cxn modelId="{3998787B-6E85-4FA3-993D-AA750517592E}" type="presParOf" srcId="{40E81918-B178-4BB1-ADE0-ED558D57269F}" destId="{DC693925-943A-404B-9137-34B727E90154}" srcOrd="1" destOrd="0" presId="urn:microsoft.com/office/officeart/2005/8/layout/hProcess11"/>
    <dgm:cxn modelId="{77C53AAF-BC0A-4572-88EA-61DEAB2AFD7B}" type="presParOf" srcId="{40E81918-B178-4BB1-ADE0-ED558D57269F}" destId="{8803E8CA-69BA-4401-9521-E0A4728002CD}"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6015BC2-230A-4668-965D-C64085119EE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ED2B4728-74FA-4F14-96AD-093B0FD029DB}">
      <dgm:prSet custT="1"/>
      <dgm:spPr/>
      <dgm:t>
        <a:bodyPr/>
        <a:lstStyle/>
        <a:p>
          <a:r>
            <a:rPr lang="en-US" sz="1800" baseline="0" dirty="0"/>
            <a:t>High availability is achieved by replicating both compute and storage to additional nodes.</a:t>
          </a:r>
          <a:endParaRPr lang="en-US" sz="1800" dirty="0"/>
        </a:p>
      </dgm:t>
    </dgm:pt>
    <dgm:pt modelId="{A2AFBA66-8477-4795-8577-0ED1327A8C46}" type="parTrans" cxnId="{A3103803-A66E-426B-9842-6C58267B5E82}">
      <dgm:prSet/>
      <dgm:spPr/>
      <dgm:t>
        <a:bodyPr/>
        <a:lstStyle/>
        <a:p>
          <a:endParaRPr lang="en-US"/>
        </a:p>
      </dgm:t>
    </dgm:pt>
    <dgm:pt modelId="{822F050B-9F8A-40EC-AA0D-00F59B31BBA9}" type="sibTrans" cxnId="{A3103803-A66E-426B-9842-6C58267B5E82}">
      <dgm:prSet/>
      <dgm:spPr/>
      <dgm:t>
        <a:bodyPr/>
        <a:lstStyle/>
        <a:p>
          <a:endParaRPr lang="en-US"/>
        </a:p>
      </dgm:t>
    </dgm:pt>
    <dgm:pt modelId="{7631A661-E6FE-425A-A6AA-153FEBB4FC26}">
      <dgm:prSet custT="1"/>
      <dgm:spPr/>
      <dgm:t>
        <a:bodyPr/>
        <a:lstStyle/>
        <a:p>
          <a:r>
            <a:rPr lang="en-US" sz="1800" baseline="0" dirty="0"/>
            <a:t>High availability is implemented using a technology like SQL Server Always On Availability Groups.</a:t>
          </a:r>
          <a:endParaRPr lang="en-US" sz="1800" dirty="0"/>
        </a:p>
      </dgm:t>
    </dgm:pt>
    <dgm:pt modelId="{ECD0FB18-88FE-4170-8148-D0BE9E1512A2}" type="parTrans" cxnId="{4288792B-0A87-406E-99BF-B974C51D801C}">
      <dgm:prSet/>
      <dgm:spPr/>
      <dgm:t>
        <a:bodyPr/>
        <a:lstStyle/>
        <a:p>
          <a:endParaRPr lang="en-US"/>
        </a:p>
      </dgm:t>
    </dgm:pt>
    <dgm:pt modelId="{0FC2B618-88A7-46C0-A8D1-D67D697138F5}" type="sibTrans" cxnId="{4288792B-0A87-406E-99BF-B974C51D801C}">
      <dgm:prSet/>
      <dgm:spPr/>
      <dgm:t>
        <a:bodyPr/>
        <a:lstStyle/>
        <a:p>
          <a:endParaRPr lang="en-US"/>
        </a:p>
      </dgm:t>
    </dgm:pt>
    <dgm:pt modelId="{7406D59F-31BD-4E9E-8C05-641D1F1D9A6F}">
      <dgm:prSet custT="1"/>
      <dgm:spPr/>
      <dgm:t>
        <a:bodyPr/>
        <a:lstStyle/>
        <a:p>
          <a:r>
            <a:rPr lang="en-US" sz="1800" baseline="0" dirty="0"/>
            <a:t>The cluster includes a single primary replica for read-write workloads, and up to three secondary replicas (compute and storage) containing copies of data. </a:t>
          </a:r>
          <a:endParaRPr lang="en-US" sz="1800" dirty="0"/>
        </a:p>
      </dgm:t>
    </dgm:pt>
    <dgm:pt modelId="{5B28F96C-5792-49AA-931B-1C34E94EF73E}" type="parTrans" cxnId="{B27882AC-5CCE-4FEB-B423-2967B4A22E15}">
      <dgm:prSet/>
      <dgm:spPr/>
      <dgm:t>
        <a:bodyPr/>
        <a:lstStyle/>
        <a:p>
          <a:endParaRPr lang="en-US"/>
        </a:p>
      </dgm:t>
    </dgm:pt>
    <dgm:pt modelId="{D3710D8E-7EC1-4447-8223-EDB0265BF6DE}" type="sibTrans" cxnId="{B27882AC-5CCE-4FEB-B423-2967B4A22E15}">
      <dgm:prSet/>
      <dgm:spPr/>
      <dgm:t>
        <a:bodyPr/>
        <a:lstStyle/>
        <a:p>
          <a:endParaRPr lang="en-US"/>
        </a:p>
      </dgm:t>
    </dgm:pt>
    <dgm:pt modelId="{8BBA7D08-0449-4067-BEEA-0120D264B801}">
      <dgm:prSet custT="1"/>
      <dgm:spPr/>
      <dgm:t>
        <a:bodyPr/>
        <a:lstStyle/>
        <a:p>
          <a:r>
            <a:rPr lang="en-US" sz="1800" baseline="0"/>
            <a:t>The failover is initiated by the Azure Service Fabric. </a:t>
          </a:r>
          <a:endParaRPr lang="en-US" sz="1800"/>
        </a:p>
      </dgm:t>
    </dgm:pt>
    <dgm:pt modelId="{6A81F360-73DF-4893-8D6F-2455253F83ED}" type="parTrans" cxnId="{7D8FDA82-57FB-4694-996F-44175E5F0F5A}">
      <dgm:prSet/>
      <dgm:spPr/>
      <dgm:t>
        <a:bodyPr/>
        <a:lstStyle/>
        <a:p>
          <a:endParaRPr lang="en-US"/>
        </a:p>
      </dgm:t>
    </dgm:pt>
    <dgm:pt modelId="{AB05005E-9332-4AE0-8465-32CFCA366FAE}" type="sibTrans" cxnId="{7D8FDA82-57FB-4694-996F-44175E5F0F5A}">
      <dgm:prSet/>
      <dgm:spPr/>
      <dgm:t>
        <a:bodyPr/>
        <a:lstStyle/>
        <a:p>
          <a:endParaRPr lang="en-US"/>
        </a:p>
      </dgm:t>
    </dgm:pt>
    <dgm:pt modelId="{9B6CD824-3B90-440B-AFC8-1901924E5E4B}">
      <dgm:prSet custT="1"/>
      <dgm:spPr/>
      <dgm:t>
        <a:bodyPr/>
        <a:lstStyle/>
        <a:p>
          <a:r>
            <a:rPr lang="en-US" sz="1800" baseline="0" dirty="0"/>
            <a:t>As an extra benefit, the premium availability model includes Read Scale-Out feature. </a:t>
          </a:r>
          <a:endParaRPr lang="en-US" sz="1800" dirty="0"/>
        </a:p>
      </dgm:t>
    </dgm:pt>
    <dgm:pt modelId="{47B2F35D-AF0E-433F-A4BD-0F5A84035F8E}" type="parTrans" cxnId="{0DC73377-9CC4-4FBB-8814-B1F416AE09CA}">
      <dgm:prSet/>
      <dgm:spPr/>
      <dgm:t>
        <a:bodyPr/>
        <a:lstStyle/>
        <a:p>
          <a:endParaRPr lang="en-US"/>
        </a:p>
      </dgm:t>
    </dgm:pt>
    <dgm:pt modelId="{EBE9BFBC-23B4-4A0D-A499-067A4CDF1808}" type="sibTrans" cxnId="{0DC73377-9CC4-4FBB-8814-B1F416AE09CA}">
      <dgm:prSet/>
      <dgm:spPr/>
      <dgm:t>
        <a:bodyPr/>
        <a:lstStyle/>
        <a:p>
          <a:endParaRPr lang="en-US"/>
        </a:p>
      </dgm:t>
    </dgm:pt>
    <dgm:pt modelId="{F48283E1-2D60-491B-8064-D08589815E8A}" type="pres">
      <dgm:prSet presAssocID="{C6015BC2-230A-4668-965D-C64085119EEB}" presName="linear" presStyleCnt="0">
        <dgm:presLayoutVars>
          <dgm:animLvl val="lvl"/>
          <dgm:resizeHandles val="exact"/>
        </dgm:presLayoutVars>
      </dgm:prSet>
      <dgm:spPr/>
    </dgm:pt>
    <dgm:pt modelId="{B06B420D-62A6-45D3-9F81-785F0ECBC258}" type="pres">
      <dgm:prSet presAssocID="{ED2B4728-74FA-4F14-96AD-093B0FD029DB}" presName="parentText" presStyleLbl="node1" presStyleIdx="0" presStyleCnt="5">
        <dgm:presLayoutVars>
          <dgm:chMax val="0"/>
          <dgm:bulletEnabled val="1"/>
        </dgm:presLayoutVars>
      </dgm:prSet>
      <dgm:spPr/>
    </dgm:pt>
    <dgm:pt modelId="{85472EE0-3D4F-40F9-891B-D262138520B0}" type="pres">
      <dgm:prSet presAssocID="{822F050B-9F8A-40EC-AA0D-00F59B31BBA9}" presName="spacer" presStyleCnt="0"/>
      <dgm:spPr/>
    </dgm:pt>
    <dgm:pt modelId="{404FDBF0-EA38-40A6-8C14-FB8C21CAB349}" type="pres">
      <dgm:prSet presAssocID="{7631A661-E6FE-425A-A6AA-153FEBB4FC26}" presName="parentText" presStyleLbl="node1" presStyleIdx="1" presStyleCnt="5">
        <dgm:presLayoutVars>
          <dgm:chMax val="0"/>
          <dgm:bulletEnabled val="1"/>
        </dgm:presLayoutVars>
      </dgm:prSet>
      <dgm:spPr/>
    </dgm:pt>
    <dgm:pt modelId="{4599291D-BE5F-4A01-A88E-6B65E4AD3B13}" type="pres">
      <dgm:prSet presAssocID="{0FC2B618-88A7-46C0-A8D1-D67D697138F5}" presName="spacer" presStyleCnt="0"/>
      <dgm:spPr/>
    </dgm:pt>
    <dgm:pt modelId="{BECA90C4-0169-476B-B9CD-10DC1079713E}" type="pres">
      <dgm:prSet presAssocID="{7406D59F-31BD-4E9E-8C05-641D1F1D9A6F}" presName="parentText" presStyleLbl="node1" presStyleIdx="2" presStyleCnt="5">
        <dgm:presLayoutVars>
          <dgm:chMax val="0"/>
          <dgm:bulletEnabled val="1"/>
        </dgm:presLayoutVars>
      </dgm:prSet>
      <dgm:spPr/>
    </dgm:pt>
    <dgm:pt modelId="{514BD7CF-8F20-4753-A64F-84D676566103}" type="pres">
      <dgm:prSet presAssocID="{D3710D8E-7EC1-4447-8223-EDB0265BF6DE}" presName="spacer" presStyleCnt="0"/>
      <dgm:spPr/>
    </dgm:pt>
    <dgm:pt modelId="{830F2B68-0BDA-41F1-B615-45D9E6FFAD20}" type="pres">
      <dgm:prSet presAssocID="{8BBA7D08-0449-4067-BEEA-0120D264B801}" presName="parentText" presStyleLbl="node1" presStyleIdx="3" presStyleCnt="5">
        <dgm:presLayoutVars>
          <dgm:chMax val="0"/>
          <dgm:bulletEnabled val="1"/>
        </dgm:presLayoutVars>
      </dgm:prSet>
      <dgm:spPr/>
    </dgm:pt>
    <dgm:pt modelId="{ECD4A721-E4A9-462E-A128-7F2B8AD2A41F}" type="pres">
      <dgm:prSet presAssocID="{AB05005E-9332-4AE0-8465-32CFCA366FAE}" presName="spacer" presStyleCnt="0"/>
      <dgm:spPr/>
    </dgm:pt>
    <dgm:pt modelId="{B6797D5E-7071-420D-A8A1-F13F83CDA104}" type="pres">
      <dgm:prSet presAssocID="{9B6CD824-3B90-440B-AFC8-1901924E5E4B}" presName="parentText" presStyleLbl="node1" presStyleIdx="4" presStyleCnt="5">
        <dgm:presLayoutVars>
          <dgm:chMax val="0"/>
          <dgm:bulletEnabled val="1"/>
        </dgm:presLayoutVars>
      </dgm:prSet>
      <dgm:spPr/>
    </dgm:pt>
  </dgm:ptLst>
  <dgm:cxnLst>
    <dgm:cxn modelId="{A3103803-A66E-426B-9842-6C58267B5E82}" srcId="{C6015BC2-230A-4668-965D-C64085119EEB}" destId="{ED2B4728-74FA-4F14-96AD-093B0FD029DB}" srcOrd="0" destOrd="0" parTransId="{A2AFBA66-8477-4795-8577-0ED1327A8C46}" sibTransId="{822F050B-9F8A-40EC-AA0D-00F59B31BBA9}"/>
    <dgm:cxn modelId="{BE120D07-8C8A-4678-84B2-60E1562B3077}" type="presOf" srcId="{7631A661-E6FE-425A-A6AA-153FEBB4FC26}" destId="{404FDBF0-EA38-40A6-8C14-FB8C21CAB349}" srcOrd="0" destOrd="0" presId="urn:microsoft.com/office/officeart/2005/8/layout/vList2"/>
    <dgm:cxn modelId="{4288792B-0A87-406E-99BF-B974C51D801C}" srcId="{C6015BC2-230A-4668-965D-C64085119EEB}" destId="{7631A661-E6FE-425A-A6AA-153FEBB4FC26}" srcOrd="1" destOrd="0" parTransId="{ECD0FB18-88FE-4170-8148-D0BE9E1512A2}" sibTransId="{0FC2B618-88A7-46C0-A8D1-D67D697138F5}"/>
    <dgm:cxn modelId="{6888D475-73E0-4AEE-A675-042CF5011B90}" type="presOf" srcId="{ED2B4728-74FA-4F14-96AD-093B0FD029DB}" destId="{B06B420D-62A6-45D3-9F81-785F0ECBC258}" srcOrd="0" destOrd="0" presId="urn:microsoft.com/office/officeart/2005/8/layout/vList2"/>
    <dgm:cxn modelId="{FDA5E856-6CC4-49C0-A8AE-D0BEC591F263}" type="presOf" srcId="{8BBA7D08-0449-4067-BEEA-0120D264B801}" destId="{830F2B68-0BDA-41F1-B615-45D9E6FFAD20}" srcOrd="0" destOrd="0" presId="urn:microsoft.com/office/officeart/2005/8/layout/vList2"/>
    <dgm:cxn modelId="{0DC73377-9CC4-4FBB-8814-B1F416AE09CA}" srcId="{C6015BC2-230A-4668-965D-C64085119EEB}" destId="{9B6CD824-3B90-440B-AFC8-1901924E5E4B}" srcOrd="4" destOrd="0" parTransId="{47B2F35D-AF0E-433F-A4BD-0F5A84035F8E}" sibTransId="{EBE9BFBC-23B4-4A0D-A499-067A4CDF1808}"/>
    <dgm:cxn modelId="{7D8FDA82-57FB-4694-996F-44175E5F0F5A}" srcId="{C6015BC2-230A-4668-965D-C64085119EEB}" destId="{8BBA7D08-0449-4067-BEEA-0120D264B801}" srcOrd="3" destOrd="0" parTransId="{6A81F360-73DF-4893-8D6F-2455253F83ED}" sibTransId="{AB05005E-9332-4AE0-8465-32CFCA366FAE}"/>
    <dgm:cxn modelId="{D19061A0-CC77-4B57-8607-3077D88DF210}" type="presOf" srcId="{C6015BC2-230A-4668-965D-C64085119EEB}" destId="{F48283E1-2D60-491B-8064-D08589815E8A}" srcOrd="0" destOrd="0" presId="urn:microsoft.com/office/officeart/2005/8/layout/vList2"/>
    <dgm:cxn modelId="{B27882AC-5CCE-4FEB-B423-2967B4A22E15}" srcId="{C6015BC2-230A-4668-965D-C64085119EEB}" destId="{7406D59F-31BD-4E9E-8C05-641D1F1D9A6F}" srcOrd="2" destOrd="0" parTransId="{5B28F96C-5792-49AA-931B-1C34E94EF73E}" sibTransId="{D3710D8E-7EC1-4447-8223-EDB0265BF6DE}"/>
    <dgm:cxn modelId="{387951C8-A09F-462D-A006-BE95E82621A9}" type="presOf" srcId="{9B6CD824-3B90-440B-AFC8-1901924E5E4B}" destId="{B6797D5E-7071-420D-A8A1-F13F83CDA104}" srcOrd="0" destOrd="0" presId="urn:microsoft.com/office/officeart/2005/8/layout/vList2"/>
    <dgm:cxn modelId="{692FFED5-1CA0-44B3-BC0A-5797BF00ECD5}" type="presOf" srcId="{7406D59F-31BD-4E9E-8C05-641D1F1D9A6F}" destId="{BECA90C4-0169-476B-B9CD-10DC1079713E}" srcOrd="0" destOrd="0" presId="urn:microsoft.com/office/officeart/2005/8/layout/vList2"/>
    <dgm:cxn modelId="{A88887EE-4522-4A28-B0A4-6A910D7CB954}" type="presParOf" srcId="{F48283E1-2D60-491B-8064-D08589815E8A}" destId="{B06B420D-62A6-45D3-9F81-785F0ECBC258}" srcOrd="0" destOrd="0" presId="urn:microsoft.com/office/officeart/2005/8/layout/vList2"/>
    <dgm:cxn modelId="{FA41CD7B-86AB-4773-A5F9-9C754C01918F}" type="presParOf" srcId="{F48283E1-2D60-491B-8064-D08589815E8A}" destId="{85472EE0-3D4F-40F9-891B-D262138520B0}" srcOrd="1" destOrd="0" presId="urn:microsoft.com/office/officeart/2005/8/layout/vList2"/>
    <dgm:cxn modelId="{240DD0A5-3C9D-4CD2-95C8-DF55FD1A8211}" type="presParOf" srcId="{F48283E1-2D60-491B-8064-D08589815E8A}" destId="{404FDBF0-EA38-40A6-8C14-FB8C21CAB349}" srcOrd="2" destOrd="0" presId="urn:microsoft.com/office/officeart/2005/8/layout/vList2"/>
    <dgm:cxn modelId="{99E60790-9D19-47EE-A9FD-44C96A5B85E2}" type="presParOf" srcId="{F48283E1-2D60-491B-8064-D08589815E8A}" destId="{4599291D-BE5F-4A01-A88E-6B65E4AD3B13}" srcOrd="3" destOrd="0" presId="urn:microsoft.com/office/officeart/2005/8/layout/vList2"/>
    <dgm:cxn modelId="{27CBE3A8-F338-4AD8-A767-11CC896A63D1}" type="presParOf" srcId="{F48283E1-2D60-491B-8064-D08589815E8A}" destId="{BECA90C4-0169-476B-B9CD-10DC1079713E}" srcOrd="4" destOrd="0" presId="urn:microsoft.com/office/officeart/2005/8/layout/vList2"/>
    <dgm:cxn modelId="{A9B29A08-670F-45E6-86A7-483827F56EC7}" type="presParOf" srcId="{F48283E1-2D60-491B-8064-D08589815E8A}" destId="{514BD7CF-8F20-4753-A64F-84D676566103}" srcOrd="5" destOrd="0" presId="urn:microsoft.com/office/officeart/2005/8/layout/vList2"/>
    <dgm:cxn modelId="{2BDC8692-20A3-415D-9AF7-7EFC9245B759}" type="presParOf" srcId="{F48283E1-2D60-491B-8064-D08589815E8A}" destId="{830F2B68-0BDA-41F1-B615-45D9E6FFAD20}" srcOrd="6" destOrd="0" presId="urn:microsoft.com/office/officeart/2005/8/layout/vList2"/>
    <dgm:cxn modelId="{3DAD125A-EE53-4149-A7E7-831982904568}" type="presParOf" srcId="{F48283E1-2D60-491B-8064-D08589815E8A}" destId="{ECD4A721-E4A9-462E-A128-7F2B8AD2A41F}" srcOrd="7" destOrd="0" presId="urn:microsoft.com/office/officeart/2005/8/layout/vList2"/>
    <dgm:cxn modelId="{BC84AA23-F6CD-4ABF-94B8-698250F89D84}" type="presParOf" srcId="{F48283E1-2D60-491B-8064-D08589815E8A}" destId="{B6797D5E-7071-420D-A8A1-F13F83CDA104}"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9B0D8D2-F82E-49DD-9E30-5F3FC240D8A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5161FEC-6936-4A7D-8AEE-30A5829F7C21}">
      <dgm:prSet/>
      <dgm:spPr/>
      <dgm:t>
        <a:bodyPr/>
        <a:lstStyle/>
        <a:p>
          <a:r>
            <a:rPr lang="en-US" baseline="0" dirty="0"/>
            <a:t>Zone redundant configurations are currently only supported in the Premium or Business Critical tiers</a:t>
          </a:r>
          <a:endParaRPr lang="en-US" dirty="0"/>
        </a:p>
      </dgm:t>
    </dgm:pt>
    <dgm:pt modelId="{0E39931F-88BC-4036-8D17-FBE5297D2219}" type="parTrans" cxnId="{0BEF9A5F-CE75-4211-B1B3-209F0D7F0542}">
      <dgm:prSet/>
      <dgm:spPr/>
      <dgm:t>
        <a:bodyPr/>
        <a:lstStyle/>
        <a:p>
          <a:endParaRPr lang="en-US"/>
        </a:p>
      </dgm:t>
    </dgm:pt>
    <dgm:pt modelId="{33D04F37-425F-4706-8095-2CE57BD184F3}" type="sibTrans" cxnId="{0BEF9A5F-CE75-4211-B1B3-209F0D7F0542}">
      <dgm:prSet/>
      <dgm:spPr/>
      <dgm:t>
        <a:bodyPr/>
        <a:lstStyle/>
        <a:p>
          <a:endParaRPr lang="en-US"/>
        </a:p>
      </dgm:t>
    </dgm:pt>
    <dgm:pt modelId="{76F71CB5-B469-4719-8BCC-E70B8CCBC77B}">
      <dgm:prSet/>
      <dgm:spPr/>
      <dgm:t>
        <a:bodyPr/>
        <a:lstStyle/>
        <a:p>
          <a:r>
            <a:rPr lang="en-US" b="0" i="0" dirty="0"/>
            <a:t>By default, the cluster of nodes for the premium availability model is created in the same datacenter. </a:t>
          </a:r>
          <a:endParaRPr lang="en-US" dirty="0"/>
        </a:p>
      </dgm:t>
    </dgm:pt>
    <dgm:pt modelId="{28EEAB2A-F9A5-4818-B6B9-C8E9A65F1D3C}" type="parTrans" cxnId="{74B4F597-EAF0-41D5-A27C-876243D70BF2}">
      <dgm:prSet/>
      <dgm:spPr/>
      <dgm:t>
        <a:bodyPr/>
        <a:lstStyle/>
        <a:p>
          <a:endParaRPr lang="en-US"/>
        </a:p>
      </dgm:t>
    </dgm:pt>
    <dgm:pt modelId="{D0C37D29-2E47-4F4B-ABA7-84559B471DFE}" type="sibTrans" cxnId="{74B4F597-EAF0-41D5-A27C-876243D70BF2}">
      <dgm:prSet/>
      <dgm:spPr/>
      <dgm:t>
        <a:bodyPr/>
        <a:lstStyle/>
        <a:p>
          <a:endParaRPr lang="en-US"/>
        </a:p>
      </dgm:t>
    </dgm:pt>
    <dgm:pt modelId="{8311DC26-6500-42A0-8E5C-0312FB04FEFA}">
      <dgm:prSet/>
      <dgm:spPr/>
      <dgm:t>
        <a:bodyPr/>
        <a:lstStyle/>
        <a:p>
          <a:r>
            <a:rPr lang="en-US" b="0" i="0" dirty="0"/>
            <a:t>SQL Database can place different replicas of the Business-Critical database to different availability zones in the same region.</a:t>
          </a:r>
          <a:endParaRPr lang="en-US" dirty="0"/>
        </a:p>
      </dgm:t>
    </dgm:pt>
    <dgm:pt modelId="{CF5C6A0B-FFCC-43C7-B4DD-DDE041ED47F8}" type="parTrans" cxnId="{53061988-F685-49C5-8DED-D0B7BF5F33DA}">
      <dgm:prSet/>
      <dgm:spPr/>
      <dgm:t>
        <a:bodyPr/>
        <a:lstStyle/>
        <a:p>
          <a:endParaRPr lang="en-US"/>
        </a:p>
      </dgm:t>
    </dgm:pt>
    <dgm:pt modelId="{C0009734-DEAA-4E41-B25D-0D4BD01A35C9}" type="sibTrans" cxnId="{53061988-F685-49C5-8DED-D0B7BF5F33DA}">
      <dgm:prSet/>
      <dgm:spPr/>
      <dgm:t>
        <a:bodyPr/>
        <a:lstStyle/>
        <a:p>
          <a:endParaRPr lang="en-US"/>
        </a:p>
      </dgm:t>
    </dgm:pt>
    <dgm:pt modelId="{BF52F1A7-A146-4EA3-B49B-BEA0992F816A}">
      <dgm:prSet/>
      <dgm:spPr/>
      <dgm:t>
        <a:bodyPr/>
        <a:lstStyle/>
        <a:p>
          <a:r>
            <a:rPr lang="en-US" dirty="0"/>
            <a:t>The routing is controlled by Azure Traffic Manager (ATM). </a:t>
          </a:r>
        </a:p>
      </dgm:t>
    </dgm:pt>
    <dgm:pt modelId="{78D947B1-4608-4D7C-813F-7D4A708FD797}" type="parTrans" cxnId="{82F92C35-61F3-4182-A54D-8B53CEBAEAB0}">
      <dgm:prSet/>
      <dgm:spPr/>
      <dgm:t>
        <a:bodyPr/>
        <a:lstStyle/>
        <a:p>
          <a:endParaRPr lang="en-US"/>
        </a:p>
      </dgm:t>
    </dgm:pt>
    <dgm:pt modelId="{F49C283C-D86E-4047-B667-6F97C0388E1E}" type="sibTrans" cxnId="{82F92C35-61F3-4182-A54D-8B53CEBAEAB0}">
      <dgm:prSet/>
      <dgm:spPr/>
      <dgm:t>
        <a:bodyPr/>
        <a:lstStyle/>
        <a:p>
          <a:endParaRPr lang="en-US"/>
        </a:p>
      </dgm:t>
    </dgm:pt>
    <dgm:pt modelId="{B91C09EC-8828-416B-B0C2-9DC218ADECA9}">
      <dgm:prSet/>
      <dgm:spPr/>
      <dgm:t>
        <a:bodyPr/>
        <a:lstStyle/>
        <a:p>
          <a:r>
            <a:rPr lang="en-US" dirty="0"/>
            <a:t>The zone redundant databases have replicas in different datacenters with some distance between them, the increased network latency may impact the performance.</a:t>
          </a:r>
        </a:p>
      </dgm:t>
    </dgm:pt>
    <dgm:pt modelId="{C9A719B2-032A-41B6-90C8-97316964B300}" type="parTrans" cxnId="{68E56171-164D-413A-83B1-ECED9C3464EF}">
      <dgm:prSet/>
      <dgm:spPr/>
      <dgm:t>
        <a:bodyPr/>
        <a:lstStyle/>
        <a:p>
          <a:endParaRPr lang="en-US"/>
        </a:p>
      </dgm:t>
    </dgm:pt>
    <dgm:pt modelId="{18F614D6-4A99-4A2B-AAAC-813F59A4A031}" type="sibTrans" cxnId="{68E56171-164D-413A-83B1-ECED9C3464EF}">
      <dgm:prSet/>
      <dgm:spPr/>
      <dgm:t>
        <a:bodyPr/>
        <a:lstStyle/>
        <a:p>
          <a:endParaRPr lang="en-US"/>
        </a:p>
      </dgm:t>
    </dgm:pt>
    <dgm:pt modelId="{59C9C713-151B-46D4-AD3F-24C7FF0BE83C}" type="pres">
      <dgm:prSet presAssocID="{69B0D8D2-F82E-49DD-9E30-5F3FC240D8A0}" presName="linear" presStyleCnt="0">
        <dgm:presLayoutVars>
          <dgm:animLvl val="lvl"/>
          <dgm:resizeHandles val="exact"/>
        </dgm:presLayoutVars>
      </dgm:prSet>
      <dgm:spPr/>
    </dgm:pt>
    <dgm:pt modelId="{73B47629-8717-4462-8A97-67BD9CEBE89A}" type="pres">
      <dgm:prSet presAssocID="{76F71CB5-B469-4719-8BCC-E70B8CCBC77B}" presName="parentText" presStyleLbl="node1" presStyleIdx="0" presStyleCnt="5">
        <dgm:presLayoutVars>
          <dgm:chMax val="0"/>
          <dgm:bulletEnabled val="1"/>
        </dgm:presLayoutVars>
      </dgm:prSet>
      <dgm:spPr/>
    </dgm:pt>
    <dgm:pt modelId="{88474B7E-6D8E-4A05-8F0A-92EB8A1E450F}" type="pres">
      <dgm:prSet presAssocID="{D0C37D29-2E47-4F4B-ABA7-84559B471DFE}" presName="spacer" presStyleCnt="0"/>
      <dgm:spPr/>
    </dgm:pt>
    <dgm:pt modelId="{BE7AC363-275C-4D69-9598-B69A7310C7CB}" type="pres">
      <dgm:prSet presAssocID="{8311DC26-6500-42A0-8E5C-0312FB04FEFA}" presName="parentText" presStyleLbl="node1" presStyleIdx="1" presStyleCnt="5">
        <dgm:presLayoutVars>
          <dgm:chMax val="0"/>
          <dgm:bulletEnabled val="1"/>
        </dgm:presLayoutVars>
      </dgm:prSet>
      <dgm:spPr/>
    </dgm:pt>
    <dgm:pt modelId="{C04108B2-F91A-4C99-8524-BCC9BF5B85F3}" type="pres">
      <dgm:prSet presAssocID="{C0009734-DEAA-4E41-B25D-0D4BD01A35C9}" presName="spacer" presStyleCnt="0"/>
      <dgm:spPr/>
    </dgm:pt>
    <dgm:pt modelId="{EA816DA8-16B2-491E-982A-E36D7B2BFC13}" type="pres">
      <dgm:prSet presAssocID="{BF52F1A7-A146-4EA3-B49B-BEA0992F816A}" presName="parentText" presStyleLbl="node1" presStyleIdx="2" presStyleCnt="5">
        <dgm:presLayoutVars>
          <dgm:chMax val="0"/>
          <dgm:bulletEnabled val="1"/>
        </dgm:presLayoutVars>
      </dgm:prSet>
      <dgm:spPr/>
    </dgm:pt>
    <dgm:pt modelId="{A373F27E-34D7-4995-87E2-217329038DE4}" type="pres">
      <dgm:prSet presAssocID="{F49C283C-D86E-4047-B667-6F97C0388E1E}" presName="spacer" presStyleCnt="0"/>
      <dgm:spPr/>
    </dgm:pt>
    <dgm:pt modelId="{7F4B4DDA-AD1B-47B1-B8C7-B012B21334C2}" type="pres">
      <dgm:prSet presAssocID="{B91C09EC-8828-416B-B0C2-9DC218ADECA9}" presName="parentText" presStyleLbl="node1" presStyleIdx="3" presStyleCnt="5">
        <dgm:presLayoutVars>
          <dgm:chMax val="0"/>
          <dgm:bulletEnabled val="1"/>
        </dgm:presLayoutVars>
      </dgm:prSet>
      <dgm:spPr/>
    </dgm:pt>
    <dgm:pt modelId="{1AA115B0-7F9D-4E65-B30E-BC07472AB7C4}" type="pres">
      <dgm:prSet presAssocID="{18F614D6-4A99-4A2B-AAAC-813F59A4A031}" presName="spacer" presStyleCnt="0"/>
      <dgm:spPr/>
    </dgm:pt>
    <dgm:pt modelId="{08286313-9289-4961-8FE9-CC08C61FA2EE}" type="pres">
      <dgm:prSet presAssocID="{75161FEC-6936-4A7D-8AEE-30A5829F7C21}" presName="parentText" presStyleLbl="node1" presStyleIdx="4" presStyleCnt="5">
        <dgm:presLayoutVars>
          <dgm:chMax val="0"/>
          <dgm:bulletEnabled val="1"/>
        </dgm:presLayoutVars>
      </dgm:prSet>
      <dgm:spPr/>
    </dgm:pt>
  </dgm:ptLst>
  <dgm:cxnLst>
    <dgm:cxn modelId="{82F92C35-61F3-4182-A54D-8B53CEBAEAB0}" srcId="{69B0D8D2-F82E-49DD-9E30-5F3FC240D8A0}" destId="{BF52F1A7-A146-4EA3-B49B-BEA0992F816A}" srcOrd="2" destOrd="0" parTransId="{78D947B1-4608-4D7C-813F-7D4A708FD797}" sibTransId="{F49C283C-D86E-4047-B667-6F97C0388E1E}"/>
    <dgm:cxn modelId="{0BEF9A5F-CE75-4211-B1B3-209F0D7F0542}" srcId="{69B0D8D2-F82E-49DD-9E30-5F3FC240D8A0}" destId="{75161FEC-6936-4A7D-8AEE-30A5829F7C21}" srcOrd="4" destOrd="0" parTransId="{0E39931F-88BC-4036-8D17-FBE5297D2219}" sibTransId="{33D04F37-425F-4706-8095-2CE57BD184F3}"/>
    <dgm:cxn modelId="{DAD2984A-0650-4879-98FE-715029D2239A}" type="presOf" srcId="{BF52F1A7-A146-4EA3-B49B-BEA0992F816A}" destId="{EA816DA8-16B2-491E-982A-E36D7B2BFC13}" srcOrd="0" destOrd="0" presId="urn:microsoft.com/office/officeart/2005/8/layout/vList2"/>
    <dgm:cxn modelId="{0E18914B-283B-4273-B261-E6958FE89071}" type="presOf" srcId="{75161FEC-6936-4A7D-8AEE-30A5829F7C21}" destId="{08286313-9289-4961-8FE9-CC08C61FA2EE}" srcOrd="0" destOrd="0" presId="urn:microsoft.com/office/officeart/2005/8/layout/vList2"/>
    <dgm:cxn modelId="{68E56171-164D-413A-83B1-ECED9C3464EF}" srcId="{69B0D8D2-F82E-49DD-9E30-5F3FC240D8A0}" destId="{B91C09EC-8828-416B-B0C2-9DC218ADECA9}" srcOrd="3" destOrd="0" parTransId="{C9A719B2-032A-41B6-90C8-97316964B300}" sibTransId="{18F614D6-4A99-4A2B-AAAC-813F59A4A031}"/>
    <dgm:cxn modelId="{A99BA251-6459-4CC4-9898-C5FEC6987E97}" type="presOf" srcId="{8311DC26-6500-42A0-8E5C-0312FB04FEFA}" destId="{BE7AC363-275C-4D69-9598-B69A7310C7CB}" srcOrd="0" destOrd="0" presId="urn:microsoft.com/office/officeart/2005/8/layout/vList2"/>
    <dgm:cxn modelId="{17280157-A958-48D7-8925-3AC8691D89A4}" type="presOf" srcId="{69B0D8D2-F82E-49DD-9E30-5F3FC240D8A0}" destId="{59C9C713-151B-46D4-AD3F-24C7FF0BE83C}" srcOrd="0" destOrd="0" presId="urn:microsoft.com/office/officeart/2005/8/layout/vList2"/>
    <dgm:cxn modelId="{33957B78-5AAB-46F0-A66A-2A29D7FEBEC2}" type="presOf" srcId="{76F71CB5-B469-4719-8BCC-E70B8CCBC77B}" destId="{73B47629-8717-4462-8A97-67BD9CEBE89A}" srcOrd="0" destOrd="0" presId="urn:microsoft.com/office/officeart/2005/8/layout/vList2"/>
    <dgm:cxn modelId="{53061988-F685-49C5-8DED-D0B7BF5F33DA}" srcId="{69B0D8D2-F82E-49DD-9E30-5F3FC240D8A0}" destId="{8311DC26-6500-42A0-8E5C-0312FB04FEFA}" srcOrd="1" destOrd="0" parTransId="{CF5C6A0B-FFCC-43C7-B4DD-DDE041ED47F8}" sibTransId="{C0009734-DEAA-4E41-B25D-0D4BD01A35C9}"/>
    <dgm:cxn modelId="{74B4F597-EAF0-41D5-A27C-876243D70BF2}" srcId="{69B0D8D2-F82E-49DD-9E30-5F3FC240D8A0}" destId="{76F71CB5-B469-4719-8BCC-E70B8CCBC77B}" srcOrd="0" destOrd="0" parTransId="{28EEAB2A-F9A5-4818-B6B9-C8E9A65F1D3C}" sibTransId="{D0C37D29-2E47-4F4B-ABA7-84559B471DFE}"/>
    <dgm:cxn modelId="{917A42E8-31B6-442C-A1C1-E7AECCF9EAFD}" type="presOf" srcId="{B91C09EC-8828-416B-B0C2-9DC218ADECA9}" destId="{7F4B4DDA-AD1B-47B1-B8C7-B012B21334C2}" srcOrd="0" destOrd="0" presId="urn:microsoft.com/office/officeart/2005/8/layout/vList2"/>
    <dgm:cxn modelId="{B2EF2294-8450-421F-AD4B-ECC0466584FE}" type="presParOf" srcId="{59C9C713-151B-46D4-AD3F-24C7FF0BE83C}" destId="{73B47629-8717-4462-8A97-67BD9CEBE89A}" srcOrd="0" destOrd="0" presId="urn:microsoft.com/office/officeart/2005/8/layout/vList2"/>
    <dgm:cxn modelId="{22E73FD8-47C4-4F42-96D7-51FC6C5FE2EF}" type="presParOf" srcId="{59C9C713-151B-46D4-AD3F-24C7FF0BE83C}" destId="{88474B7E-6D8E-4A05-8F0A-92EB8A1E450F}" srcOrd="1" destOrd="0" presId="urn:microsoft.com/office/officeart/2005/8/layout/vList2"/>
    <dgm:cxn modelId="{3A01BC72-4A1F-44BA-959A-B8B8C96B1D0E}" type="presParOf" srcId="{59C9C713-151B-46D4-AD3F-24C7FF0BE83C}" destId="{BE7AC363-275C-4D69-9598-B69A7310C7CB}" srcOrd="2" destOrd="0" presId="urn:microsoft.com/office/officeart/2005/8/layout/vList2"/>
    <dgm:cxn modelId="{65C6F759-1AFD-49D1-BA87-68FA902BBA12}" type="presParOf" srcId="{59C9C713-151B-46D4-AD3F-24C7FF0BE83C}" destId="{C04108B2-F91A-4C99-8524-BCC9BF5B85F3}" srcOrd="3" destOrd="0" presId="urn:microsoft.com/office/officeart/2005/8/layout/vList2"/>
    <dgm:cxn modelId="{9B77241A-E0D0-4175-A438-735D0A66454B}" type="presParOf" srcId="{59C9C713-151B-46D4-AD3F-24C7FF0BE83C}" destId="{EA816DA8-16B2-491E-982A-E36D7B2BFC13}" srcOrd="4" destOrd="0" presId="urn:microsoft.com/office/officeart/2005/8/layout/vList2"/>
    <dgm:cxn modelId="{3976D23B-E969-4C31-AD19-8C7D96036337}" type="presParOf" srcId="{59C9C713-151B-46D4-AD3F-24C7FF0BE83C}" destId="{A373F27E-34D7-4995-87E2-217329038DE4}" srcOrd="5" destOrd="0" presId="urn:microsoft.com/office/officeart/2005/8/layout/vList2"/>
    <dgm:cxn modelId="{41F181FF-BFDE-405E-9EF7-7927006EE570}" type="presParOf" srcId="{59C9C713-151B-46D4-AD3F-24C7FF0BE83C}" destId="{7F4B4DDA-AD1B-47B1-B8C7-B012B21334C2}" srcOrd="6" destOrd="0" presId="urn:microsoft.com/office/officeart/2005/8/layout/vList2"/>
    <dgm:cxn modelId="{74CB4DD1-BDC5-4668-B6A4-9DA70B320CA9}" type="presParOf" srcId="{59C9C713-151B-46D4-AD3F-24C7FF0BE83C}" destId="{1AA115B0-7F9D-4E65-B30E-BC07472AB7C4}" srcOrd="7" destOrd="0" presId="urn:microsoft.com/office/officeart/2005/8/layout/vList2"/>
    <dgm:cxn modelId="{1F751D83-2953-44E4-9339-922864918FF1}" type="presParOf" srcId="{59C9C713-151B-46D4-AD3F-24C7FF0BE83C}" destId="{08286313-9289-4961-8FE9-CC08C61FA2EE}"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F9891D6-64BB-46EC-8573-56BBFE53ED3C}"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661A5FB8-4475-4AB4-9BB8-EA9D65364BD9}">
      <dgm:prSet/>
      <dgm:spPr/>
      <dgm:t>
        <a:bodyPr/>
        <a:lstStyle/>
        <a:p>
          <a:endParaRPr lang="en-US"/>
        </a:p>
      </dgm:t>
    </dgm:pt>
    <dgm:pt modelId="{3F25C0D2-E944-4C82-B23B-7BDFF197C12F}" type="parTrans" cxnId="{0CE3EB34-2D8F-45FD-8F98-AA71EB04CB57}">
      <dgm:prSet/>
      <dgm:spPr/>
      <dgm:t>
        <a:bodyPr/>
        <a:lstStyle/>
        <a:p>
          <a:endParaRPr lang="en-US"/>
        </a:p>
      </dgm:t>
    </dgm:pt>
    <dgm:pt modelId="{950FBEF0-2E17-4119-8D39-9B1BFCE6F13F}" type="sibTrans" cxnId="{0CE3EB34-2D8F-45FD-8F98-AA71EB04CB57}">
      <dgm:prSet/>
      <dgm:spPr/>
      <dgm:t>
        <a:bodyPr/>
        <a:lstStyle/>
        <a:p>
          <a:endParaRPr lang="en-US"/>
        </a:p>
      </dgm:t>
    </dgm:pt>
    <dgm:pt modelId="{9F05F7CE-BD82-4D4F-B484-BD6D86BDA38C}">
      <dgm:prSet/>
      <dgm:spPr/>
      <dgm:t>
        <a:bodyPr/>
        <a:lstStyle/>
        <a:p>
          <a:r>
            <a:rPr lang="en-US" baseline="0"/>
            <a:t>Uses SQL Server technology to create full, differential, and transaction log backups. </a:t>
          </a:r>
          <a:endParaRPr lang="en-US"/>
        </a:p>
      </dgm:t>
    </dgm:pt>
    <dgm:pt modelId="{E4AB5E04-9FD6-44D2-AA6A-292030A42ED6}" type="parTrans" cxnId="{1064BC16-C3A7-4648-A9C7-0EAC58E07F35}">
      <dgm:prSet/>
      <dgm:spPr/>
      <dgm:t>
        <a:bodyPr/>
        <a:lstStyle/>
        <a:p>
          <a:endParaRPr lang="en-US"/>
        </a:p>
      </dgm:t>
    </dgm:pt>
    <dgm:pt modelId="{EC902BD1-66F2-45DA-A3F6-41C5B263862B}" type="sibTrans" cxnId="{1064BC16-C3A7-4648-A9C7-0EAC58E07F35}">
      <dgm:prSet/>
      <dgm:spPr/>
      <dgm:t>
        <a:bodyPr/>
        <a:lstStyle/>
        <a:p>
          <a:endParaRPr lang="en-US"/>
        </a:p>
      </dgm:t>
    </dgm:pt>
    <dgm:pt modelId="{DA40A52F-7046-479F-A308-4CA9F9529319}">
      <dgm:prSet/>
      <dgm:spPr/>
      <dgm:t>
        <a:bodyPr/>
        <a:lstStyle/>
        <a:p>
          <a:r>
            <a:rPr lang="en-US" baseline="0" dirty="0"/>
            <a:t>Transaction log backups, with full and differential backups, allow you to restore a database to a specific point-in-time to the same server that hosts the database.</a:t>
          </a:r>
          <a:endParaRPr lang="en-US" dirty="0"/>
        </a:p>
      </dgm:t>
    </dgm:pt>
    <dgm:pt modelId="{CCE8FC66-47F6-451E-AC2B-D1AD32FF91DA}" type="parTrans" cxnId="{E781C0E8-0254-4F73-B9A0-232C2761E98F}">
      <dgm:prSet/>
      <dgm:spPr/>
      <dgm:t>
        <a:bodyPr/>
        <a:lstStyle/>
        <a:p>
          <a:endParaRPr lang="en-US"/>
        </a:p>
      </dgm:t>
    </dgm:pt>
    <dgm:pt modelId="{826B993A-E20A-4A27-8A57-62DE086733CF}" type="sibTrans" cxnId="{E781C0E8-0254-4F73-B9A0-232C2761E98F}">
      <dgm:prSet/>
      <dgm:spPr/>
      <dgm:t>
        <a:bodyPr/>
        <a:lstStyle/>
        <a:p>
          <a:endParaRPr lang="en-US"/>
        </a:p>
      </dgm:t>
    </dgm:pt>
    <dgm:pt modelId="{4DB95581-53D7-4502-B0CD-BCC970829AEE}">
      <dgm:prSet/>
      <dgm:spPr/>
      <dgm:t>
        <a:bodyPr/>
        <a:lstStyle/>
        <a:p>
          <a:r>
            <a:rPr lang="en-US" baseline="0" dirty="0"/>
            <a:t>When you restore a database, the service figures out which full, differential, and transaction log backups need to be restored.</a:t>
          </a:r>
          <a:endParaRPr lang="en-US" dirty="0"/>
        </a:p>
      </dgm:t>
    </dgm:pt>
    <dgm:pt modelId="{AA7793DB-3753-4859-A6FC-AE2B07DB4C9A}" type="parTrans" cxnId="{1FD034FF-594D-440B-80F1-7B07E89E3FE0}">
      <dgm:prSet/>
      <dgm:spPr/>
      <dgm:t>
        <a:bodyPr/>
        <a:lstStyle/>
        <a:p>
          <a:endParaRPr lang="en-US"/>
        </a:p>
      </dgm:t>
    </dgm:pt>
    <dgm:pt modelId="{5C9C8437-4847-46B7-B7D6-FC1D274FFA05}" type="sibTrans" cxnId="{1FD034FF-594D-440B-80F1-7B07E89E3FE0}">
      <dgm:prSet/>
      <dgm:spPr/>
      <dgm:t>
        <a:bodyPr/>
        <a:lstStyle/>
        <a:p>
          <a:endParaRPr lang="en-US"/>
        </a:p>
      </dgm:t>
    </dgm:pt>
    <dgm:pt modelId="{C618C67C-D109-4C86-9CE6-15FDB0DDAF04}">
      <dgm:prSet/>
      <dgm:spPr/>
      <dgm:t>
        <a:bodyPr/>
        <a:lstStyle/>
        <a:p>
          <a:endParaRPr lang="en-US" dirty="0"/>
        </a:p>
      </dgm:t>
    </dgm:pt>
    <dgm:pt modelId="{CEE5D1B2-0099-4614-9092-D718BB4031A8}" type="parTrans" cxnId="{D3907D43-FBA5-40E0-8578-1C0C71BB5730}">
      <dgm:prSet/>
      <dgm:spPr/>
      <dgm:t>
        <a:bodyPr/>
        <a:lstStyle/>
        <a:p>
          <a:endParaRPr lang="en-US"/>
        </a:p>
      </dgm:t>
    </dgm:pt>
    <dgm:pt modelId="{3C362389-BBE3-4D62-9DDB-261DC72F3882}" type="sibTrans" cxnId="{D3907D43-FBA5-40E0-8578-1C0C71BB5730}">
      <dgm:prSet/>
      <dgm:spPr/>
      <dgm:t>
        <a:bodyPr/>
        <a:lstStyle/>
        <a:p>
          <a:endParaRPr lang="en-US"/>
        </a:p>
      </dgm:t>
    </dgm:pt>
    <dgm:pt modelId="{49368832-C572-4E56-9F99-EFCB6A93C816}">
      <dgm:prSet/>
      <dgm:spPr/>
      <dgm:t>
        <a:bodyPr/>
        <a:lstStyle/>
        <a:p>
          <a:endParaRPr lang="en-US" dirty="0"/>
        </a:p>
      </dgm:t>
    </dgm:pt>
    <dgm:pt modelId="{F787D6F9-2048-48E9-9133-99E459D7AE35}" type="parTrans" cxnId="{88F087DB-FA54-4F48-8E37-68AD98249668}">
      <dgm:prSet/>
      <dgm:spPr/>
      <dgm:t>
        <a:bodyPr/>
        <a:lstStyle/>
        <a:p>
          <a:endParaRPr lang="en-US"/>
        </a:p>
      </dgm:t>
    </dgm:pt>
    <dgm:pt modelId="{E2DFCBB9-EEB8-4772-A2D0-308E2CFCDA47}" type="sibTrans" cxnId="{88F087DB-FA54-4F48-8E37-68AD98249668}">
      <dgm:prSet/>
      <dgm:spPr/>
      <dgm:t>
        <a:bodyPr/>
        <a:lstStyle/>
        <a:p>
          <a:endParaRPr lang="en-US"/>
        </a:p>
      </dgm:t>
    </dgm:pt>
    <dgm:pt modelId="{15835732-6894-4C9B-82DE-48AD9C5C5B04}" type="pres">
      <dgm:prSet presAssocID="{FF9891D6-64BB-46EC-8573-56BBFE53ED3C}" presName="linearFlow" presStyleCnt="0">
        <dgm:presLayoutVars>
          <dgm:dir/>
          <dgm:animLvl val="lvl"/>
          <dgm:resizeHandles val="exact"/>
        </dgm:presLayoutVars>
      </dgm:prSet>
      <dgm:spPr/>
    </dgm:pt>
    <dgm:pt modelId="{7A5F7EED-2F0E-417B-AB9F-9FBBCF98FB36}" type="pres">
      <dgm:prSet presAssocID="{661A5FB8-4475-4AB4-9BB8-EA9D65364BD9}" presName="composite" presStyleCnt="0"/>
      <dgm:spPr/>
    </dgm:pt>
    <dgm:pt modelId="{35711FBF-18DC-4B4C-8902-0A5FD56F3015}" type="pres">
      <dgm:prSet presAssocID="{661A5FB8-4475-4AB4-9BB8-EA9D65364BD9}" presName="parentText" presStyleLbl="alignNode1" presStyleIdx="0" presStyleCnt="3">
        <dgm:presLayoutVars>
          <dgm:chMax val="1"/>
          <dgm:bulletEnabled val="1"/>
        </dgm:presLayoutVars>
      </dgm:prSet>
      <dgm:spPr/>
    </dgm:pt>
    <dgm:pt modelId="{0915C056-74DD-47B1-8D76-B698D80D2D01}" type="pres">
      <dgm:prSet presAssocID="{661A5FB8-4475-4AB4-9BB8-EA9D65364BD9}" presName="descendantText" presStyleLbl="alignAcc1" presStyleIdx="0" presStyleCnt="3">
        <dgm:presLayoutVars>
          <dgm:bulletEnabled val="1"/>
        </dgm:presLayoutVars>
      </dgm:prSet>
      <dgm:spPr/>
    </dgm:pt>
    <dgm:pt modelId="{876CDD85-58F7-4E81-BE60-E7CA39586DC5}" type="pres">
      <dgm:prSet presAssocID="{950FBEF0-2E17-4119-8D39-9B1BFCE6F13F}" presName="sp" presStyleCnt="0"/>
      <dgm:spPr/>
    </dgm:pt>
    <dgm:pt modelId="{D0565B8B-A41E-429E-B611-B39B03788B17}" type="pres">
      <dgm:prSet presAssocID="{C618C67C-D109-4C86-9CE6-15FDB0DDAF04}" presName="composite" presStyleCnt="0"/>
      <dgm:spPr/>
    </dgm:pt>
    <dgm:pt modelId="{AC5A471C-C75E-48EA-9A82-25760D641C25}" type="pres">
      <dgm:prSet presAssocID="{C618C67C-D109-4C86-9CE6-15FDB0DDAF04}" presName="parentText" presStyleLbl="alignNode1" presStyleIdx="1" presStyleCnt="3">
        <dgm:presLayoutVars>
          <dgm:chMax val="1"/>
          <dgm:bulletEnabled val="1"/>
        </dgm:presLayoutVars>
      </dgm:prSet>
      <dgm:spPr/>
    </dgm:pt>
    <dgm:pt modelId="{F1327259-AA5A-4D3A-B074-92B3E45AC9A1}" type="pres">
      <dgm:prSet presAssocID="{C618C67C-D109-4C86-9CE6-15FDB0DDAF04}" presName="descendantText" presStyleLbl="alignAcc1" presStyleIdx="1" presStyleCnt="3">
        <dgm:presLayoutVars>
          <dgm:bulletEnabled val="1"/>
        </dgm:presLayoutVars>
      </dgm:prSet>
      <dgm:spPr/>
    </dgm:pt>
    <dgm:pt modelId="{B2D520EC-9EE4-45DF-BD70-1820218F98FB}" type="pres">
      <dgm:prSet presAssocID="{3C362389-BBE3-4D62-9DDB-261DC72F3882}" presName="sp" presStyleCnt="0"/>
      <dgm:spPr/>
    </dgm:pt>
    <dgm:pt modelId="{A11C0D7F-84ED-4FEC-8A8F-BC38719572EB}" type="pres">
      <dgm:prSet presAssocID="{49368832-C572-4E56-9F99-EFCB6A93C816}" presName="composite" presStyleCnt="0"/>
      <dgm:spPr/>
    </dgm:pt>
    <dgm:pt modelId="{A5D84390-D0BC-47A9-9087-87EFA53406BC}" type="pres">
      <dgm:prSet presAssocID="{49368832-C572-4E56-9F99-EFCB6A93C816}" presName="parentText" presStyleLbl="alignNode1" presStyleIdx="2" presStyleCnt="3">
        <dgm:presLayoutVars>
          <dgm:chMax val="1"/>
          <dgm:bulletEnabled val="1"/>
        </dgm:presLayoutVars>
      </dgm:prSet>
      <dgm:spPr/>
    </dgm:pt>
    <dgm:pt modelId="{F4740373-9527-4861-925E-399D8B8C6513}" type="pres">
      <dgm:prSet presAssocID="{49368832-C572-4E56-9F99-EFCB6A93C816}" presName="descendantText" presStyleLbl="alignAcc1" presStyleIdx="2" presStyleCnt="3">
        <dgm:presLayoutVars>
          <dgm:bulletEnabled val="1"/>
        </dgm:presLayoutVars>
      </dgm:prSet>
      <dgm:spPr/>
    </dgm:pt>
  </dgm:ptLst>
  <dgm:cxnLst>
    <dgm:cxn modelId="{1064BC16-C3A7-4648-A9C7-0EAC58E07F35}" srcId="{661A5FB8-4475-4AB4-9BB8-EA9D65364BD9}" destId="{9F05F7CE-BD82-4D4F-B484-BD6D86BDA38C}" srcOrd="0" destOrd="0" parTransId="{E4AB5E04-9FD6-44D2-AA6A-292030A42ED6}" sibTransId="{EC902BD1-66F2-45DA-A3F6-41C5B263862B}"/>
    <dgm:cxn modelId="{0CE3EB34-2D8F-45FD-8F98-AA71EB04CB57}" srcId="{FF9891D6-64BB-46EC-8573-56BBFE53ED3C}" destId="{661A5FB8-4475-4AB4-9BB8-EA9D65364BD9}" srcOrd="0" destOrd="0" parTransId="{3F25C0D2-E944-4C82-B23B-7BDFF197C12F}" sibTransId="{950FBEF0-2E17-4119-8D39-9B1BFCE6F13F}"/>
    <dgm:cxn modelId="{D3907D43-FBA5-40E0-8578-1C0C71BB5730}" srcId="{FF9891D6-64BB-46EC-8573-56BBFE53ED3C}" destId="{C618C67C-D109-4C86-9CE6-15FDB0DDAF04}" srcOrd="1" destOrd="0" parTransId="{CEE5D1B2-0099-4614-9092-D718BB4031A8}" sibTransId="{3C362389-BBE3-4D62-9DDB-261DC72F3882}"/>
    <dgm:cxn modelId="{1574856E-7F8C-4FA9-8F0D-5DCE6A7572E1}" type="presOf" srcId="{FF9891D6-64BB-46EC-8573-56BBFE53ED3C}" destId="{15835732-6894-4C9B-82DE-48AD9C5C5B04}" srcOrd="0" destOrd="0" presId="urn:microsoft.com/office/officeart/2005/8/layout/chevron2"/>
    <dgm:cxn modelId="{0AD6A37D-4762-437C-A538-13A7BA352A36}" type="presOf" srcId="{9F05F7CE-BD82-4D4F-B484-BD6D86BDA38C}" destId="{0915C056-74DD-47B1-8D76-B698D80D2D01}" srcOrd="0" destOrd="0" presId="urn:microsoft.com/office/officeart/2005/8/layout/chevron2"/>
    <dgm:cxn modelId="{CCB13EA4-64C8-475B-8A14-0CDFCFF7B3AF}" type="presOf" srcId="{4DB95581-53D7-4502-B0CD-BCC970829AEE}" destId="{F4740373-9527-4861-925E-399D8B8C6513}" srcOrd="0" destOrd="0" presId="urn:microsoft.com/office/officeart/2005/8/layout/chevron2"/>
    <dgm:cxn modelId="{0E46FBB3-930E-4D9E-832D-DC72C88537F1}" type="presOf" srcId="{DA40A52F-7046-479F-A308-4CA9F9529319}" destId="{F1327259-AA5A-4D3A-B074-92B3E45AC9A1}" srcOrd="0" destOrd="0" presId="urn:microsoft.com/office/officeart/2005/8/layout/chevron2"/>
    <dgm:cxn modelId="{F8257CD7-5F4E-4E7F-AA11-C7489F124F4D}" type="presOf" srcId="{C618C67C-D109-4C86-9CE6-15FDB0DDAF04}" destId="{AC5A471C-C75E-48EA-9A82-25760D641C25}" srcOrd="0" destOrd="0" presId="urn:microsoft.com/office/officeart/2005/8/layout/chevron2"/>
    <dgm:cxn modelId="{88F087DB-FA54-4F48-8E37-68AD98249668}" srcId="{FF9891D6-64BB-46EC-8573-56BBFE53ED3C}" destId="{49368832-C572-4E56-9F99-EFCB6A93C816}" srcOrd="2" destOrd="0" parTransId="{F787D6F9-2048-48E9-9133-99E459D7AE35}" sibTransId="{E2DFCBB9-EEB8-4772-A2D0-308E2CFCDA47}"/>
    <dgm:cxn modelId="{E781C0E8-0254-4F73-B9A0-232C2761E98F}" srcId="{C618C67C-D109-4C86-9CE6-15FDB0DDAF04}" destId="{DA40A52F-7046-479F-A308-4CA9F9529319}" srcOrd="0" destOrd="0" parTransId="{CCE8FC66-47F6-451E-AC2B-D1AD32FF91DA}" sibTransId="{826B993A-E20A-4A27-8A57-62DE086733CF}"/>
    <dgm:cxn modelId="{44DA38EA-7013-4112-90DE-33142A5146A7}" type="presOf" srcId="{661A5FB8-4475-4AB4-9BB8-EA9D65364BD9}" destId="{35711FBF-18DC-4B4C-8902-0A5FD56F3015}" srcOrd="0" destOrd="0" presId="urn:microsoft.com/office/officeart/2005/8/layout/chevron2"/>
    <dgm:cxn modelId="{2D9A54EA-D4E9-4140-B4C0-99F657EB7EDF}" type="presOf" srcId="{49368832-C572-4E56-9F99-EFCB6A93C816}" destId="{A5D84390-D0BC-47A9-9087-87EFA53406BC}" srcOrd="0" destOrd="0" presId="urn:microsoft.com/office/officeart/2005/8/layout/chevron2"/>
    <dgm:cxn modelId="{1FD034FF-594D-440B-80F1-7B07E89E3FE0}" srcId="{49368832-C572-4E56-9F99-EFCB6A93C816}" destId="{4DB95581-53D7-4502-B0CD-BCC970829AEE}" srcOrd="0" destOrd="0" parTransId="{AA7793DB-3753-4859-A6FC-AE2B07DB4C9A}" sibTransId="{5C9C8437-4847-46B7-B7D6-FC1D274FFA05}"/>
    <dgm:cxn modelId="{72499F1C-DE66-4029-BF5B-06A3D2F83CE4}" type="presParOf" srcId="{15835732-6894-4C9B-82DE-48AD9C5C5B04}" destId="{7A5F7EED-2F0E-417B-AB9F-9FBBCF98FB36}" srcOrd="0" destOrd="0" presId="urn:microsoft.com/office/officeart/2005/8/layout/chevron2"/>
    <dgm:cxn modelId="{01170F0C-C407-4C3F-A373-C0D4F8C61486}" type="presParOf" srcId="{7A5F7EED-2F0E-417B-AB9F-9FBBCF98FB36}" destId="{35711FBF-18DC-4B4C-8902-0A5FD56F3015}" srcOrd="0" destOrd="0" presId="urn:microsoft.com/office/officeart/2005/8/layout/chevron2"/>
    <dgm:cxn modelId="{E66C600B-CC60-42A4-BF93-E0F07DF4A013}" type="presParOf" srcId="{7A5F7EED-2F0E-417B-AB9F-9FBBCF98FB36}" destId="{0915C056-74DD-47B1-8D76-B698D80D2D01}" srcOrd="1" destOrd="0" presId="urn:microsoft.com/office/officeart/2005/8/layout/chevron2"/>
    <dgm:cxn modelId="{BC88B7CE-8B4E-4C71-8D2F-E35E6A00D028}" type="presParOf" srcId="{15835732-6894-4C9B-82DE-48AD9C5C5B04}" destId="{876CDD85-58F7-4E81-BE60-E7CA39586DC5}" srcOrd="1" destOrd="0" presId="urn:microsoft.com/office/officeart/2005/8/layout/chevron2"/>
    <dgm:cxn modelId="{2788128D-60D6-474B-8D43-568985FB43BF}" type="presParOf" srcId="{15835732-6894-4C9B-82DE-48AD9C5C5B04}" destId="{D0565B8B-A41E-429E-B611-B39B03788B17}" srcOrd="2" destOrd="0" presId="urn:microsoft.com/office/officeart/2005/8/layout/chevron2"/>
    <dgm:cxn modelId="{8B202849-28B7-4FE4-8167-1471B2AF6273}" type="presParOf" srcId="{D0565B8B-A41E-429E-B611-B39B03788B17}" destId="{AC5A471C-C75E-48EA-9A82-25760D641C25}" srcOrd="0" destOrd="0" presId="urn:microsoft.com/office/officeart/2005/8/layout/chevron2"/>
    <dgm:cxn modelId="{C70DB53D-68D1-4051-9635-398283F13DF6}" type="presParOf" srcId="{D0565B8B-A41E-429E-B611-B39B03788B17}" destId="{F1327259-AA5A-4D3A-B074-92B3E45AC9A1}" srcOrd="1" destOrd="0" presId="urn:microsoft.com/office/officeart/2005/8/layout/chevron2"/>
    <dgm:cxn modelId="{A7F9B80A-5285-4710-8CF5-6A8AE66F8901}" type="presParOf" srcId="{15835732-6894-4C9B-82DE-48AD9C5C5B04}" destId="{B2D520EC-9EE4-45DF-BD70-1820218F98FB}" srcOrd="3" destOrd="0" presId="urn:microsoft.com/office/officeart/2005/8/layout/chevron2"/>
    <dgm:cxn modelId="{19398771-9F1F-48EA-9711-76DCD0288B5F}" type="presParOf" srcId="{15835732-6894-4C9B-82DE-48AD9C5C5B04}" destId="{A11C0D7F-84ED-4FEC-8A8F-BC38719572EB}" srcOrd="4" destOrd="0" presId="urn:microsoft.com/office/officeart/2005/8/layout/chevron2"/>
    <dgm:cxn modelId="{1E2704F3-AE1F-4904-8A4E-2C084ED245B9}" type="presParOf" srcId="{A11C0D7F-84ED-4FEC-8A8F-BC38719572EB}" destId="{A5D84390-D0BC-47A9-9087-87EFA53406BC}" srcOrd="0" destOrd="0" presId="urn:microsoft.com/office/officeart/2005/8/layout/chevron2"/>
    <dgm:cxn modelId="{CA147AF8-7FF9-4863-8C4B-A0C8DC56C752}" type="presParOf" srcId="{A11C0D7F-84ED-4FEC-8A8F-BC38719572EB}" destId="{F4740373-9527-4861-925E-399D8B8C6513}"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D1AB32A-6069-446F-810F-BCA9809A4EE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B91F91F-4204-40F4-B539-4CA62625F287}">
      <dgm:prSet phldrT="[Text]" custT="1"/>
      <dgm:spPr>
        <a:xfrm>
          <a:off x="573261" y="538"/>
          <a:ext cx="10667144" cy="678960"/>
        </a:xfrm>
        <a:prstGeom prst="roundRect">
          <a:avLst/>
        </a:prstGeom>
      </dgm:spPr>
      <dgm:t>
        <a:bodyPr/>
        <a:lstStyle/>
        <a:p>
          <a:pPr>
            <a:buNone/>
          </a:pPr>
          <a:r>
            <a:rPr lang="en-US" sz="1800" dirty="0">
              <a:latin typeface="Segoe UI Light"/>
              <a:ea typeface="+mn-ea"/>
              <a:cs typeface="+mn-cs"/>
            </a:rPr>
            <a:t>All Azure SQL databases (single, pooled, and managed instance databases) have a default backup retention period of </a:t>
          </a:r>
          <a:r>
            <a:rPr lang="en-US" sz="1800" b="1" dirty="0">
              <a:latin typeface="Segoe UI Light"/>
              <a:ea typeface="+mn-ea"/>
              <a:cs typeface="+mn-cs"/>
            </a:rPr>
            <a:t>seven</a:t>
          </a:r>
          <a:r>
            <a:rPr lang="en-US" sz="1800" dirty="0">
              <a:latin typeface="Segoe UI Light"/>
              <a:ea typeface="+mn-ea"/>
              <a:cs typeface="+mn-cs"/>
            </a:rPr>
            <a:t> days. </a:t>
          </a:r>
        </a:p>
      </dgm:t>
    </dgm:pt>
    <dgm:pt modelId="{2DF5ED19-C1FF-4A08-8896-B6F93DDCAE5C}" type="parTrans" cxnId="{B4A449E6-9124-4CC7-86F1-66B53C3430C3}">
      <dgm:prSet/>
      <dgm:spPr/>
      <dgm:t>
        <a:bodyPr/>
        <a:lstStyle/>
        <a:p>
          <a:endParaRPr lang="en-US"/>
        </a:p>
      </dgm:t>
    </dgm:pt>
    <dgm:pt modelId="{10374AF0-3A5D-434E-A0C2-F1D4AB2579B7}" type="sibTrans" cxnId="{B4A449E6-9124-4CC7-86F1-66B53C3430C3}">
      <dgm:prSet/>
      <dgm:spPr/>
      <dgm:t>
        <a:bodyPr/>
        <a:lstStyle/>
        <a:p>
          <a:endParaRPr lang="en-US"/>
        </a:p>
      </dgm:t>
    </dgm:pt>
    <dgm:pt modelId="{FF2B19F1-1DCC-4EE8-8342-6D3E39F63766}">
      <dgm:prSet custT="1"/>
      <dgm:spPr>
        <a:xfrm>
          <a:off x="573261" y="1043818"/>
          <a:ext cx="10667144" cy="678960"/>
        </a:xfrm>
        <a:prstGeom prst="roundRect">
          <a:avLst/>
        </a:prstGeom>
      </dgm:spPr>
      <dgm:t>
        <a:bodyPr/>
        <a:lstStyle/>
        <a:p>
          <a:pPr>
            <a:buNone/>
          </a:pPr>
          <a:r>
            <a:rPr lang="en-US" sz="1800" dirty="0">
              <a:latin typeface="Segoe UI Light"/>
              <a:ea typeface="+mn-ea"/>
              <a:cs typeface="+mn-cs"/>
            </a:rPr>
            <a:t>You can change backup retention period up to 35 days.</a:t>
          </a:r>
        </a:p>
      </dgm:t>
    </dgm:pt>
    <dgm:pt modelId="{E9421434-C77E-4368-B0F5-0DEE4F620B1C}" type="parTrans" cxnId="{2DCC9DE2-5537-4974-B335-28E27264B4BB}">
      <dgm:prSet/>
      <dgm:spPr/>
      <dgm:t>
        <a:bodyPr/>
        <a:lstStyle/>
        <a:p>
          <a:endParaRPr lang="en-US"/>
        </a:p>
      </dgm:t>
    </dgm:pt>
    <dgm:pt modelId="{F46C54D9-FC1B-47AA-A860-E30A1BE31B0F}" type="sibTrans" cxnId="{2DCC9DE2-5537-4974-B335-28E27264B4BB}">
      <dgm:prSet/>
      <dgm:spPr/>
      <dgm:t>
        <a:bodyPr/>
        <a:lstStyle/>
        <a:p>
          <a:endParaRPr lang="en-US"/>
        </a:p>
      </dgm:t>
    </dgm:pt>
    <dgm:pt modelId="{0D1D8AB7-12D8-4C91-8790-CCBEB02A3A76}">
      <dgm:prSet custT="1"/>
      <dgm:spPr>
        <a:xfrm>
          <a:off x="573261" y="2087098"/>
          <a:ext cx="10667144" cy="678960"/>
        </a:xfrm>
        <a:prstGeom prst="roundRect">
          <a:avLst/>
        </a:prstGeom>
      </dgm:spPr>
      <dgm:t>
        <a:bodyPr/>
        <a:lstStyle/>
        <a:p>
          <a:pPr>
            <a:buNone/>
          </a:pPr>
          <a:r>
            <a:rPr lang="en-US" sz="1800">
              <a:latin typeface="Segoe UI Light"/>
              <a:ea typeface="+mn-ea"/>
              <a:cs typeface="+mn-cs"/>
            </a:rPr>
            <a:t>If you delete a database, SQL Database will keep the backups in the same way it would for an online database.</a:t>
          </a:r>
          <a:endParaRPr lang="en-US" sz="1800" dirty="0">
            <a:latin typeface="Segoe UI Light"/>
            <a:ea typeface="+mn-ea"/>
            <a:cs typeface="+mn-cs"/>
          </a:endParaRPr>
        </a:p>
      </dgm:t>
    </dgm:pt>
    <dgm:pt modelId="{832E5C04-1D93-4E10-8A52-AA158187698C}" type="parTrans" cxnId="{95599373-91CC-4752-A4BE-6C5D0A531D62}">
      <dgm:prSet/>
      <dgm:spPr/>
      <dgm:t>
        <a:bodyPr/>
        <a:lstStyle/>
        <a:p>
          <a:endParaRPr lang="en-US"/>
        </a:p>
      </dgm:t>
    </dgm:pt>
    <dgm:pt modelId="{6AEDE980-A207-4D85-B40E-93C2E3878666}" type="sibTrans" cxnId="{95599373-91CC-4752-A4BE-6C5D0A531D62}">
      <dgm:prSet/>
      <dgm:spPr/>
      <dgm:t>
        <a:bodyPr/>
        <a:lstStyle/>
        <a:p>
          <a:endParaRPr lang="en-US"/>
        </a:p>
      </dgm:t>
    </dgm:pt>
    <dgm:pt modelId="{B2DADD0B-333D-4940-8CBB-E4C4A4CAD4A4}">
      <dgm:prSet custT="1"/>
      <dgm:spPr>
        <a:xfrm>
          <a:off x="573261" y="3130378"/>
          <a:ext cx="10667144" cy="678960"/>
        </a:xfrm>
        <a:prstGeom prst="roundRect">
          <a:avLst/>
        </a:prstGeom>
      </dgm:spPr>
      <dgm:t>
        <a:bodyPr/>
        <a:lstStyle/>
        <a:p>
          <a:pPr>
            <a:buNone/>
          </a:pPr>
          <a:r>
            <a:rPr lang="en-US" sz="1800" dirty="0">
              <a:latin typeface="Segoe UI Light"/>
              <a:ea typeface="+mn-ea"/>
              <a:cs typeface="+mn-cs"/>
            </a:rPr>
            <a:t>If you need to keep the backups for longer than the maximum retention period, you can modify the backup properties to add one or more long-term retention periods to your database. </a:t>
          </a:r>
        </a:p>
      </dgm:t>
    </dgm:pt>
    <dgm:pt modelId="{38D5491A-39BA-45E7-B4E3-1865C66F2254}" type="parTrans" cxnId="{6828FFA2-6B35-4045-9B9C-F0052D84DA5F}">
      <dgm:prSet/>
      <dgm:spPr/>
      <dgm:t>
        <a:bodyPr/>
        <a:lstStyle/>
        <a:p>
          <a:endParaRPr lang="en-US"/>
        </a:p>
      </dgm:t>
    </dgm:pt>
    <dgm:pt modelId="{AF8E50A5-FE7A-499C-8119-B75511FE50E0}" type="sibTrans" cxnId="{6828FFA2-6B35-4045-9B9C-F0052D84DA5F}">
      <dgm:prSet/>
      <dgm:spPr/>
      <dgm:t>
        <a:bodyPr/>
        <a:lstStyle/>
        <a:p>
          <a:endParaRPr lang="en-US"/>
        </a:p>
      </dgm:t>
    </dgm:pt>
    <dgm:pt modelId="{F4C5C003-E621-429A-80F3-B3BD849B4F2B}" type="pres">
      <dgm:prSet presAssocID="{AD1AB32A-6069-446F-810F-BCA9809A4EED}" presName="linear" presStyleCnt="0">
        <dgm:presLayoutVars>
          <dgm:dir/>
          <dgm:animLvl val="lvl"/>
          <dgm:resizeHandles val="exact"/>
        </dgm:presLayoutVars>
      </dgm:prSet>
      <dgm:spPr/>
    </dgm:pt>
    <dgm:pt modelId="{C9D2FF6E-90FC-4523-890A-1BC17BAC4406}" type="pres">
      <dgm:prSet presAssocID="{5B91F91F-4204-40F4-B539-4CA62625F287}" presName="parentLin" presStyleCnt="0"/>
      <dgm:spPr/>
    </dgm:pt>
    <dgm:pt modelId="{7A36F0AB-8F8D-43CC-967E-729B45090193}" type="pres">
      <dgm:prSet presAssocID="{5B91F91F-4204-40F4-B539-4CA62625F287}" presName="parentLeftMargin" presStyleLbl="node1" presStyleIdx="0" presStyleCnt="4"/>
      <dgm:spPr/>
    </dgm:pt>
    <dgm:pt modelId="{55DC1B8D-923A-4DBD-BE9A-C6C118CA76CB}" type="pres">
      <dgm:prSet presAssocID="{5B91F91F-4204-40F4-B539-4CA62625F287}" presName="parentText" presStyleLbl="node1" presStyleIdx="0" presStyleCnt="4" custScaleX="132913">
        <dgm:presLayoutVars>
          <dgm:chMax val="0"/>
          <dgm:bulletEnabled val="1"/>
        </dgm:presLayoutVars>
      </dgm:prSet>
      <dgm:spPr/>
    </dgm:pt>
    <dgm:pt modelId="{66F77BD9-2A60-4882-B924-1A35C034469C}" type="pres">
      <dgm:prSet presAssocID="{5B91F91F-4204-40F4-B539-4CA62625F287}" presName="negativeSpace" presStyleCnt="0"/>
      <dgm:spPr/>
    </dgm:pt>
    <dgm:pt modelId="{3F7A1FA5-CB4B-4DD1-9E1E-2DD81569BE5F}" type="pres">
      <dgm:prSet presAssocID="{5B91F91F-4204-40F4-B539-4CA62625F287}" presName="childText" presStyleLbl="conFgAcc1" presStyleIdx="0" presStyleCnt="4">
        <dgm:presLayoutVars>
          <dgm:bulletEnabled val="1"/>
        </dgm:presLayoutVars>
      </dgm:prSet>
      <dgm:spPr>
        <a:xfrm>
          <a:off x="0" y="340018"/>
          <a:ext cx="11465228" cy="579600"/>
        </a:xfrm>
        <a:prstGeom prst="rect">
          <a:avLst/>
        </a:prstGeom>
      </dgm:spPr>
    </dgm:pt>
    <dgm:pt modelId="{F08353FC-6CB3-4B49-BD02-3CED661CC065}" type="pres">
      <dgm:prSet presAssocID="{10374AF0-3A5D-434E-A0C2-F1D4AB2579B7}" presName="spaceBetweenRectangles" presStyleCnt="0"/>
      <dgm:spPr/>
    </dgm:pt>
    <dgm:pt modelId="{F96FD91B-672A-44BC-BD98-7E1846E0D5CE}" type="pres">
      <dgm:prSet presAssocID="{FF2B19F1-1DCC-4EE8-8342-6D3E39F63766}" presName="parentLin" presStyleCnt="0"/>
      <dgm:spPr/>
    </dgm:pt>
    <dgm:pt modelId="{B205BFFF-4B1C-4DB7-8161-A48C3607E3C8}" type="pres">
      <dgm:prSet presAssocID="{FF2B19F1-1DCC-4EE8-8342-6D3E39F63766}" presName="parentLeftMargin" presStyleLbl="node1" presStyleIdx="0" presStyleCnt="4"/>
      <dgm:spPr/>
    </dgm:pt>
    <dgm:pt modelId="{C7DDBC1E-4F7B-4F2D-B5AD-A198A1BF65E0}" type="pres">
      <dgm:prSet presAssocID="{FF2B19F1-1DCC-4EE8-8342-6D3E39F63766}" presName="parentText" presStyleLbl="node1" presStyleIdx="1" presStyleCnt="4" custScaleX="132913">
        <dgm:presLayoutVars>
          <dgm:chMax val="0"/>
          <dgm:bulletEnabled val="1"/>
        </dgm:presLayoutVars>
      </dgm:prSet>
      <dgm:spPr/>
    </dgm:pt>
    <dgm:pt modelId="{2A7FC4BC-3DBF-4369-8904-862416DE14F4}" type="pres">
      <dgm:prSet presAssocID="{FF2B19F1-1DCC-4EE8-8342-6D3E39F63766}" presName="negativeSpace" presStyleCnt="0"/>
      <dgm:spPr/>
    </dgm:pt>
    <dgm:pt modelId="{D2F80189-0205-4777-997F-612A455DDD1A}" type="pres">
      <dgm:prSet presAssocID="{FF2B19F1-1DCC-4EE8-8342-6D3E39F63766}" presName="childText" presStyleLbl="conFgAcc1" presStyleIdx="1" presStyleCnt="4">
        <dgm:presLayoutVars>
          <dgm:bulletEnabled val="1"/>
        </dgm:presLayoutVars>
      </dgm:prSet>
      <dgm:spPr>
        <a:xfrm>
          <a:off x="0" y="1383298"/>
          <a:ext cx="11465228" cy="579600"/>
        </a:xfrm>
        <a:prstGeom prst="rect">
          <a:avLst/>
        </a:prstGeom>
      </dgm:spPr>
    </dgm:pt>
    <dgm:pt modelId="{4E75511B-62E0-4E50-8EF2-8DDCF37D12B5}" type="pres">
      <dgm:prSet presAssocID="{F46C54D9-FC1B-47AA-A860-E30A1BE31B0F}" presName="spaceBetweenRectangles" presStyleCnt="0"/>
      <dgm:spPr/>
    </dgm:pt>
    <dgm:pt modelId="{082A437B-42B3-492D-A39D-E58860A6C7C8}" type="pres">
      <dgm:prSet presAssocID="{0D1D8AB7-12D8-4C91-8790-CCBEB02A3A76}" presName="parentLin" presStyleCnt="0"/>
      <dgm:spPr/>
    </dgm:pt>
    <dgm:pt modelId="{4CEABCFF-C122-4039-A28D-AD6C53AE5EF5}" type="pres">
      <dgm:prSet presAssocID="{0D1D8AB7-12D8-4C91-8790-CCBEB02A3A76}" presName="parentLeftMargin" presStyleLbl="node1" presStyleIdx="1" presStyleCnt="4"/>
      <dgm:spPr/>
    </dgm:pt>
    <dgm:pt modelId="{D612F931-9DD0-4520-AEF1-6DD5267AFDFD}" type="pres">
      <dgm:prSet presAssocID="{0D1D8AB7-12D8-4C91-8790-CCBEB02A3A76}" presName="parentText" presStyleLbl="node1" presStyleIdx="2" presStyleCnt="4" custScaleX="132913">
        <dgm:presLayoutVars>
          <dgm:chMax val="0"/>
          <dgm:bulletEnabled val="1"/>
        </dgm:presLayoutVars>
      </dgm:prSet>
      <dgm:spPr/>
    </dgm:pt>
    <dgm:pt modelId="{44C84616-E803-4174-8F56-F224BF233B18}" type="pres">
      <dgm:prSet presAssocID="{0D1D8AB7-12D8-4C91-8790-CCBEB02A3A76}" presName="negativeSpace" presStyleCnt="0"/>
      <dgm:spPr/>
    </dgm:pt>
    <dgm:pt modelId="{E414A71A-7E33-416E-9F98-607A34DBD891}" type="pres">
      <dgm:prSet presAssocID="{0D1D8AB7-12D8-4C91-8790-CCBEB02A3A76}" presName="childText" presStyleLbl="conFgAcc1" presStyleIdx="2" presStyleCnt="4">
        <dgm:presLayoutVars>
          <dgm:bulletEnabled val="1"/>
        </dgm:presLayoutVars>
      </dgm:prSet>
      <dgm:spPr>
        <a:xfrm>
          <a:off x="0" y="2426578"/>
          <a:ext cx="11465228" cy="579600"/>
        </a:xfrm>
        <a:prstGeom prst="rect">
          <a:avLst/>
        </a:prstGeom>
      </dgm:spPr>
    </dgm:pt>
    <dgm:pt modelId="{C688C767-E4EF-4B18-A2F0-7C52B3370FB7}" type="pres">
      <dgm:prSet presAssocID="{6AEDE980-A207-4D85-B40E-93C2E3878666}" presName="spaceBetweenRectangles" presStyleCnt="0"/>
      <dgm:spPr/>
    </dgm:pt>
    <dgm:pt modelId="{5D72F531-4634-4893-A7C4-AA08B0CE1EB2}" type="pres">
      <dgm:prSet presAssocID="{B2DADD0B-333D-4940-8CBB-E4C4A4CAD4A4}" presName="parentLin" presStyleCnt="0"/>
      <dgm:spPr/>
    </dgm:pt>
    <dgm:pt modelId="{87CFFADE-6BE6-49B1-A190-5DD63BC1E4E3}" type="pres">
      <dgm:prSet presAssocID="{B2DADD0B-333D-4940-8CBB-E4C4A4CAD4A4}" presName="parentLeftMargin" presStyleLbl="node1" presStyleIdx="2" presStyleCnt="4"/>
      <dgm:spPr/>
    </dgm:pt>
    <dgm:pt modelId="{DAB552E7-D033-483A-9215-7D2EE3AADBDF}" type="pres">
      <dgm:prSet presAssocID="{B2DADD0B-333D-4940-8CBB-E4C4A4CAD4A4}" presName="parentText" presStyleLbl="node1" presStyleIdx="3" presStyleCnt="4" custScaleX="132913">
        <dgm:presLayoutVars>
          <dgm:chMax val="0"/>
          <dgm:bulletEnabled val="1"/>
        </dgm:presLayoutVars>
      </dgm:prSet>
      <dgm:spPr/>
    </dgm:pt>
    <dgm:pt modelId="{39EDF43F-61D3-4E63-98CD-97A71724305D}" type="pres">
      <dgm:prSet presAssocID="{B2DADD0B-333D-4940-8CBB-E4C4A4CAD4A4}" presName="negativeSpace" presStyleCnt="0"/>
      <dgm:spPr/>
    </dgm:pt>
    <dgm:pt modelId="{75942490-805C-4884-A61A-7CD2EAE6A229}" type="pres">
      <dgm:prSet presAssocID="{B2DADD0B-333D-4940-8CBB-E4C4A4CAD4A4}" presName="childText" presStyleLbl="conFgAcc1" presStyleIdx="3" presStyleCnt="4">
        <dgm:presLayoutVars>
          <dgm:bulletEnabled val="1"/>
        </dgm:presLayoutVars>
      </dgm:prSet>
      <dgm:spPr>
        <a:xfrm>
          <a:off x="0" y="3469858"/>
          <a:ext cx="11465228" cy="579600"/>
        </a:xfrm>
        <a:prstGeom prst="rect">
          <a:avLst/>
        </a:prstGeom>
      </dgm:spPr>
    </dgm:pt>
  </dgm:ptLst>
  <dgm:cxnLst>
    <dgm:cxn modelId="{C6F99710-EDF2-44FF-A785-6A54C98C6ABF}" type="presOf" srcId="{FF2B19F1-1DCC-4EE8-8342-6D3E39F63766}" destId="{B205BFFF-4B1C-4DB7-8161-A48C3607E3C8}" srcOrd="0" destOrd="0" presId="urn:microsoft.com/office/officeart/2005/8/layout/list1"/>
    <dgm:cxn modelId="{3F59EF30-78D0-4379-83E7-F443A977F33A}" type="presOf" srcId="{FF2B19F1-1DCC-4EE8-8342-6D3E39F63766}" destId="{C7DDBC1E-4F7B-4F2D-B5AD-A198A1BF65E0}" srcOrd="1" destOrd="0" presId="urn:microsoft.com/office/officeart/2005/8/layout/list1"/>
    <dgm:cxn modelId="{ADACDB3B-6658-488E-8B09-634E933F19C6}" type="presOf" srcId="{B2DADD0B-333D-4940-8CBB-E4C4A4CAD4A4}" destId="{87CFFADE-6BE6-49B1-A190-5DD63BC1E4E3}" srcOrd="0" destOrd="0" presId="urn:microsoft.com/office/officeart/2005/8/layout/list1"/>
    <dgm:cxn modelId="{968F276B-3AE1-40B8-A1DC-95759F98EE6A}" type="presOf" srcId="{5B91F91F-4204-40F4-B539-4CA62625F287}" destId="{55DC1B8D-923A-4DBD-BE9A-C6C118CA76CB}" srcOrd="1" destOrd="0" presId="urn:microsoft.com/office/officeart/2005/8/layout/list1"/>
    <dgm:cxn modelId="{BA86E74F-7F7F-43D6-8032-6E111B49DF03}" type="presOf" srcId="{0D1D8AB7-12D8-4C91-8790-CCBEB02A3A76}" destId="{D612F931-9DD0-4520-AEF1-6DD5267AFDFD}" srcOrd="1" destOrd="0" presId="urn:microsoft.com/office/officeart/2005/8/layout/list1"/>
    <dgm:cxn modelId="{95599373-91CC-4752-A4BE-6C5D0A531D62}" srcId="{AD1AB32A-6069-446F-810F-BCA9809A4EED}" destId="{0D1D8AB7-12D8-4C91-8790-CCBEB02A3A76}" srcOrd="2" destOrd="0" parTransId="{832E5C04-1D93-4E10-8A52-AA158187698C}" sibTransId="{6AEDE980-A207-4D85-B40E-93C2E3878666}"/>
    <dgm:cxn modelId="{483B1F75-5C1E-43C3-BB58-C9B997D91BDE}" type="presOf" srcId="{0D1D8AB7-12D8-4C91-8790-CCBEB02A3A76}" destId="{4CEABCFF-C122-4039-A28D-AD6C53AE5EF5}" srcOrd="0" destOrd="0" presId="urn:microsoft.com/office/officeart/2005/8/layout/list1"/>
    <dgm:cxn modelId="{1474C47C-1FA0-48F1-B86B-B94ECED7E738}" type="presOf" srcId="{AD1AB32A-6069-446F-810F-BCA9809A4EED}" destId="{F4C5C003-E621-429A-80F3-B3BD849B4F2B}" srcOrd="0" destOrd="0" presId="urn:microsoft.com/office/officeart/2005/8/layout/list1"/>
    <dgm:cxn modelId="{262BC77E-D741-42F8-B6A3-407B846E3670}" type="presOf" srcId="{B2DADD0B-333D-4940-8CBB-E4C4A4CAD4A4}" destId="{DAB552E7-D033-483A-9215-7D2EE3AADBDF}" srcOrd="1" destOrd="0" presId="urn:microsoft.com/office/officeart/2005/8/layout/list1"/>
    <dgm:cxn modelId="{6828FFA2-6B35-4045-9B9C-F0052D84DA5F}" srcId="{AD1AB32A-6069-446F-810F-BCA9809A4EED}" destId="{B2DADD0B-333D-4940-8CBB-E4C4A4CAD4A4}" srcOrd="3" destOrd="0" parTransId="{38D5491A-39BA-45E7-B4E3-1865C66F2254}" sibTransId="{AF8E50A5-FE7A-499C-8119-B75511FE50E0}"/>
    <dgm:cxn modelId="{2DCC9DE2-5537-4974-B335-28E27264B4BB}" srcId="{AD1AB32A-6069-446F-810F-BCA9809A4EED}" destId="{FF2B19F1-1DCC-4EE8-8342-6D3E39F63766}" srcOrd="1" destOrd="0" parTransId="{E9421434-C77E-4368-B0F5-0DEE4F620B1C}" sibTransId="{F46C54D9-FC1B-47AA-A860-E30A1BE31B0F}"/>
    <dgm:cxn modelId="{B4A449E6-9124-4CC7-86F1-66B53C3430C3}" srcId="{AD1AB32A-6069-446F-810F-BCA9809A4EED}" destId="{5B91F91F-4204-40F4-B539-4CA62625F287}" srcOrd="0" destOrd="0" parTransId="{2DF5ED19-C1FF-4A08-8896-B6F93DDCAE5C}" sibTransId="{10374AF0-3A5D-434E-A0C2-F1D4AB2579B7}"/>
    <dgm:cxn modelId="{A40B76F4-2E17-4856-8522-2AFDD03088B4}" type="presOf" srcId="{5B91F91F-4204-40F4-B539-4CA62625F287}" destId="{7A36F0AB-8F8D-43CC-967E-729B45090193}" srcOrd="0" destOrd="0" presId="urn:microsoft.com/office/officeart/2005/8/layout/list1"/>
    <dgm:cxn modelId="{151B0852-E8A8-4524-9EA3-F1561F8AB2F4}" type="presParOf" srcId="{F4C5C003-E621-429A-80F3-B3BD849B4F2B}" destId="{C9D2FF6E-90FC-4523-890A-1BC17BAC4406}" srcOrd="0" destOrd="0" presId="urn:microsoft.com/office/officeart/2005/8/layout/list1"/>
    <dgm:cxn modelId="{D6F56D9A-7000-486F-B3C7-924F57671F39}" type="presParOf" srcId="{C9D2FF6E-90FC-4523-890A-1BC17BAC4406}" destId="{7A36F0AB-8F8D-43CC-967E-729B45090193}" srcOrd="0" destOrd="0" presId="urn:microsoft.com/office/officeart/2005/8/layout/list1"/>
    <dgm:cxn modelId="{9649427F-67F6-46D1-B525-409B2D307551}" type="presParOf" srcId="{C9D2FF6E-90FC-4523-890A-1BC17BAC4406}" destId="{55DC1B8D-923A-4DBD-BE9A-C6C118CA76CB}" srcOrd="1" destOrd="0" presId="urn:microsoft.com/office/officeart/2005/8/layout/list1"/>
    <dgm:cxn modelId="{0943A602-A4EE-427B-91CD-BF99F976BC15}" type="presParOf" srcId="{F4C5C003-E621-429A-80F3-B3BD849B4F2B}" destId="{66F77BD9-2A60-4882-B924-1A35C034469C}" srcOrd="1" destOrd="0" presId="urn:microsoft.com/office/officeart/2005/8/layout/list1"/>
    <dgm:cxn modelId="{779CD0B1-22DF-4C84-9CD1-A4BF99CD6B3B}" type="presParOf" srcId="{F4C5C003-E621-429A-80F3-B3BD849B4F2B}" destId="{3F7A1FA5-CB4B-4DD1-9E1E-2DD81569BE5F}" srcOrd="2" destOrd="0" presId="urn:microsoft.com/office/officeart/2005/8/layout/list1"/>
    <dgm:cxn modelId="{8DC183E1-274E-476B-A836-288D868AD2B4}" type="presParOf" srcId="{F4C5C003-E621-429A-80F3-B3BD849B4F2B}" destId="{F08353FC-6CB3-4B49-BD02-3CED661CC065}" srcOrd="3" destOrd="0" presId="urn:microsoft.com/office/officeart/2005/8/layout/list1"/>
    <dgm:cxn modelId="{279EC508-4955-4718-9B5B-D9E124EA99CB}" type="presParOf" srcId="{F4C5C003-E621-429A-80F3-B3BD849B4F2B}" destId="{F96FD91B-672A-44BC-BD98-7E1846E0D5CE}" srcOrd="4" destOrd="0" presId="urn:microsoft.com/office/officeart/2005/8/layout/list1"/>
    <dgm:cxn modelId="{7E7E1FEC-9A33-4483-ADBC-0AA371381654}" type="presParOf" srcId="{F96FD91B-672A-44BC-BD98-7E1846E0D5CE}" destId="{B205BFFF-4B1C-4DB7-8161-A48C3607E3C8}" srcOrd="0" destOrd="0" presId="urn:microsoft.com/office/officeart/2005/8/layout/list1"/>
    <dgm:cxn modelId="{1ADED27A-56EB-4D57-B39F-42166D1539FB}" type="presParOf" srcId="{F96FD91B-672A-44BC-BD98-7E1846E0D5CE}" destId="{C7DDBC1E-4F7B-4F2D-B5AD-A198A1BF65E0}" srcOrd="1" destOrd="0" presId="urn:microsoft.com/office/officeart/2005/8/layout/list1"/>
    <dgm:cxn modelId="{8A306E75-EF96-46BC-AD5E-0746C3E6040E}" type="presParOf" srcId="{F4C5C003-E621-429A-80F3-B3BD849B4F2B}" destId="{2A7FC4BC-3DBF-4369-8904-862416DE14F4}" srcOrd="5" destOrd="0" presId="urn:microsoft.com/office/officeart/2005/8/layout/list1"/>
    <dgm:cxn modelId="{9C66A707-434E-49FC-8DF9-F47D09B68100}" type="presParOf" srcId="{F4C5C003-E621-429A-80F3-B3BD849B4F2B}" destId="{D2F80189-0205-4777-997F-612A455DDD1A}" srcOrd="6" destOrd="0" presId="urn:microsoft.com/office/officeart/2005/8/layout/list1"/>
    <dgm:cxn modelId="{8E49FEB1-3EB9-4AFA-B772-1C875169D543}" type="presParOf" srcId="{F4C5C003-E621-429A-80F3-B3BD849B4F2B}" destId="{4E75511B-62E0-4E50-8EF2-8DDCF37D12B5}" srcOrd="7" destOrd="0" presId="urn:microsoft.com/office/officeart/2005/8/layout/list1"/>
    <dgm:cxn modelId="{A376C18F-7870-40AF-BCE9-D00896FD8987}" type="presParOf" srcId="{F4C5C003-E621-429A-80F3-B3BD849B4F2B}" destId="{082A437B-42B3-492D-A39D-E58860A6C7C8}" srcOrd="8" destOrd="0" presId="urn:microsoft.com/office/officeart/2005/8/layout/list1"/>
    <dgm:cxn modelId="{135B7160-0CCE-4194-8BD0-1FACB09A8F15}" type="presParOf" srcId="{082A437B-42B3-492D-A39D-E58860A6C7C8}" destId="{4CEABCFF-C122-4039-A28D-AD6C53AE5EF5}" srcOrd="0" destOrd="0" presId="urn:microsoft.com/office/officeart/2005/8/layout/list1"/>
    <dgm:cxn modelId="{694C9780-7D18-4EE2-B765-F0C0A465322C}" type="presParOf" srcId="{082A437B-42B3-492D-A39D-E58860A6C7C8}" destId="{D612F931-9DD0-4520-AEF1-6DD5267AFDFD}" srcOrd="1" destOrd="0" presId="urn:microsoft.com/office/officeart/2005/8/layout/list1"/>
    <dgm:cxn modelId="{6B8FE0A1-EF64-46F7-9557-8BCC55A8C621}" type="presParOf" srcId="{F4C5C003-E621-429A-80F3-B3BD849B4F2B}" destId="{44C84616-E803-4174-8F56-F224BF233B18}" srcOrd="9" destOrd="0" presId="urn:microsoft.com/office/officeart/2005/8/layout/list1"/>
    <dgm:cxn modelId="{B4A15587-F6DB-44CB-A898-847F545EBA3A}" type="presParOf" srcId="{F4C5C003-E621-429A-80F3-B3BD849B4F2B}" destId="{E414A71A-7E33-416E-9F98-607A34DBD891}" srcOrd="10" destOrd="0" presId="urn:microsoft.com/office/officeart/2005/8/layout/list1"/>
    <dgm:cxn modelId="{F67A27F9-29A3-4254-8D08-C31BEAC79184}" type="presParOf" srcId="{F4C5C003-E621-429A-80F3-B3BD849B4F2B}" destId="{C688C767-E4EF-4B18-A2F0-7C52B3370FB7}" srcOrd="11" destOrd="0" presId="urn:microsoft.com/office/officeart/2005/8/layout/list1"/>
    <dgm:cxn modelId="{98C7F460-0ADC-4C61-82CE-FA43B43603C1}" type="presParOf" srcId="{F4C5C003-E621-429A-80F3-B3BD849B4F2B}" destId="{5D72F531-4634-4893-A7C4-AA08B0CE1EB2}" srcOrd="12" destOrd="0" presId="urn:microsoft.com/office/officeart/2005/8/layout/list1"/>
    <dgm:cxn modelId="{7F06A015-081B-442B-BAF2-C1D177EA9515}" type="presParOf" srcId="{5D72F531-4634-4893-A7C4-AA08B0CE1EB2}" destId="{87CFFADE-6BE6-49B1-A190-5DD63BC1E4E3}" srcOrd="0" destOrd="0" presId="urn:microsoft.com/office/officeart/2005/8/layout/list1"/>
    <dgm:cxn modelId="{56111B64-1BF1-4068-9A29-07789EBCADD1}" type="presParOf" srcId="{5D72F531-4634-4893-A7C4-AA08B0CE1EB2}" destId="{DAB552E7-D033-483A-9215-7D2EE3AADBDF}" srcOrd="1" destOrd="0" presId="urn:microsoft.com/office/officeart/2005/8/layout/list1"/>
    <dgm:cxn modelId="{A2632819-8CCB-4003-9D5D-8BA9A6B6319D}" type="presParOf" srcId="{F4C5C003-E621-429A-80F3-B3BD849B4F2B}" destId="{39EDF43F-61D3-4E63-98CD-97A71724305D}" srcOrd="13" destOrd="0" presId="urn:microsoft.com/office/officeart/2005/8/layout/list1"/>
    <dgm:cxn modelId="{804DFA6F-6FE7-4E6B-B11D-2321AC51ACA3}" type="presParOf" srcId="{F4C5C003-E621-429A-80F3-B3BD849B4F2B}" destId="{75942490-805C-4884-A61A-7CD2EAE6A229}"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5CAB082-E970-4C26-910D-F3DBC15BCBE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AE877588-E4FA-4596-B3A4-D1718E1EDF5B}">
      <dgm:prSet/>
      <dgm:spPr/>
      <dgm:t>
        <a:bodyPr/>
        <a:lstStyle/>
        <a:p>
          <a:r>
            <a:rPr lang="en-US" baseline="0" dirty="0"/>
            <a:t>You can change the default PITR backup retention period using the Azure portal, PowerShell, or the REST API. </a:t>
          </a:r>
          <a:endParaRPr lang="en-US" dirty="0"/>
        </a:p>
      </dgm:t>
    </dgm:pt>
    <dgm:pt modelId="{BAD74CC2-13FE-44B5-96B7-E372457286D8}" type="parTrans" cxnId="{7ECDBA3E-02CA-460F-B05D-69B7675EE9FC}">
      <dgm:prSet/>
      <dgm:spPr/>
      <dgm:t>
        <a:bodyPr/>
        <a:lstStyle/>
        <a:p>
          <a:endParaRPr lang="en-US"/>
        </a:p>
      </dgm:t>
    </dgm:pt>
    <dgm:pt modelId="{C0DC2BCC-3A76-46B1-99D9-4C3A15C726DF}" type="sibTrans" cxnId="{7ECDBA3E-02CA-460F-B05D-69B7675EE9FC}">
      <dgm:prSet/>
      <dgm:spPr/>
      <dgm:t>
        <a:bodyPr/>
        <a:lstStyle/>
        <a:p>
          <a:endParaRPr lang="en-US"/>
        </a:p>
      </dgm:t>
    </dgm:pt>
    <dgm:pt modelId="{472FB4C4-5CF3-4010-8783-BD0104DF8827}">
      <dgm:prSet/>
      <dgm:spPr/>
      <dgm:t>
        <a:bodyPr/>
        <a:lstStyle/>
        <a:p>
          <a:r>
            <a:rPr lang="en-US" baseline="0"/>
            <a:t>The following examples illustrate how to change PITR retention to 28 days.</a:t>
          </a:r>
          <a:endParaRPr lang="en-US"/>
        </a:p>
      </dgm:t>
    </dgm:pt>
    <dgm:pt modelId="{61CEC882-0601-48CC-A4E4-EA446128B5C2}" type="parTrans" cxnId="{825CA9CC-CB53-4D57-A994-DFC770D737B1}">
      <dgm:prSet/>
      <dgm:spPr/>
      <dgm:t>
        <a:bodyPr/>
        <a:lstStyle/>
        <a:p>
          <a:endParaRPr lang="en-US"/>
        </a:p>
      </dgm:t>
    </dgm:pt>
    <dgm:pt modelId="{A1B4FA70-EC11-4DB4-B356-237920686465}" type="sibTrans" cxnId="{825CA9CC-CB53-4D57-A994-DFC770D737B1}">
      <dgm:prSet/>
      <dgm:spPr/>
      <dgm:t>
        <a:bodyPr/>
        <a:lstStyle/>
        <a:p>
          <a:endParaRPr lang="en-US"/>
        </a:p>
      </dgm:t>
    </dgm:pt>
    <dgm:pt modelId="{0A2C7AD7-702A-40E7-B09A-509016340069}" type="pres">
      <dgm:prSet presAssocID="{C5CAB082-E970-4C26-910D-F3DBC15BCBED}" presName="linear" presStyleCnt="0">
        <dgm:presLayoutVars>
          <dgm:animLvl val="lvl"/>
          <dgm:resizeHandles val="exact"/>
        </dgm:presLayoutVars>
      </dgm:prSet>
      <dgm:spPr/>
    </dgm:pt>
    <dgm:pt modelId="{A82E41E8-453D-4C57-AB8C-CE49656920B2}" type="pres">
      <dgm:prSet presAssocID="{AE877588-E4FA-4596-B3A4-D1718E1EDF5B}" presName="parentText" presStyleLbl="node1" presStyleIdx="0" presStyleCnt="2">
        <dgm:presLayoutVars>
          <dgm:chMax val="0"/>
          <dgm:bulletEnabled val="1"/>
        </dgm:presLayoutVars>
      </dgm:prSet>
      <dgm:spPr/>
    </dgm:pt>
    <dgm:pt modelId="{8764ABD8-0174-4AE5-8770-C16653B3957D}" type="pres">
      <dgm:prSet presAssocID="{C0DC2BCC-3A76-46B1-99D9-4C3A15C726DF}" presName="spacer" presStyleCnt="0"/>
      <dgm:spPr/>
    </dgm:pt>
    <dgm:pt modelId="{7F0EACEB-049B-4287-96E6-92D08212695A}" type="pres">
      <dgm:prSet presAssocID="{472FB4C4-5CF3-4010-8783-BD0104DF8827}" presName="parentText" presStyleLbl="node1" presStyleIdx="1" presStyleCnt="2">
        <dgm:presLayoutVars>
          <dgm:chMax val="0"/>
          <dgm:bulletEnabled val="1"/>
        </dgm:presLayoutVars>
      </dgm:prSet>
      <dgm:spPr/>
    </dgm:pt>
  </dgm:ptLst>
  <dgm:cxnLst>
    <dgm:cxn modelId="{7ECDBA3E-02CA-460F-B05D-69B7675EE9FC}" srcId="{C5CAB082-E970-4C26-910D-F3DBC15BCBED}" destId="{AE877588-E4FA-4596-B3A4-D1718E1EDF5B}" srcOrd="0" destOrd="0" parTransId="{BAD74CC2-13FE-44B5-96B7-E372457286D8}" sibTransId="{C0DC2BCC-3A76-46B1-99D9-4C3A15C726DF}"/>
    <dgm:cxn modelId="{538FAA65-185B-4BF0-B9EE-B4F89394C53F}" type="presOf" srcId="{472FB4C4-5CF3-4010-8783-BD0104DF8827}" destId="{7F0EACEB-049B-4287-96E6-92D08212695A}" srcOrd="0" destOrd="0" presId="urn:microsoft.com/office/officeart/2005/8/layout/vList2"/>
    <dgm:cxn modelId="{825CA9CC-CB53-4D57-A994-DFC770D737B1}" srcId="{C5CAB082-E970-4C26-910D-F3DBC15BCBED}" destId="{472FB4C4-5CF3-4010-8783-BD0104DF8827}" srcOrd="1" destOrd="0" parTransId="{61CEC882-0601-48CC-A4E4-EA446128B5C2}" sibTransId="{A1B4FA70-EC11-4DB4-B356-237920686465}"/>
    <dgm:cxn modelId="{194755CF-5A9F-4E1C-82E5-275B86C38ECD}" type="presOf" srcId="{C5CAB082-E970-4C26-910D-F3DBC15BCBED}" destId="{0A2C7AD7-702A-40E7-B09A-509016340069}" srcOrd="0" destOrd="0" presId="urn:microsoft.com/office/officeart/2005/8/layout/vList2"/>
    <dgm:cxn modelId="{F6A2B5D3-E02A-4CC7-B040-D29676155D28}" type="presOf" srcId="{AE877588-E4FA-4596-B3A4-D1718E1EDF5B}" destId="{A82E41E8-453D-4C57-AB8C-CE49656920B2}" srcOrd="0" destOrd="0" presId="urn:microsoft.com/office/officeart/2005/8/layout/vList2"/>
    <dgm:cxn modelId="{CA423FF7-11F2-4D42-8E11-C70B4AD40682}" type="presParOf" srcId="{0A2C7AD7-702A-40E7-B09A-509016340069}" destId="{A82E41E8-453D-4C57-AB8C-CE49656920B2}" srcOrd="0" destOrd="0" presId="urn:microsoft.com/office/officeart/2005/8/layout/vList2"/>
    <dgm:cxn modelId="{699F27F0-9541-47EB-942A-19C3F8B61991}" type="presParOf" srcId="{0A2C7AD7-702A-40E7-B09A-509016340069}" destId="{8764ABD8-0174-4AE5-8770-C16653B3957D}" srcOrd="1" destOrd="0" presId="urn:microsoft.com/office/officeart/2005/8/layout/vList2"/>
    <dgm:cxn modelId="{B5987B21-8F84-4F4A-8DBA-6D62399DA417}" type="presParOf" srcId="{0A2C7AD7-702A-40E7-B09A-509016340069}" destId="{7F0EACEB-049B-4287-96E6-92D08212695A}"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7E6128E-D72C-4977-8B74-CF628545F97F}"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ACACBDC7-D18D-410B-9063-199A04988ABA}">
      <dgm:prSet/>
      <dgm:spPr/>
      <dgm:t>
        <a:bodyPr/>
        <a:lstStyle/>
        <a:p>
          <a:r>
            <a:rPr lang="en-US" dirty="0"/>
            <a:t>The supported values are: 7, 14, 21, 28 or 35 days. </a:t>
          </a:r>
        </a:p>
      </dgm:t>
    </dgm:pt>
    <dgm:pt modelId="{614AAF9F-1D87-45E1-BC38-292BAC06C684}" type="parTrans" cxnId="{CB72D175-B93E-4FB5-8039-295CA554335E}">
      <dgm:prSet/>
      <dgm:spPr/>
      <dgm:t>
        <a:bodyPr/>
        <a:lstStyle/>
        <a:p>
          <a:endParaRPr lang="en-US"/>
        </a:p>
      </dgm:t>
    </dgm:pt>
    <dgm:pt modelId="{D01B2526-1F4E-4197-AB32-69C56BDB6D8E}" type="sibTrans" cxnId="{CB72D175-B93E-4FB5-8039-295CA554335E}">
      <dgm:prSet/>
      <dgm:spPr/>
      <dgm:t>
        <a:bodyPr/>
        <a:lstStyle/>
        <a:p>
          <a:endParaRPr lang="en-US"/>
        </a:p>
      </dgm:t>
    </dgm:pt>
    <dgm:pt modelId="{F61D7394-D1B1-46C0-A40A-BCECC4716AA5}" type="pres">
      <dgm:prSet presAssocID="{E7E6128E-D72C-4977-8B74-CF628545F97F}" presName="linear" presStyleCnt="0">
        <dgm:presLayoutVars>
          <dgm:animLvl val="lvl"/>
          <dgm:resizeHandles val="exact"/>
        </dgm:presLayoutVars>
      </dgm:prSet>
      <dgm:spPr/>
    </dgm:pt>
    <dgm:pt modelId="{CC5E8B39-0C06-492A-95E2-4B59CE7302E6}" type="pres">
      <dgm:prSet presAssocID="{ACACBDC7-D18D-410B-9063-199A04988ABA}" presName="parentText" presStyleLbl="node1" presStyleIdx="0" presStyleCnt="1">
        <dgm:presLayoutVars>
          <dgm:chMax val="0"/>
          <dgm:bulletEnabled val="1"/>
        </dgm:presLayoutVars>
      </dgm:prSet>
      <dgm:spPr/>
    </dgm:pt>
  </dgm:ptLst>
  <dgm:cxnLst>
    <dgm:cxn modelId="{CB72D175-B93E-4FB5-8039-295CA554335E}" srcId="{E7E6128E-D72C-4977-8B74-CF628545F97F}" destId="{ACACBDC7-D18D-410B-9063-199A04988ABA}" srcOrd="0" destOrd="0" parTransId="{614AAF9F-1D87-45E1-BC38-292BAC06C684}" sibTransId="{D01B2526-1F4E-4197-AB32-69C56BDB6D8E}"/>
    <dgm:cxn modelId="{D53C71D1-EBA3-4F40-A8AC-9C66CDD3C960}" type="presOf" srcId="{ACACBDC7-D18D-410B-9063-199A04988ABA}" destId="{CC5E8B39-0C06-492A-95E2-4B59CE7302E6}" srcOrd="0" destOrd="0" presId="urn:microsoft.com/office/officeart/2005/8/layout/vList2"/>
    <dgm:cxn modelId="{58B908F0-41C9-4C03-A916-6D580C6EDC17}" type="presOf" srcId="{E7E6128E-D72C-4977-8B74-CF628545F97F}" destId="{F61D7394-D1B1-46C0-A40A-BCECC4716AA5}" srcOrd="0" destOrd="0" presId="urn:microsoft.com/office/officeart/2005/8/layout/vList2"/>
    <dgm:cxn modelId="{46E8A032-60B4-4DDD-8F72-8E9DAED8A157}" type="presParOf" srcId="{F61D7394-D1B1-46C0-A40A-BCECC4716AA5}" destId="{CC5E8B39-0C06-492A-95E2-4B59CE7302E6}"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6859046-6CEB-4758-B837-9FDD86C8554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73721CF6-1353-4CCF-A479-F86FD8FC1CD8}">
      <dgm:prSet custT="1"/>
      <dgm:spPr/>
      <dgm:t>
        <a:bodyPr/>
        <a:lstStyle/>
        <a:p>
          <a:r>
            <a:rPr lang="en-US" sz="2400" baseline="0" dirty="0"/>
            <a:t>You can configure a single or a pooled database with a long-term backup retention policy (LTR) to automatically retain the database backups in separate Azure Blob storage containers for up to 10 years.</a:t>
          </a:r>
          <a:endParaRPr lang="en-US" sz="2400" dirty="0"/>
        </a:p>
      </dgm:t>
    </dgm:pt>
    <dgm:pt modelId="{0CBCBD1F-FD57-41AD-BF5C-DCC503663E04}" type="parTrans" cxnId="{BE2E5EEC-4B22-499E-AF40-3D0A7F341D5A}">
      <dgm:prSet/>
      <dgm:spPr/>
      <dgm:t>
        <a:bodyPr/>
        <a:lstStyle/>
        <a:p>
          <a:endParaRPr lang="en-US"/>
        </a:p>
      </dgm:t>
    </dgm:pt>
    <dgm:pt modelId="{AD0372C9-6414-4E7B-B4D4-471A75D835C6}" type="sibTrans" cxnId="{BE2E5EEC-4B22-499E-AF40-3D0A7F341D5A}">
      <dgm:prSet/>
      <dgm:spPr/>
      <dgm:t>
        <a:bodyPr/>
        <a:lstStyle/>
        <a:p>
          <a:endParaRPr lang="en-US"/>
        </a:p>
      </dgm:t>
    </dgm:pt>
    <dgm:pt modelId="{691ABD5A-490A-4022-9398-937EC35AED2C}">
      <dgm:prSet custT="1"/>
      <dgm:spPr/>
      <dgm:t>
        <a:bodyPr/>
        <a:lstStyle/>
        <a:p>
          <a:r>
            <a:rPr lang="en-US" sz="2400" baseline="0" dirty="0"/>
            <a:t>You can then recover a database using these backups using the Azure portal or PowerShell.</a:t>
          </a:r>
          <a:endParaRPr lang="en-US" sz="2400" dirty="0"/>
        </a:p>
      </dgm:t>
    </dgm:pt>
    <dgm:pt modelId="{7289547A-1E9D-4127-98CF-C769CAC6126D}" type="parTrans" cxnId="{A642A6C1-1271-476A-825D-C12E22CA691E}">
      <dgm:prSet/>
      <dgm:spPr/>
      <dgm:t>
        <a:bodyPr/>
        <a:lstStyle/>
        <a:p>
          <a:endParaRPr lang="en-US"/>
        </a:p>
      </dgm:t>
    </dgm:pt>
    <dgm:pt modelId="{762E9EFA-79E2-4B03-A40A-16029A1E50DD}" type="sibTrans" cxnId="{A642A6C1-1271-476A-825D-C12E22CA691E}">
      <dgm:prSet/>
      <dgm:spPr/>
      <dgm:t>
        <a:bodyPr/>
        <a:lstStyle/>
        <a:p>
          <a:endParaRPr lang="en-US"/>
        </a:p>
      </dgm:t>
    </dgm:pt>
    <dgm:pt modelId="{889A33D0-0A83-4976-B4CF-9E65DBC75C34}">
      <dgm:prSet custT="1"/>
      <dgm:spPr/>
      <dgm:t>
        <a:bodyPr/>
        <a:lstStyle/>
        <a:p>
          <a:r>
            <a:rPr lang="en-US" sz="2400" baseline="0" dirty="0"/>
            <a:t>Deleting LTR backup is non-reversible. To delete an LTR backup after the server has been deleted you must have Subscription scope permission. </a:t>
          </a:r>
          <a:endParaRPr lang="en-US" sz="2400" dirty="0"/>
        </a:p>
      </dgm:t>
    </dgm:pt>
    <dgm:pt modelId="{E0605C63-8C46-4335-8B4D-3E32DAFD4317}" type="parTrans" cxnId="{FCF3EC2A-5B5B-4BB9-95E5-EB4E3C191A96}">
      <dgm:prSet/>
      <dgm:spPr/>
      <dgm:t>
        <a:bodyPr/>
        <a:lstStyle/>
        <a:p>
          <a:endParaRPr lang="en-US"/>
        </a:p>
      </dgm:t>
    </dgm:pt>
    <dgm:pt modelId="{8E5D7342-18EE-4DDA-805A-8CD492C0D4E5}" type="sibTrans" cxnId="{FCF3EC2A-5B5B-4BB9-95E5-EB4E3C191A96}">
      <dgm:prSet/>
      <dgm:spPr/>
      <dgm:t>
        <a:bodyPr/>
        <a:lstStyle/>
        <a:p>
          <a:endParaRPr lang="en-US"/>
        </a:p>
      </dgm:t>
    </dgm:pt>
    <dgm:pt modelId="{6CFF8567-C3BE-4006-A4DA-AF726DCF5E9F}" type="pres">
      <dgm:prSet presAssocID="{96859046-6CEB-4758-B837-9FDD86C85542}" presName="linear" presStyleCnt="0">
        <dgm:presLayoutVars>
          <dgm:animLvl val="lvl"/>
          <dgm:resizeHandles val="exact"/>
        </dgm:presLayoutVars>
      </dgm:prSet>
      <dgm:spPr/>
    </dgm:pt>
    <dgm:pt modelId="{0C6109BC-E447-4311-91F9-BC168524E549}" type="pres">
      <dgm:prSet presAssocID="{73721CF6-1353-4CCF-A479-F86FD8FC1CD8}" presName="parentText" presStyleLbl="node1" presStyleIdx="0" presStyleCnt="3">
        <dgm:presLayoutVars>
          <dgm:chMax val="0"/>
          <dgm:bulletEnabled val="1"/>
        </dgm:presLayoutVars>
      </dgm:prSet>
      <dgm:spPr/>
    </dgm:pt>
    <dgm:pt modelId="{4EDEE049-C3A5-499D-98A2-CAAF8A473C89}" type="pres">
      <dgm:prSet presAssocID="{AD0372C9-6414-4E7B-B4D4-471A75D835C6}" presName="spacer" presStyleCnt="0"/>
      <dgm:spPr/>
    </dgm:pt>
    <dgm:pt modelId="{403B58F7-6A25-44FC-ADE7-AADED7863554}" type="pres">
      <dgm:prSet presAssocID="{691ABD5A-490A-4022-9398-937EC35AED2C}" presName="parentText" presStyleLbl="node1" presStyleIdx="1" presStyleCnt="3">
        <dgm:presLayoutVars>
          <dgm:chMax val="0"/>
          <dgm:bulletEnabled val="1"/>
        </dgm:presLayoutVars>
      </dgm:prSet>
      <dgm:spPr/>
    </dgm:pt>
    <dgm:pt modelId="{1E014258-2958-40AE-907D-19806FA76DE1}" type="pres">
      <dgm:prSet presAssocID="{762E9EFA-79E2-4B03-A40A-16029A1E50DD}" presName="spacer" presStyleCnt="0"/>
      <dgm:spPr/>
    </dgm:pt>
    <dgm:pt modelId="{0D5563E3-B4A2-47FC-9998-1EB7FE0368CC}" type="pres">
      <dgm:prSet presAssocID="{889A33D0-0A83-4976-B4CF-9E65DBC75C34}" presName="parentText" presStyleLbl="node1" presStyleIdx="2" presStyleCnt="3">
        <dgm:presLayoutVars>
          <dgm:chMax val="0"/>
          <dgm:bulletEnabled val="1"/>
        </dgm:presLayoutVars>
      </dgm:prSet>
      <dgm:spPr/>
    </dgm:pt>
  </dgm:ptLst>
  <dgm:cxnLst>
    <dgm:cxn modelId="{FCF3EC2A-5B5B-4BB9-95E5-EB4E3C191A96}" srcId="{96859046-6CEB-4758-B837-9FDD86C85542}" destId="{889A33D0-0A83-4976-B4CF-9E65DBC75C34}" srcOrd="2" destOrd="0" parTransId="{E0605C63-8C46-4335-8B4D-3E32DAFD4317}" sibTransId="{8E5D7342-18EE-4DDA-805A-8CD492C0D4E5}"/>
    <dgm:cxn modelId="{C2FA3DA7-2A79-42A6-AF74-DEB879AF9EAA}" type="presOf" srcId="{96859046-6CEB-4758-B837-9FDD86C85542}" destId="{6CFF8567-C3BE-4006-A4DA-AF726DCF5E9F}" srcOrd="0" destOrd="0" presId="urn:microsoft.com/office/officeart/2005/8/layout/vList2"/>
    <dgm:cxn modelId="{A642A6C1-1271-476A-825D-C12E22CA691E}" srcId="{96859046-6CEB-4758-B837-9FDD86C85542}" destId="{691ABD5A-490A-4022-9398-937EC35AED2C}" srcOrd="1" destOrd="0" parTransId="{7289547A-1E9D-4127-98CF-C769CAC6126D}" sibTransId="{762E9EFA-79E2-4B03-A40A-16029A1E50DD}"/>
    <dgm:cxn modelId="{BB1D0FD5-4D38-4E1D-BFA5-02CB5A081E44}" type="presOf" srcId="{889A33D0-0A83-4976-B4CF-9E65DBC75C34}" destId="{0D5563E3-B4A2-47FC-9998-1EB7FE0368CC}" srcOrd="0" destOrd="0" presId="urn:microsoft.com/office/officeart/2005/8/layout/vList2"/>
    <dgm:cxn modelId="{4900EADA-4531-4184-BFFA-21B1F059BC6E}" type="presOf" srcId="{691ABD5A-490A-4022-9398-937EC35AED2C}" destId="{403B58F7-6A25-44FC-ADE7-AADED7863554}" srcOrd="0" destOrd="0" presId="urn:microsoft.com/office/officeart/2005/8/layout/vList2"/>
    <dgm:cxn modelId="{BE2E5EEC-4B22-499E-AF40-3D0A7F341D5A}" srcId="{96859046-6CEB-4758-B837-9FDD86C85542}" destId="{73721CF6-1353-4CCF-A479-F86FD8FC1CD8}" srcOrd="0" destOrd="0" parTransId="{0CBCBD1F-FD57-41AD-BF5C-DCC503663E04}" sibTransId="{AD0372C9-6414-4E7B-B4D4-471A75D835C6}"/>
    <dgm:cxn modelId="{92159EEC-CFED-4952-82AC-19C358362C03}" type="presOf" srcId="{73721CF6-1353-4CCF-A479-F86FD8FC1CD8}" destId="{0C6109BC-E447-4311-91F9-BC168524E549}" srcOrd="0" destOrd="0" presId="urn:microsoft.com/office/officeart/2005/8/layout/vList2"/>
    <dgm:cxn modelId="{C0F31431-7F24-4CB7-830A-51B801527E54}" type="presParOf" srcId="{6CFF8567-C3BE-4006-A4DA-AF726DCF5E9F}" destId="{0C6109BC-E447-4311-91F9-BC168524E549}" srcOrd="0" destOrd="0" presId="urn:microsoft.com/office/officeart/2005/8/layout/vList2"/>
    <dgm:cxn modelId="{8CE5217A-7F4D-4E61-8521-35DB8286C8F6}" type="presParOf" srcId="{6CFF8567-C3BE-4006-A4DA-AF726DCF5E9F}" destId="{4EDEE049-C3A5-499D-98A2-CAAF8A473C89}" srcOrd="1" destOrd="0" presId="urn:microsoft.com/office/officeart/2005/8/layout/vList2"/>
    <dgm:cxn modelId="{E07DCFF1-CFAA-4DE5-A987-6AC83CE910DC}" type="presParOf" srcId="{6CFF8567-C3BE-4006-A4DA-AF726DCF5E9F}" destId="{403B58F7-6A25-44FC-ADE7-AADED7863554}" srcOrd="2" destOrd="0" presId="urn:microsoft.com/office/officeart/2005/8/layout/vList2"/>
    <dgm:cxn modelId="{79090FAF-D2D1-4239-852F-F65B6422D109}" type="presParOf" srcId="{6CFF8567-C3BE-4006-A4DA-AF726DCF5E9F}" destId="{1E014258-2958-40AE-907D-19806FA76DE1}" srcOrd="3" destOrd="0" presId="urn:microsoft.com/office/officeart/2005/8/layout/vList2"/>
    <dgm:cxn modelId="{81865472-FB10-4488-A935-66A08248994B}" type="presParOf" srcId="{6CFF8567-C3BE-4006-A4DA-AF726DCF5E9F}" destId="{0D5563E3-B4A2-47FC-9998-1EB7FE0368CC}"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A79C22-23FE-4E5B-8879-2D743CC807BF}">
      <dsp:nvSpPr>
        <dsp:cNvPr id="0" name=""/>
        <dsp:cNvSpPr/>
      </dsp:nvSpPr>
      <dsp:spPr>
        <a:xfrm>
          <a:off x="0" y="359399"/>
          <a:ext cx="10880726"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nabling the application to continuously operate during unplanned and planned disruptive events.</a:t>
          </a:r>
          <a:endParaRPr lang="en-US" sz="2400" kern="1200" dirty="0"/>
        </a:p>
      </dsp:txBody>
      <dsp:txXfrm>
        <a:off x="59399" y="418798"/>
        <a:ext cx="10761928" cy="1098002"/>
      </dsp:txXfrm>
    </dsp:sp>
    <dsp:sp modelId="{3F268AC2-1FB3-487B-ABB9-BC8D35B477EF}">
      <dsp:nvSpPr>
        <dsp:cNvPr id="0" name=""/>
        <dsp:cNvSpPr/>
      </dsp:nvSpPr>
      <dsp:spPr>
        <a:xfrm>
          <a:off x="0" y="1763400"/>
          <a:ext cx="10880726"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isruption scenarios in general:</a:t>
          </a:r>
          <a:endParaRPr lang="en-US" sz="2400" kern="1200" dirty="0"/>
        </a:p>
      </dsp:txBody>
      <dsp:txXfrm>
        <a:off x="59399" y="1822799"/>
        <a:ext cx="10761928" cy="1098002"/>
      </dsp:txXfrm>
    </dsp:sp>
    <dsp:sp modelId="{AB544930-FACD-40F0-96B3-18EB71C6AE49}">
      <dsp:nvSpPr>
        <dsp:cNvPr id="0" name=""/>
        <dsp:cNvSpPr/>
      </dsp:nvSpPr>
      <dsp:spPr>
        <a:xfrm>
          <a:off x="0" y="2980200"/>
          <a:ext cx="10880726" cy="1480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Local hardware or software failures</a:t>
          </a:r>
          <a:endParaRPr lang="en-US" sz="2000" kern="1200" dirty="0"/>
        </a:p>
        <a:p>
          <a:pPr marL="228600" lvl="1" indent="-228600" algn="l" defTabSz="889000">
            <a:lnSpc>
              <a:spcPct val="90000"/>
            </a:lnSpc>
            <a:spcBef>
              <a:spcPct val="0"/>
            </a:spcBef>
            <a:spcAft>
              <a:spcPct val="20000"/>
            </a:spcAft>
            <a:buChar char="•"/>
          </a:pPr>
          <a:r>
            <a:rPr lang="en-US" sz="2000" kern="1200" baseline="0" dirty="0"/>
            <a:t>Data corruption or deletion typically caused by an application bug or human error. </a:t>
          </a:r>
          <a:endParaRPr lang="en-US" sz="2000" kern="1200" dirty="0"/>
        </a:p>
        <a:p>
          <a:pPr marL="228600" lvl="1" indent="-228600" algn="l" defTabSz="889000">
            <a:lnSpc>
              <a:spcPct val="90000"/>
            </a:lnSpc>
            <a:spcBef>
              <a:spcPct val="0"/>
            </a:spcBef>
            <a:spcAft>
              <a:spcPct val="20000"/>
            </a:spcAft>
            <a:buChar char="•"/>
          </a:pPr>
          <a:r>
            <a:rPr lang="en-US" sz="2000" kern="1200" baseline="0" dirty="0"/>
            <a:t>Datacenter outage, possibly caused by a natural disaster. </a:t>
          </a:r>
          <a:endParaRPr lang="en-US" sz="2000" kern="1200" dirty="0"/>
        </a:p>
        <a:p>
          <a:pPr marL="228600" lvl="1" indent="-228600" algn="l" defTabSz="889000">
            <a:lnSpc>
              <a:spcPct val="90000"/>
            </a:lnSpc>
            <a:spcBef>
              <a:spcPct val="0"/>
            </a:spcBef>
            <a:spcAft>
              <a:spcPct val="20000"/>
            </a:spcAft>
            <a:buChar char="•"/>
          </a:pPr>
          <a:r>
            <a:rPr lang="en-US" sz="2000" kern="1200" baseline="0" dirty="0"/>
            <a:t>Upgrade or maintenance errors.</a:t>
          </a:r>
          <a:endParaRPr lang="en-US" sz="2000" kern="1200" dirty="0"/>
        </a:p>
      </dsp:txBody>
      <dsp:txXfrm>
        <a:off x="0" y="2980200"/>
        <a:ext cx="10880726" cy="148004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2077EC-01D2-4C38-8270-1C6A7B23D821}">
      <dsp:nvSpPr>
        <dsp:cNvPr id="0" name=""/>
        <dsp:cNvSpPr/>
      </dsp:nvSpPr>
      <dsp:spPr>
        <a:xfrm>
          <a:off x="0" y="600824"/>
          <a:ext cx="5925880" cy="100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6096A5-7317-4996-A175-1C0DE8A40195}">
      <dsp:nvSpPr>
        <dsp:cNvPr id="0" name=""/>
        <dsp:cNvSpPr/>
      </dsp:nvSpPr>
      <dsp:spPr>
        <a:xfrm>
          <a:off x="296294" y="10424"/>
          <a:ext cx="5298430" cy="1180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789" tIns="0" rIns="156789" bIns="0" numCol="1" spcCol="1270" anchor="ctr" anchorCtr="0">
          <a:noAutofit/>
        </a:bodyPr>
        <a:lstStyle/>
        <a:p>
          <a:pPr marL="0" lvl="0" indent="0" algn="l" defTabSz="889000">
            <a:lnSpc>
              <a:spcPct val="90000"/>
            </a:lnSpc>
            <a:spcBef>
              <a:spcPct val="0"/>
            </a:spcBef>
            <a:spcAft>
              <a:spcPct val="35000"/>
            </a:spcAft>
            <a:buSzTx/>
            <a:buNone/>
          </a:pPr>
          <a:r>
            <a:rPr lang="en-US" sz="2000" kern="1200" dirty="0">
              <a:latin typeface="Segoe UI"/>
              <a:ea typeface="+mn-ea"/>
              <a:cs typeface="+mn-cs"/>
            </a:rPr>
            <a:t>Long-term backup retention leverages the automatic SQL Database backups created to enable point-time restore (PITR). </a:t>
          </a:r>
        </a:p>
      </dsp:txBody>
      <dsp:txXfrm>
        <a:off x="353936" y="68066"/>
        <a:ext cx="5183146" cy="1065516"/>
      </dsp:txXfrm>
    </dsp:sp>
    <dsp:sp modelId="{E3464C15-D3C4-41AE-826C-9D65EDDA11F1}">
      <dsp:nvSpPr>
        <dsp:cNvPr id="0" name=""/>
        <dsp:cNvSpPr/>
      </dsp:nvSpPr>
      <dsp:spPr>
        <a:xfrm>
          <a:off x="0" y="2415225"/>
          <a:ext cx="5925880" cy="239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9914" tIns="833120" rIns="459914"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latin typeface="Segoe UI Semilight" panose="020B0402040204020203" pitchFamily="34" charset="0"/>
              <a:ea typeface="+mn-ea"/>
              <a:cs typeface="Segoe UI Semilight" panose="020B0402040204020203" pitchFamily="34" charset="0"/>
            </a:rPr>
            <a:t>Weekly backup retention (W)</a:t>
          </a:r>
          <a:endParaRPr lang="en-US" sz="2000" kern="1200" dirty="0">
            <a:latin typeface="Segoe UI Semilight" panose="020B0402040204020203" pitchFamily="34" charset="0"/>
            <a:ea typeface="+mn-ea"/>
            <a:cs typeface="Segoe UI Semilight" panose="020B0402040204020203" pitchFamily="34" charset="0"/>
          </a:endParaRPr>
        </a:p>
        <a:p>
          <a:pPr marL="228600" lvl="1" indent="-228600" algn="l" defTabSz="889000">
            <a:lnSpc>
              <a:spcPct val="90000"/>
            </a:lnSpc>
            <a:spcBef>
              <a:spcPct val="0"/>
            </a:spcBef>
            <a:spcAft>
              <a:spcPct val="15000"/>
            </a:spcAft>
            <a:buChar char="•"/>
          </a:pPr>
          <a:r>
            <a:rPr lang="en-US" sz="2000" kern="1200">
              <a:latin typeface="Segoe UI Semilight" panose="020B0402040204020203" pitchFamily="34" charset="0"/>
              <a:ea typeface="+mn-ea"/>
              <a:cs typeface="Segoe UI Semilight" panose="020B0402040204020203" pitchFamily="34" charset="0"/>
            </a:rPr>
            <a:t>Monthly backup retention (M)</a:t>
          </a:r>
          <a:endParaRPr lang="en-US" sz="2000" kern="1200" dirty="0">
            <a:latin typeface="Segoe UI Semilight" panose="020B0402040204020203" pitchFamily="34" charset="0"/>
            <a:ea typeface="+mn-ea"/>
            <a:cs typeface="Segoe UI Semilight" panose="020B0402040204020203" pitchFamily="34" charset="0"/>
          </a:endParaRPr>
        </a:p>
        <a:p>
          <a:pPr marL="228600" lvl="1" indent="-228600" algn="l" defTabSz="889000">
            <a:lnSpc>
              <a:spcPct val="90000"/>
            </a:lnSpc>
            <a:spcBef>
              <a:spcPct val="0"/>
            </a:spcBef>
            <a:spcAft>
              <a:spcPct val="15000"/>
            </a:spcAft>
            <a:buChar char="•"/>
          </a:pPr>
          <a:r>
            <a:rPr lang="en-US" sz="2000" kern="1200">
              <a:latin typeface="Segoe UI Semilight" panose="020B0402040204020203" pitchFamily="34" charset="0"/>
              <a:ea typeface="+mn-ea"/>
              <a:cs typeface="Segoe UI Semilight" panose="020B0402040204020203" pitchFamily="34" charset="0"/>
            </a:rPr>
            <a:t>Yearly backup retention (Y)</a:t>
          </a:r>
          <a:endParaRPr lang="en-US" sz="2000" kern="1200" dirty="0">
            <a:latin typeface="Segoe UI Semilight" panose="020B0402040204020203" pitchFamily="34" charset="0"/>
            <a:ea typeface="+mn-ea"/>
            <a:cs typeface="Segoe UI Semilight" panose="020B0402040204020203" pitchFamily="34" charset="0"/>
          </a:endParaRPr>
        </a:p>
        <a:p>
          <a:pPr marL="228600" lvl="1" indent="-228600" algn="l" defTabSz="889000">
            <a:lnSpc>
              <a:spcPct val="90000"/>
            </a:lnSpc>
            <a:spcBef>
              <a:spcPct val="0"/>
            </a:spcBef>
            <a:spcAft>
              <a:spcPct val="15000"/>
            </a:spcAft>
            <a:buChar char="•"/>
          </a:pPr>
          <a:r>
            <a:rPr lang="en-US" sz="2000" kern="1200">
              <a:latin typeface="Segoe UI Semilight" panose="020B0402040204020203" pitchFamily="34" charset="0"/>
              <a:ea typeface="+mn-ea"/>
              <a:cs typeface="Segoe UI Semilight" panose="020B0402040204020203" pitchFamily="34" charset="0"/>
            </a:rPr>
            <a:t>Week of year (WeekOfYear)</a:t>
          </a:r>
          <a:endParaRPr lang="en-US" sz="2000" kern="1200" dirty="0">
            <a:latin typeface="Segoe UI Semilight" panose="020B0402040204020203" pitchFamily="34" charset="0"/>
            <a:ea typeface="+mn-ea"/>
            <a:cs typeface="Segoe UI Semilight" panose="020B0402040204020203" pitchFamily="34" charset="0"/>
          </a:endParaRPr>
        </a:p>
      </dsp:txBody>
      <dsp:txXfrm>
        <a:off x="0" y="2415225"/>
        <a:ext cx="5925880" cy="2394000"/>
      </dsp:txXfrm>
    </dsp:sp>
    <dsp:sp modelId="{54BF4E83-2644-4F46-856C-77BAA4E7C746}">
      <dsp:nvSpPr>
        <dsp:cNvPr id="0" name=""/>
        <dsp:cNvSpPr/>
      </dsp:nvSpPr>
      <dsp:spPr>
        <a:xfrm>
          <a:off x="296294" y="1824825"/>
          <a:ext cx="5313363" cy="1180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789" tIns="0" rIns="156789" bIns="0" numCol="1" spcCol="1270" anchor="ctr" anchorCtr="0">
          <a:noAutofit/>
        </a:bodyPr>
        <a:lstStyle/>
        <a:p>
          <a:pPr marL="0" lvl="0" indent="0" algn="l" defTabSz="889000">
            <a:lnSpc>
              <a:spcPct val="90000"/>
            </a:lnSpc>
            <a:spcBef>
              <a:spcPct val="0"/>
            </a:spcBef>
            <a:spcAft>
              <a:spcPct val="35000"/>
            </a:spcAft>
            <a:buSzTx/>
            <a:buNone/>
          </a:pPr>
          <a:r>
            <a:rPr lang="en-US" sz="2000" kern="1200" dirty="0">
              <a:latin typeface="Segoe UI Semilight" panose="020B0402040204020203" pitchFamily="34" charset="0"/>
              <a:ea typeface="+mn-ea"/>
              <a:cs typeface="Segoe UI Semilight" panose="020B0402040204020203" pitchFamily="34" charset="0"/>
            </a:rPr>
            <a:t>Specify for each SQL database how frequently you need to copy the backups to the long-term storage.</a:t>
          </a:r>
          <a:endParaRPr lang="en-US" sz="2000" kern="1200" dirty="0">
            <a:latin typeface="Segoe UI"/>
            <a:ea typeface="+mn-ea"/>
            <a:cs typeface="+mn-cs"/>
          </a:endParaRPr>
        </a:p>
      </dsp:txBody>
      <dsp:txXfrm>
        <a:off x="353936" y="1882467"/>
        <a:ext cx="5198079" cy="106551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56846F-5FAA-4704-86B8-22041AB4EB7E}">
      <dsp:nvSpPr>
        <dsp:cNvPr id="0" name=""/>
        <dsp:cNvSpPr/>
      </dsp:nvSpPr>
      <dsp:spPr>
        <a:xfrm>
          <a:off x="732617" y="1001514"/>
          <a:ext cx="1262888" cy="6576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0" tIns="63500" rIns="177800" bIns="63500" numCol="1" spcCol="1270" anchor="ctr" anchorCtr="0">
          <a:noAutofit/>
        </a:bodyPr>
        <a:lstStyle/>
        <a:p>
          <a:pPr marL="228600" lvl="1" indent="-228600" algn="l" defTabSz="1111250" rtl="0">
            <a:lnSpc>
              <a:spcPct val="90000"/>
            </a:lnSpc>
            <a:spcBef>
              <a:spcPct val="0"/>
            </a:spcBef>
            <a:spcAft>
              <a:spcPct val="15000"/>
            </a:spcAft>
            <a:buNone/>
          </a:pPr>
          <a:r>
            <a:rPr lang="en-US" sz="2500" kern="1200" baseline="0" dirty="0">
              <a:solidFill>
                <a:schemeClr val="tx1"/>
              </a:solidFill>
              <a:latin typeface="Segoe UI" panose="020B0502040204020203" pitchFamily="34" charset="0"/>
              <a:ea typeface="+mn-ea"/>
              <a:cs typeface="+mn-cs"/>
            </a:rPr>
            <a:t>Copy</a:t>
          </a:r>
          <a:r>
            <a:rPr lang="en-US" sz="2500" kern="1200" baseline="0" dirty="0">
              <a:solidFill>
                <a:srgbClr val="505050">
                  <a:hueOff val="0"/>
                  <a:satOff val="0"/>
                  <a:lumOff val="0"/>
                  <a:alphaOff val="0"/>
                </a:srgbClr>
              </a:solidFill>
              <a:latin typeface="Segoe UI" panose="020B0502040204020203" pitchFamily="34" charset="0"/>
              <a:ea typeface="+mn-ea"/>
              <a:cs typeface="+mn-cs"/>
            </a:rPr>
            <a:t>  </a:t>
          </a:r>
        </a:p>
      </dsp:txBody>
      <dsp:txXfrm>
        <a:off x="732617" y="1001514"/>
        <a:ext cx="1262888" cy="657667"/>
      </dsp:txXfrm>
    </dsp:sp>
    <dsp:sp modelId="{2777AA17-2A71-4E83-B2B4-C459DF868FFA}">
      <dsp:nvSpPr>
        <dsp:cNvPr id="0" name=""/>
        <dsp:cNvSpPr/>
      </dsp:nvSpPr>
      <dsp:spPr>
        <a:xfrm>
          <a:off x="1995505" y="628453"/>
          <a:ext cx="543504" cy="1403789"/>
        </a:xfrm>
        <a:prstGeom prst="leftBrace">
          <a:avLst>
            <a:gd name="adj1" fmla="val 35000"/>
            <a:gd name="adj2" fmla="val 50000"/>
          </a:avLst>
        </a:prstGeom>
        <a:noFill/>
        <a:ln w="10795" cap="flat" cmpd="sng" algn="ctr">
          <a:solidFill>
            <a:srgbClr val="0078D7">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01C6F814-70BB-41A6-9F5A-632A917083F8}">
      <dsp:nvSpPr>
        <dsp:cNvPr id="0" name=""/>
        <dsp:cNvSpPr/>
      </dsp:nvSpPr>
      <dsp:spPr>
        <a:xfrm>
          <a:off x="2756412" y="628453"/>
          <a:ext cx="7391667" cy="1403789"/>
        </a:xfrm>
        <a:prstGeom prst="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228600" lvl="1" indent="-228600" algn="l" defTabSz="1111250" rtl="0">
            <a:lnSpc>
              <a:spcPct val="90000"/>
            </a:lnSpc>
            <a:spcBef>
              <a:spcPct val="0"/>
            </a:spcBef>
            <a:spcAft>
              <a:spcPct val="15000"/>
            </a:spcAft>
            <a:buChar char="•"/>
          </a:pPr>
          <a:r>
            <a:rPr lang="en-US" sz="2500" kern="1200" baseline="0" dirty="0">
              <a:solidFill>
                <a:schemeClr val="tx1"/>
              </a:solidFill>
              <a:latin typeface="Segoe UI" panose="020B0502040204020203" pitchFamily="34" charset="0"/>
              <a:ea typeface="+mn-ea"/>
              <a:cs typeface="+mn-cs"/>
            </a:rPr>
            <a:t>Copies an Azure SQL Database to another DB on same or different Server.</a:t>
          </a:r>
          <a:endParaRPr lang="en-US" sz="2500" kern="1200" dirty="0">
            <a:solidFill>
              <a:schemeClr val="tx1"/>
            </a:solidFill>
            <a:latin typeface="Segoe UI" panose="020B0502040204020203" pitchFamily="34" charset="0"/>
            <a:ea typeface="+mn-ea"/>
            <a:cs typeface="+mn-cs"/>
          </a:endParaRPr>
        </a:p>
        <a:p>
          <a:pPr marL="228600" lvl="1" indent="-228600" algn="l" defTabSz="1111250" rtl="0">
            <a:lnSpc>
              <a:spcPct val="90000"/>
            </a:lnSpc>
            <a:spcBef>
              <a:spcPct val="0"/>
            </a:spcBef>
            <a:spcAft>
              <a:spcPct val="15000"/>
            </a:spcAft>
            <a:buChar char="•"/>
          </a:pPr>
          <a:r>
            <a:rPr lang="en-US" sz="2500" kern="1200" baseline="0" dirty="0">
              <a:solidFill>
                <a:schemeClr val="tx1"/>
              </a:solidFill>
              <a:latin typeface="Segoe UI" panose="020B0502040204020203" pitchFamily="34" charset="0"/>
              <a:ea typeface="+mn-ea"/>
              <a:cs typeface="+mn-cs"/>
            </a:rPr>
            <a:t>Essentially Creates a snapshot.</a:t>
          </a:r>
          <a:endParaRPr lang="en-US" sz="2500" kern="1200" dirty="0">
            <a:solidFill>
              <a:schemeClr val="tx1"/>
            </a:solidFill>
            <a:latin typeface="Segoe UI" panose="020B0502040204020203" pitchFamily="34" charset="0"/>
            <a:ea typeface="+mn-ea"/>
            <a:cs typeface="+mn-cs"/>
          </a:endParaRPr>
        </a:p>
      </dsp:txBody>
      <dsp:txXfrm>
        <a:off x="2756412" y="628453"/>
        <a:ext cx="7391667" cy="1403789"/>
      </dsp:txXfrm>
    </dsp:sp>
    <dsp:sp modelId="{D5AB2BDC-EC89-44CE-A38B-A54A85B6BEE0}">
      <dsp:nvSpPr>
        <dsp:cNvPr id="0" name=""/>
        <dsp:cNvSpPr/>
      </dsp:nvSpPr>
      <dsp:spPr>
        <a:xfrm>
          <a:off x="732617" y="2568903"/>
          <a:ext cx="1262915" cy="5104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0" tIns="63500" rIns="177800" bIns="63500" numCol="1" spcCol="1270" anchor="ctr" anchorCtr="0">
          <a:noAutofit/>
        </a:bodyPr>
        <a:lstStyle/>
        <a:p>
          <a:pPr marL="0" lvl="0" indent="0" algn="l" defTabSz="1111250" rtl="0">
            <a:lnSpc>
              <a:spcPct val="90000"/>
            </a:lnSpc>
            <a:spcBef>
              <a:spcPct val="0"/>
            </a:spcBef>
            <a:spcAft>
              <a:spcPct val="35000"/>
            </a:spcAft>
            <a:buNone/>
          </a:pPr>
          <a:r>
            <a:rPr lang="en-US" sz="2500" kern="1200" baseline="0" dirty="0">
              <a:solidFill>
                <a:schemeClr val="tx1"/>
              </a:solidFill>
              <a:latin typeface="Segoe UI" panose="020B0502040204020203" pitchFamily="34" charset="0"/>
              <a:ea typeface="+mn-ea"/>
              <a:cs typeface="+mn-cs"/>
            </a:rPr>
            <a:t>Export</a:t>
          </a:r>
          <a:endParaRPr lang="en-US" sz="2500" kern="1200" dirty="0">
            <a:solidFill>
              <a:schemeClr val="tx1"/>
            </a:solidFill>
            <a:latin typeface="Segoe UI" panose="020B0502040204020203" pitchFamily="34" charset="0"/>
            <a:ea typeface="+mn-ea"/>
            <a:cs typeface="+mn-cs"/>
          </a:endParaRPr>
        </a:p>
      </dsp:txBody>
      <dsp:txXfrm>
        <a:off x="732617" y="2568903"/>
        <a:ext cx="1262915" cy="510468"/>
      </dsp:txXfrm>
    </dsp:sp>
    <dsp:sp modelId="{322D3664-012A-4FED-B452-0910ABF86AE1}">
      <dsp:nvSpPr>
        <dsp:cNvPr id="0" name=""/>
        <dsp:cNvSpPr/>
      </dsp:nvSpPr>
      <dsp:spPr>
        <a:xfrm>
          <a:off x="1995532" y="2122243"/>
          <a:ext cx="543504" cy="1403789"/>
        </a:xfrm>
        <a:prstGeom prst="leftBrace">
          <a:avLst>
            <a:gd name="adj1" fmla="val 35000"/>
            <a:gd name="adj2" fmla="val 50000"/>
          </a:avLst>
        </a:prstGeom>
        <a:noFill/>
        <a:ln w="10795" cap="flat" cmpd="sng" algn="ctr">
          <a:solidFill>
            <a:srgbClr val="0078D7">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87F4CB3F-4FEE-4ABC-8414-BA33B5FE9A8A}">
      <dsp:nvSpPr>
        <dsp:cNvPr id="0" name=""/>
        <dsp:cNvSpPr/>
      </dsp:nvSpPr>
      <dsp:spPr>
        <a:xfrm>
          <a:off x="2756439" y="2122243"/>
          <a:ext cx="7391667" cy="1403789"/>
        </a:xfrm>
        <a:prstGeom prst="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228600" lvl="1" indent="-228600" algn="l" defTabSz="1111250" rtl="0">
            <a:lnSpc>
              <a:spcPct val="90000"/>
            </a:lnSpc>
            <a:spcBef>
              <a:spcPct val="0"/>
            </a:spcBef>
            <a:spcAft>
              <a:spcPct val="15000"/>
            </a:spcAft>
            <a:buChar char="•"/>
          </a:pPr>
          <a:r>
            <a:rPr lang="en-US" sz="2500" kern="1200" baseline="0" dirty="0">
              <a:solidFill>
                <a:schemeClr val="tx1"/>
              </a:solidFill>
              <a:latin typeface="Segoe UI" panose="020B0502040204020203" pitchFamily="34" charset="0"/>
              <a:ea typeface="+mn-ea"/>
              <a:cs typeface="+mn-cs"/>
            </a:rPr>
            <a:t>Creates BACPAC.</a:t>
          </a:r>
        </a:p>
        <a:p>
          <a:pPr marL="228600" lvl="1" indent="-228600" algn="l" defTabSz="1111250" rtl="0">
            <a:lnSpc>
              <a:spcPct val="90000"/>
            </a:lnSpc>
            <a:spcBef>
              <a:spcPct val="0"/>
            </a:spcBef>
            <a:spcAft>
              <a:spcPct val="15000"/>
            </a:spcAft>
            <a:buChar char="•"/>
          </a:pPr>
          <a:r>
            <a:rPr lang="en-US" sz="2500" kern="1200" baseline="0" dirty="0">
              <a:solidFill>
                <a:schemeClr val="tx1"/>
              </a:solidFill>
              <a:latin typeface="Segoe UI" panose="020B0502040204020203" pitchFamily="34" charset="0"/>
              <a:ea typeface="+mn-ea"/>
              <a:cs typeface="+mn-cs"/>
            </a:rPr>
            <a:t>Use Portal, SSMS, PowerShell or </a:t>
          </a:r>
          <a:r>
            <a:rPr lang="en-US" sz="2500" kern="1200" baseline="0" dirty="0" err="1">
              <a:solidFill>
                <a:schemeClr val="tx1"/>
              </a:solidFill>
              <a:latin typeface="Segoe UI" panose="020B0502040204020203" pitchFamily="34" charset="0"/>
              <a:ea typeface="+mn-ea"/>
              <a:cs typeface="+mn-cs"/>
            </a:rPr>
            <a:t>SQLPackage</a:t>
          </a:r>
          <a:r>
            <a:rPr lang="en-US" sz="2500" kern="1200" baseline="0" dirty="0">
              <a:solidFill>
                <a:schemeClr val="tx1"/>
              </a:solidFill>
              <a:latin typeface="Segoe UI" panose="020B0502040204020203" pitchFamily="34" charset="0"/>
              <a:ea typeface="+mn-ea"/>
              <a:cs typeface="+mn-cs"/>
            </a:rPr>
            <a:t> Utility.</a:t>
          </a:r>
        </a:p>
      </dsp:txBody>
      <dsp:txXfrm>
        <a:off x="2756439" y="2122243"/>
        <a:ext cx="7391667" cy="140378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E65E04-8A3A-4D96-B530-6977FED0CFD9}">
      <dsp:nvSpPr>
        <dsp:cNvPr id="0" name=""/>
        <dsp:cNvSpPr/>
      </dsp:nvSpPr>
      <dsp:spPr>
        <a:xfrm>
          <a:off x="0" y="367361"/>
          <a:ext cx="5684748" cy="771928"/>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41200" tIns="395732" rIns="441200"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Segoe UI"/>
              <a:ea typeface="+mn-ea"/>
              <a:cs typeface="+mn-cs"/>
            </a:rPr>
            <a:t>Creates a new database in the same logical server.</a:t>
          </a:r>
        </a:p>
      </dsp:txBody>
      <dsp:txXfrm>
        <a:off x="0" y="367361"/>
        <a:ext cx="5684748" cy="771928"/>
      </dsp:txXfrm>
    </dsp:sp>
    <dsp:sp modelId="{188461EE-287A-4F9D-9166-AF1ED83A6E41}">
      <dsp:nvSpPr>
        <dsp:cNvPr id="0" name=""/>
        <dsp:cNvSpPr/>
      </dsp:nvSpPr>
      <dsp:spPr>
        <a:xfrm>
          <a:off x="284237" y="44962"/>
          <a:ext cx="4557519" cy="60283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409" tIns="0" rIns="150409" bIns="0" numCol="1" spcCol="1270" anchor="ctr" anchorCtr="0">
          <a:noAutofit/>
        </a:bodyPr>
        <a:lstStyle/>
        <a:p>
          <a:pPr marL="0" lvl="0" indent="0" algn="l" defTabSz="622300">
            <a:lnSpc>
              <a:spcPct val="90000"/>
            </a:lnSpc>
            <a:spcBef>
              <a:spcPct val="0"/>
            </a:spcBef>
            <a:spcAft>
              <a:spcPct val="35000"/>
            </a:spcAft>
            <a:buNone/>
          </a:pPr>
          <a:r>
            <a:rPr lang="en-US" sz="1400" kern="1200">
              <a:latin typeface="Segoe UI"/>
              <a:ea typeface="+mn-ea"/>
              <a:cs typeface="+mn-cs"/>
            </a:rPr>
            <a:t>The database can be restored to any service tier or performance level</a:t>
          </a:r>
          <a:endParaRPr lang="en-US" sz="1400" kern="1200" dirty="0">
            <a:latin typeface="Segoe UI"/>
            <a:ea typeface="+mn-ea"/>
            <a:cs typeface="+mn-cs"/>
          </a:endParaRPr>
        </a:p>
      </dsp:txBody>
      <dsp:txXfrm>
        <a:off x="313665" y="74390"/>
        <a:ext cx="4498663" cy="543983"/>
      </dsp:txXfrm>
    </dsp:sp>
    <dsp:sp modelId="{E09819C9-6050-4FD0-81DE-73A21057484A}">
      <dsp:nvSpPr>
        <dsp:cNvPr id="0" name=""/>
        <dsp:cNvSpPr/>
      </dsp:nvSpPr>
      <dsp:spPr>
        <a:xfrm>
          <a:off x="0" y="1564289"/>
          <a:ext cx="5684748" cy="122222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41200" tIns="395732" rIns="441200"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Segoe UI"/>
              <a:ea typeface="+mn-ea"/>
              <a:cs typeface="+mn-cs"/>
            </a:rPr>
            <a:t>Rename the original database and then give the restored database the original name using the ALTER DATABASE command in T-SQL. </a:t>
          </a:r>
        </a:p>
      </dsp:txBody>
      <dsp:txXfrm>
        <a:off x="0" y="1564289"/>
        <a:ext cx="5684748" cy="1222220"/>
      </dsp:txXfrm>
    </dsp:sp>
    <dsp:sp modelId="{D074B3D6-1E40-4917-BF4D-281E6F76E9D5}">
      <dsp:nvSpPr>
        <dsp:cNvPr id="0" name=""/>
        <dsp:cNvSpPr/>
      </dsp:nvSpPr>
      <dsp:spPr>
        <a:xfrm>
          <a:off x="284237" y="1241890"/>
          <a:ext cx="4557519" cy="60283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409" tIns="0" rIns="150409" bIns="0" numCol="1" spcCol="1270" anchor="ctr" anchorCtr="0">
          <a:noAutofit/>
        </a:bodyPr>
        <a:lstStyle/>
        <a:p>
          <a:pPr marL="0" lvl="0" indent="0" algn="l"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Database Replacement</a:t>
          </a:r>
          <a:endParaRPr kumimoji="0" lang="en-US"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sp:txBody>
      <dsp:txXfrm>
        <a:off x="313665" y="1271318"/>
        <a:ext cx="4498663" cy="543983"/>
      </dsp:txXfrm>
    </dsp:sp>
    <dsp:sp modelId="{BB207B3A-6063-4E55-9822-167B464B353E}">
      <dsp:nvSpPr>
        <dsp:cNvPr id="0" name=""/>
        <dsp:cNvSpPr/>
      </dsp:nvSpPr>
      <dsp:spPr>
        <a:xfrm>
          <a:off x="0" y="3211509"/>
          <a:ext cx="5684748" cy="122222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41200" tIns="395732" rIns="441200"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latin typeface="Segoe UI"/>
              <a:ea typeface="+mn-ea"/>
              <a:cs typeface="+mn-cs"/>
            </a:rPr>
            <a:t>Write and execute the necessary data recovery scripts to extract data from the restored database to the original database.</a:t>
          </a:r>
          <a:endParaRPr kumimoji="0" lang="en-US"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sp:txBody>
      <dsp:txXfrm>
        <a:off x="0" y="3211509"/>
        <a:ext cx="5684748" cy="1222220"/>
      </dsp:txXfrm>
    </dsp:sp>
    <dsp:sp modelId="{C78E122A-E499-4946-BCEF-0C4B8504D75B}">
      <dsp:nvSpPr>
        <dsp:cNvPr id="0" name=""/>
        <dsp:cNvSpPr/>
      </dsp:nvSpPr>
      <dsp:spPr>
        <a:xfrm>
          <a:off x="284237" y="2889109"/>
          <a:ext cx="4557519" cy="60283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0409" tIns="0" rIns="150409" bIns="0" numCol="1" spcCol="1270" anchor="ctr" anchorCtr="0">
          <a:noAutofit/>
        </a:bodyPr>
        <a:lstStyle/>
        <a:p>
          <a:pPr marL="0" lvl="0" indent="0" algn="l" defTabSz="622300">
            <a:lnSpc>
              <a:spcPct val="90000"/>
            </a:lnSpc>
            <a:spcBef>
              <a:spcPct val="0"/>
            </a:spcBef>
            <a:spcAft>
              <a:spcPct val="35000"/>
            </a:spcAft>
            <a:buNone/>
          </a:pPr>
          <a:r>
            <a:rPr lang="en-US" sz="1400" kern="1200">
              <a:latin typeface="Segoe UI"/>
              <a:ea typeface="+mn-ea"/>
              <a:cs typeface="+mn-cs"/>
            </a:rPr>
            <a:t>Data Recovery</a:t>
          </a:r>
          <a:endParaRPr kumimoji="0" lang="en-US"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sp:txBody>
      <dsp:txXfrm>
        <a:off x="313665" y="2918537"/>
        <a:ext cx="4498663" cy="54398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2D63A3-D5B4-43DD-9988-3A022CF81764}">
      <dsp:nvSpPr>
        <dsp:cNvPr id="0" name=""/>
        <dsp:cNvSpPr/>
      </dsp:nvSpPr>
      <dsp:spPr>
        <a:xfrm>
          <a:off x="0" y="37875"/>
          <a:ext cx="10880726"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By default, Azure SQL Database backups are stored in </a:t>
          </a:r>
          <a:r>
            <a:rPr lang="en-US" sz="2100" b="1" kern="1200" baseline="0"/>
            <a:t>geo-replicated blob storage </a:t>
          </a:r>
          <a:r>
            <a:rPr lang="en-US" sz="2100" kern="1200" baseline="0"/>
            <a:t>(RA-GRS storage type).</a:t>
          </a:r>
          <a:endParaRPr lang="en-US" sz="2100" kern="1200"/>
        </a:p>
      </dsp:txBody>
      <dsp:txXfrm>
        <a:off x="44378" y="82253"/>
        <a:ext cx="10791970" cy="820333"/>
      </dsp:txXfrm>
    </dsp:sp>
    <dsp:sp modelId="{3C95E4D3-8F1E-4F06-96FD-AC5266A94F80}">
      <dsp:nvSpPr>
        <dsp:cNvPr id="0" name=""/>
        <dsp:cNvSpPr/>
      </dsp:nvSpPr>
      <dsp:spPr>
        <a:xfrm>
          <a:off x="0" y="1007445"/>
          <a:ext cx="10880726"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The following options are available for database recovery by using automated database backups. You can:</a:t>
          </a:r>
          <a:endParaRPr lang="en-US" sz="2100" kern="1200" dirty="0"/>
        </a:p>
      </dsp:txBody>
      <dsp:txXfrm>
        <a:off x="44378" y="1051823"/>
        <a:ext cx="10791970" cy="820333"/>
      </dsp:txXfrm>
    </dsp:sp>
    <dsp:sp modelId="{9D2253F8-1761-4A09-A7C7-C7328F7EF53C}">
      <dsp:nvSpPr>
        <dsp:cNvPr id="0" name=""/>
        <dsp:cNvSpPr/>
      </dsp:nvSpPr>
      <dsp:spPr>
        <a:xfrm>
          <a:off x="0" y="1916535"/>
          <a:ext cx="10880726" cy="19561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Create a </a:t>
          </a:r>
          <a:r>
            <a:rPr lang="en-US" sz="1600" b="1" kern="1200" baseline="0"/>
            <a:t>new database </a:t>
          </a:r>
          <a:r>
            <a:rPr lang="en-US" sz="1600" kern="1200" baseline="0"/>
            <a:t>on the </a:t>
          </a:r>
          <a:r>
            <a:rPr lang="en-US" sz="1600" b="1" kern="1200" baseline="0"/>
            <a:t>same SQL Database server</a:t>
          </a:r>
          <a:r>
            <a:rPr lang="en-US" sz="1600" kern="1200" baseline="0"/>
            <a:t>, recovered to a specified point in time within the retention period.</a:t>
          </a:r>
          <a:endParaRPr lang="en-US" sz="1600" kern="1200"/>
        </a:p>
        <a:p>
          <a:pPr marL="171450" lvl="1" indent="-171450" algn="l" defTabSz="711200">
            <a:lnSpc>
              <a:spcPct val="90000"/>
            </a:lnSpc>
            <a:spcBef>
              <a:spcPct val="0"/>
            </a:spcBef>
            <a:spcAft>
              <a:spcPct val="20000"/>
            </a:spcAft>
            <a:buChar char="•"/>
          </a:pPr>
          <a:r>
            <a:rPr lang="en-US" sz="1600" kern="1200" baseline="0"/>
            <a:t>Create a </a:t>
          </a:r>
          <a:r>
            <a:rPr lang="en-US" sz="1600" b="1" kern="1200" baseline="0"/>
            <a:t>database</a:t>
          </a:r>
          <a:r>
            <a:rPr lang="en-US" sz="1600" kern="1200" baseline="0"/>
            <a:t> on the </a:t>
          </a:r>
          <a:r>
            <a:rPr lang="en-US" sz="1600" b="1" kern="1200" baseline="0"/>
            <a:t>same SQL Database server</a:t>
          </a:r>
          <a:r>
            <a:rPr lang="en-US" sz="1600" kern="1200" baseline="0"/>
            <a:t>, recovered to the deletion time for a deleted database.</a:t>
          </a:r>
          <a:endParaRPr lang="en-US" sz="1600" kern="1200"/>
        </a:p>
        <a:p>
          <a:pPr marL="171450" lvl="1" indent="-171450" algn="l" defTabSz="711200">
            <a:lnSpc>
              <a:spcPct val="90000"/>
            </a:lnSpc>
            <a:spcBef>
              <a:spcPct val="0"/>
            </a:spcBef>
            <a:spcAft>
              <a:spcPct val="20000"/>
            </a:spcAft>
            <a:buChar char="•"/>
          </a:pPr>
          <a:r>
            <a:rPr lang="en-US" sz="1600" kern="1200" baseline="0"/>
            <a:t>Create a </a:t>
          </a:r>
          <a:r>
            <a:rPr lang="en-US" sz="1600" b="1" kern="1200" baseline="0"/>
            <a:t>new database </a:t>
          </a:r>
          <a:r>
            <a:rPr lang="en-US" sz="1600" kern="1200" baseline="0"/>
            <a:t>on any SQL Database server </a:t>
          </a:r>
          <a:r>
            <a:rPr lang="en-US" sz="1600" b="1" kern="1200" baseline="0"/>
            <a:t>in the same region</a:t>
          </a:r>
          <a:r>
            <a:rPr lang="en-US" sz="1600" kern="1200" baseline="0"/>
            <a:t>, recovered to the point of the most recent backups.</a:t>
          </a:r>
          <a:endParaRPr lang="en-US" sz="1600" kern="1200"/>
        </a:p>
        <a:p>
          <a:pPr marL="171450" lvl="1" indent="-171450" algn="l" defTabSz="711200">
            <a:lnSpc>
              <a:spcPct val="90000"/>
            </a:lnSpc>
            <a:spcBef>
              <a:spcPct val="0"/>
            </a:spcBef>
            <a:spcAft>
              <a:spcPct val="20000"/>
            </a:spcAft>
            <a:buChar char="•"/>
          </a:pPr>
          <a:r>
            <a:rPr lang="en-US" sz="1600" kern="1200" baseline="0"/>
            <a:t>Create a </a:t>
          </a:r>
          <a:r>
            <a:rPr lang="en-US" sz="1600" b="1" kern="1200" baseline="0"/>
            <a:t>new database </a:t>
          </a:r>
          <a:r>
            <a:rPr lang="en-US" sz="1600" kern="1200" baseline="0"/>
            <a:t>on any SQL Database server </a:t>
          </a:r>
          <a:r>
            <a:rPr lang="en-US" sz="1600" b="1" kern="1200" baseline="0"/>
            <a:t>in any other region</a:t>
          </a:r>
          <a:r>
            <a:rPr lang="en-US" sz="1600" kern="1200" baseline="0"/>
            <a:t>, recovered to the point of the most recent replicated backups.</a:t>
          </a:r>
          <a:endParaRPr lang="en-US" sz="1600" kern="1200"/>
        </a:p>
      </dsp:txBody>
      <dsp:txXfrm>
        <a:off x="0" y="1916535"/>
        <a:ext cx="10880726" cy="1956149"/>
      </dsp:txXfrm>
    </dsp:sp>
    <dsp:sp modelId="{B3251ED3-7EEB-4F45-84D6-B870EF7825B6}">
      <dsp:nvSpPr>
        <dsp:cNvPr id="0" name=""/>
        <dsp:cNvSpPr/>
      </dsp:nvSpPr>
      <dsp:spPr>
        <a:xfrm>
          <a:off x="0" y="3872684"/>
          <a:ext cx="10880726" cy="909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If you configured backup long-term retention, you could also create a new database from any long-term retention backup on any SQL Database server.</a:t>
          </a:r>
          <a:endParaRPr lang="en-US" sz="2100" kern="1200"/>
        </a:p>
      </dsp:txBody>
      <dsp:txXfrm>
        <a:off x="44378" y="3917062"/>
        <a:ext cx="10791970" cy="82033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28351A-40D0-4941-80AF-53850D41DF4C}">
      <dsp:nvSpPr>
        <dsp:cNvPr id="0" name=""/>
        <dsp:cNvSpPr/>
      </dsp:nvSpPr>
      <dsp:spPr>
        <a:xfrm>
          <a:off x="4596924" y="1373600"/>
          <a:ext cx="1686877" cy="1686877"/>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810E39F1-24D5-47C3-B694-7C4DF2837B36}">
      <dsp:nvSpPr>
        <dsp:cNvPr id="0" name=""/>
        <dsp:cNvSpPr/>
      </dsp:nvSpPr>
      <dsp:spPr>
        <a:xfrm>
          <a:off x="4461974" y="0"/>
          <a:ext cx="1956777" cy="113261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baseline="0"/>
            <a:t>Size of the database.</a:t>
          </a:r>
          <a:endParaRPr lang="en-US" sz="1900" kern="1200"/>
        </a:p>
      </dsp:txBody>
      <dsp:txXfrm>
        <a:off x="4461974" y="0"/>
        <a:ext cx="1956777" cy="1132617"/>
      </dsp:txXfrm>
    </dsp:sp>
    <dsp:sp modelId="{24047426-0FEE-46E7-8808-646381DB1155}">
      <dsp:nvSpPr>
        <dsp:cNvPr id="0" name=""/>
        <dsp:cNvSpPr/>
      </dsp:nvSpPr>
      <dsp:spPr>
        <a:xfrm>
          <a:off x="5238612" y="1839660"/>
          <a:ext cx="1686877" cy="1686877"/>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4DB2E4A9-1C2C-4EF9-9E04-A6DDEF75E111}">
      <dsp:nvSpPr>
        <dsp:cNvPr id="0" name=""/>
        <dsp:cNvSpPr/>
      </dsp:nvSpPr>
      <dsp:spPr>
        <a:xfrm>
          <a:off x="7059765" y="1494091"/>
          <a:ext cx="1754352" cy="122901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baseline="0"/>
            <a:t>Performance level of the database.</a:t>
          </a:r>
          <a:endParaRPr lang="en-US" sz="1900" kern="1200"/>
        </a:p>
      </dsp:txBody>
      <dsp:txXfrm>
        <a:off x="7059765" y="1494091"/>
        <a:ext cx="1754352" cy="1229010"/>
      </dsp:txXfrm>
    </dsp:sp>
    <dsp:sp modelId="{EB7376F2-1BEF-45A2-B9F5-10A4E87C4AD7}">
      <dsp:nvSpPr>
        <dsp:cNvPr id="0" name=""/>
        <dsp:cNvSpPr/>
      </dsp:nvSpPr>
      <dsp:spPr>
        <a:xfrm>
          <a:off x="4993677" y="2594417"/>
          <a:ext cx="1686877" cy="1686877"/>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128817C3-E6B0-4D8F-9379-AFCE032C0388}">
      <dsp:nvSpPr>
        <dsp:cNvPr id="0" name=""/>
        <dsp:cNvSpPr/>
      </dsp:nvSpPr>
      <dsp:spPr>
        <a:xfrm>
          <a:off x="6789865" y="3590639"/>
          <a:ext cx="1754352" cy="122901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baseline="0"/>
            <a:t>The number of transaction logs involved.</a:t>
          </a:r>
          <a:endParaRPr lang="en-US" sz="1900" kern="1200"/>
        </a:p>
      </dsp:txBody>
      <dsp:txXfrm>
        <a:off x="6789865" y="3590639"/>
        <a:ext cx="1754352" cy="1229010"/>
      </dsp:txXfrm>
    </dsp:sp>
    <dsp:sp modelId="{35B925A0-1C74-45D6-809C-A54E4E97ACB8}">
      <dsp:nvSpPr>
        <dsp:cNvPr id="0" name=""/>
        <dsp:cNvSpPr/>
      </dsp:nvSpPr>
      <dsp:spPr>
        <a:xfrm>
          <a:off x="4200170" y="2594417"/>
          <a:ext cx="1686877" cy="1686877"/>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3AEA8EC1-8830-4245-A706-48CF8FF66275}">
      <dsp:nvSpPr>
        <dsp:cNvPr id="0" name=""/>
        <dsp:cNvSpPr/>
      </dsp:nvSpPr>
      <dsp:spPr>
        <a:xfrm>
          <a:off x="2336508" y="3590639"/>
          <a:ext cx="1754352" cy="122901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baseline="0"/>
            <a:t>The network bandwidth if the restore is to a different region.</a:t>
          </a:r>
          <a:endParaRPr lang="en-US" sz="1900" kern="1200"/>
        </a:p>
      </dsp:txBody>
      <dsp:txXfrm>
        <a:off x="2336508" y="3590639"/>
        <a:ext cx="1754352" cy="1229010"/>
      </dsp:txXfrm>
    </dsp:sp>
    <dsp:sp modelId="{F37FA6F2-A921-4AF1-B716-BF4E4805A8A0}">
      <dsp:nvSpPr>
        <dsp:cNvPr id="0" name=""/>
        <dsp:cNvSpPr/>
      </dsp:nvSpPr>
      <dsp:spPr>
        <a:xfrm>
          <a:off x="3955236" y="1839660"/>
          <a:ext cx="1686877" cy="1686877"/>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E0538B74-BC93-48C2-9908-A1D41D77D36F}">
      <dsp:nvSpPr>
        <dsp:cNvPr id="0" name=""/>
        <dsp:cNvSpPr/>
      </dsp:nvSpPr>
      <dsp:spPr>
        <a:xfrm>
          <a:off x="2066608" y="1494091"/>
          <a:ext cx="1754352" cy="122901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r>
            <a:rPr lang="en-US" sz="1900" kern="1200" baseline="0"/>
            <a:t>Number of concurrent restore requests.</a:t>
          </a:r>
          <a:endParaRPr lang="en-US" sz="1900" kern="1200"/>
        </a:p>
      </dsp:txBody>
      <dsp:txXfrm>
        <a:off x="2066608" y="1494091"/>
        <a:ext cx="1754352" cy="122901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3123"/>
          <a:ext cx="10880725" cy="10389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solidFill>
                <a:srgbClr val="FFFFFF"/>
              </a:solidFill>
            </a:rPr>
            <a:t>True or false: Daily and weekly backups of Azure SQL databases are automatically uploaded to geo-redundant Azure Storage</a:t>
          </a:r>
          <a:r>
            <a:rPr lang="en-US" sz="2400" kern="1200" dirty="0">
              <a:solidFill>
                <a:srgbClr val="FFFFFF"/>
              </a:solidFill>
              <a:latin typeface="Segoe UI"/>
            </a:rPr>
            <a:t>.</a:t>
          </a:r>
          <a:endParaRPr lang="en-US" sz="2400" kern="1200" dirty="0"/>
        </a:p>
      </dsp:txBody>
      <dsp:txXfrm>
        <a:off x="50718" y="63841"/>
        <a:ext cx="10779289" cy="937523"/>
      </dsp:txXfrm>
    </dsp:sp>
    <dsp:sp modelId="{4A71D5C7-A7D6-46CE-B888-CF65241F6B98}">
      <dsp:nvSpPr>
        <dsp:cNvPr id="0" name=""/>
        <dsp:cNvSpPr/>
      </dsp:nvSpPr>
      <dsp:spPr>
        <a:xfrm>
          <a:off x="0" y="1121203"/>
          <a:ext cx="10880725" cy="103895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solidFill>
                <a:srgbClr val="FFFFFF"/>
              </a:solidFill>
            </a:rPr>
            <a:t>True or false: When performing a point-in-time restore, you can choose to overwrite the source database?</a:t>
          </a:r>
          <a:endParaRPr lang="en-US" sz="2400" kern="1200" dirty="0"/>
        </a:p>
      </dsp:txBody>
      <dsp:txXfrm>
        <a:off x="50718" y="1171921"/>
        <a:ext cx="10779289" cy="937523"/>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887CFA-A886-4E96-8CDC-B2C318ED4E22}">
      <dsp:nvSpPr>
        <dsp:cNvPr id="0" name=""/>
        <dsp:cNvSpPr/>
      </dsp:nvSpPr>
      <dsp:spPr>
        <a:xfrm>
          <a:off x="0" y="113199"/>
          <a:ext cx="5440363" cy="7247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Restores last daily backup to any Azure region.</a:t>
          </a:r>
          <a:endParaRPr lang="en-US" sz="1700" kern="1200"/>
        </a:p>
      </dsp:txBody>
      <dsp:txXfrm>
        <a:off x="35379" y="148578"/>
        <a:ext cx="5369605" cy="653983"/>
      </dsp:txXfrm>
    </dsp:sp>
    <dsp:sp modelId="{68B32CE1-2899-424E-A5FF-36192703A75A}">
      <dsp:nvSpPr>
        <dsp:cNvPr id="0" name=""/>
        <dsp:cNvSpPr/>
      </dsp:nvSpPr>
      <dsp:spPr>
        <a:xfrm>
          <a:off x="0" y="886901"/>
          <a:ext cx="5440363" cy="7247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Built on geo-redundant Azure Storage.</a:t>
          </a:r>
          <a:endParaRPr lang="en-US" sz="1700" kern="1200"/>
        </a:p>
      </dsp:txBody>
      <dsp:txXfrm>
        <a:off x="35379" y="922280"/>
        <a:ext cx="5369605" cy="653983"/>
      </dsp:txXfrm>
    </dsp:sp>
    <dsp:sp modelId="{C61BF79B-C696-446F-B8A7-B83948AD4D42}">
      <dsp:nvSpPr>
        <dsp:cNvPr id="0" name=""/>
        <dsp:cNvSpPr/>
      </dsp:nvSpPr>
      <dsp:spPr>
        <a:xfrm>
          <a:off x="0" y="1660603"/>
          <a:ext cx="5440363" cy="7247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No extra cost, no capacity guarantee.</a:t>
          </a:r>
          <a:endParaRPr lang="en-US" sz="1700" kern="1200"/>
        </a:p>
      </dsp:txBody>
      <dsp:txXfrm>
        <a:off x="35379" y="1695982"/>
        <a:ext cx="5369605" cy="653983"/>
      </dsp:txXfrm>
    </dsp:sp>
    <dsp:sp modelId="{B53A2D1D-5683-4755-90B3-0F5A1FAA0F68}">
      <dsp:nvSpPr>
        <dsp:cNvPr id="0" name=""/>
        <dsp:cNvSpPr/>
      </dsp:nvSpPr>
      <dsp:spPr>
        <a:xfrm>
          <a:off x="0" y="2434305"/>
          <a:ext cx="5440363" cy="7247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RTO≥24h, RPO=24h</a:t>
          </a:r>
          <a:endParaRPr lang="en-US" sz="1700" kern="1200"/>
        </a:p>
      </dsp:txBody>
      <dsp:txXfrm>
        <a:off x="35379" y="2469684"/>
        <a:ext cx="5369605" cy="653983"/>
      </dsp:txXfrm>
    </dsp:sp>
    <dsp:sp modelId="{E6250CD0-ED20-4E0F-AC2F-C6D51072CE50}">
      <dsp:nvSpPr>
        <dsp:cNvPr id="0" name=""/>
        <dsp:cNvSpPr/>
      </dsp:nvSpPr>
      <dsp:spPr>
        <a:xfrm>
          <a:off x="0" y="3208006"/>
          <a:ext cx="5440363" cy="7247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Database URL will change after restore.</a:t>
          </a:r>
          <a:endParaRPr lang="en-US" sz="1700" kern="1200"/>
        </a:p>
      </dsp:txBody>
      <dsp:txXfrm>
        <a:off x="35379" y="3243385"/>
        <a:ext cx="5369605" cy="653983"/>
      </dsp:txXfrm>
    </dsp:sp>
    <dsp:sp modelId="{6346FDF9-00C4-4E68-A8D3-907FB60030EE}">
      <dsp:nvSpPr>
        <dsp:cNvPr id="0" name=""/>
        <dsp:cNvSpPr/>
      </dsp:nvSpPr>
      <dsp:spPr>
        <a:xfrm>
          <a:off x="0" y="3981708"/>
          <a:ext cx="5440363" cy="7247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Point-in-time restore on a geo-secondary is not currently supported.</a:t>
          </a:r>
          <a:endParaRPr lang="en-US" sz="1700" kern="1200"/>
        </a:p>
      </dsp:txBody>
      <dsp:txXfrm>
        <a:off x="35379" y="4017087"/>
        <a:ext cx="5369605" cy="653983"/>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7FB46-561E-46AE-9050-95679A12C873}">
      <dsp:nvSpPr>
        <dsp:cNvPr id="0" name=""/>
        <dsp:cNvSpPr/>
      </dsp:nvSpPr>
      <dsp:spPr>
        <a:xfrm>
          <a:off x="0" y="199677"/>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synchronous Replication</a:t>
          </a:r>
          <a:endParaRPr lang="en-US" sz="2400" kern="1200" dirty="0"/>
        </a:p>
      </dsp:txBody>
      <dsp:txXfrm>
        <a:off x="0" y="199677"/>
        <a:ext cx="3400226" cy="2040136"/>
      </dsp:txXfrm>
    </dsp:sp>
    <dsp:sp modelId="{0C61EA64-759D-4C25-8C06-2F82C3872D99}">
      <dsp:nvSpPr>
        <dsp:cNvPr id="0" name=""/>
        <dsp:cNvSpPr/>
      </dsp:nvSpPr>
      <dsp:spPr>
        <a:xfrm>
          <a:off x="3740249" y="199677"/>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Readable secondary databases</a:t>
          </a:r>
          <a:endParaRPr lang="en-US" sz="2400" kern="1200" dirty="0"/>
        </a:p>
      </dsp:txBody>
      <dsp:txXfrm>
        <a:off x="3740249" y="199677"/>
        <a:ext cx="3400226" cy="2040136"/>
      </dsp:txXfrm>
    </dsp:sp>
    <dsp:sp modelId="{A8261650-8EED-4832-B415-241CD35F6020}">
      <dsp:nvSpPr>
        <dsp:cNvPr id="0" name=""/>
        <dsp:cNvSpPr/>
      </dsp:nvSpPr>
      <dsp:spPr>
        <a:xfrm>
          <a:off x="7480499" y="199677"/>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Multiple Readable Secondary Replicas</a:t>
          </a:r>
          <a:endParaRPr lang="en-US" sz="2400" kern="1200" dirty="0"/>
        </a:p>
      </dsp:txBody>
      <dsp:txXfrm>
        <a:off x="7480499" y="199677"/>
        <a:ext cx="3400226" cy="2040136"/>
      </dsp:txXfrm>
    </dsp:sp>
    <dsp:sp modelId="{001C1A67-6647-4AF3-B3A1-5EB28DDC9FF2}">
      <dsp:nvSpPr>
        <dsp:cNvPr id="0" name=""/>
        <dsp:cNvSpPr/>
      </dsp:nvSpPr>
      <dsp:spPr>
        <a:xfrm>
          <a:off x="0" y="2579836"/>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nfigurable performance level of the secondary database</a:t>
          </a:r>
          <a:endParaRPr lang="en-US" sz="2400" kern="1200" dirty="0"/>
        </a:p>
      </dsp:txBody>
      <dsp:txXfrm>
        <a:off x="0" y="2579836"/>
        <a:ext cx="3400226" cy="2040136"/>
      </dsp:txXfrm>
    </dsp:sp>
    <dsp:sp modelId="{573846A7-12F4-4820-B538-829AB54D7AA3}">
      <dsp:nvSpPr>
        <dsp:cNvPr id="0" name=""/>
        <dsp:cNvSpPr/>
      </dsp:nvSpPr>
      <dsp:spPr>
        <a:xfrm>
          <a:off x="3740249" y="2579836"/>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User-controlled failover and failback</a:t>
          </a:r>
          <a:endParaRPr lang="en-US" sz="2400" kern="1200" dirty="0"/>
        </a:p>
      </dsp:txBody>
      <dsp:txXfrm>
        <a:off x="3740249" y="2579836"/>
        <a:ext cx="3400226" cy="2040136"/>
      </dsp:txXfrm>
    </dsp:sp>
    <dsp:sp modelId="{108F261E-6450-434B-B1FA-DBDC2C17E6F0}">
      <dsp:nvSpPr>
        <dsp:cNvPr id="0" name=""/>
        <dsp:cNvSpPr/>
      </dsp:nvSpPr>
      <dsp:spPr>
        <a:xfrm>
          <a:off x="7480499" y="2579836"/>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Keeping credentials and firewall rules in sync</a:t>
          </a:r>
          <a:endParaRPr lang="en-US" sz="2400" kern="1200" dirty="0"/>
        </a:p>
      </dsp:txBody>
      <dsp:txXfrm>
        <a:off x="7480499" y="2579836"/>
        <a:ext cx="3400226" cy="204013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FB0852-C8C0-41EF-A670-4631E19D4666}">
      <dsp:nvSpPr>
        <dsp:cNvPr id="0" name=""/>
        <dsp:cNvSpPr/>
      </dsp:nvSpPr>
      <dsp:spPr>
        <a:xfrm>
          <a:off x="0" y="79634"/>
          <a:ext cx="4983162" cy="7359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Enable geo-replication for a group of databases within a server.</a:t>
          </a:r>
          <a:endParaRPr lang="en-US" sz="1700" kern="1200" dirty="0"/>
        </a:p>
      </dsp:txBody>
      <dsp:txXfrm>
        <a:off x="35925" y="115559"/>
        <a:ext cx="4911312" cy="664080"/>
      </dsp:txXfrm>
    </dsp:sp>
    <dsp:sp modelId="{8DCDF152-3662-49F3-979F-AC2B108F8F75}">
      <dsp:nvSpPr>
        <dsp:cNvPr id="0" name=""/>
        <dsp:cNvSpPr/>
      </dsp:nvSpPr>
      <dsp:spPr>
        <a:xfrm>
          <a:off x="0" y="864524"/>
          <a:ext cx="4983162" cy="7359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Automatically or manually failover a group of databases.</a:t>
          </a:r>
          <a:endParaRPr lang="en-US" sz="1700" kern="1200" dirty="0"/>
        </a:p>
      </dsp:txBody>
      <dsp:txXfrm>
        <a:off x="35925" y="900449"/>
        <a:ext cx="4911312" cy="664080"/>
      </dsp:txXfrm>
    </dsp:sp>
    <dsp:sp modelId="{4FF0E93A-EE92-4877-BDD5-2C9A329F8D4C}">
      <dsp:nvSpPr>
        <dsp:cNvPr id="0" name=""/>
        <dsp:cNvSpPr/>
      </dsp:nvSpPr>
      <dsp:spPr>
        <a:xfrm>
          <a:off x="0" y="1649414"/>
          <a:ext cx="4983162" cy="7359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dirty="0"/>
            <a:t>Available for all service tiers.</a:t>
          </a:r>
          <a:endParaRPr lang="en-US" sz="1700" kern="1200" dirty="0"/>
        </a:p>
      </dsp:txBody>
      <dsp:txXfrm>
        <a:off x="35925" y="1685339"/>
        <a:ext cx="4911312" cy="664080"/>
      </dsp:txXfrm>
    </dsp:sp>
    <dsp:sp modelId="{45C8ECF9-B0D8-444C-AA2A-8938EBFE0562}">
      <dsp:nvSpPr>
        <dsp:cNvPr id="0" name=""/>
        <dsp:cNvSpPr/>
      </dsp:nvSpPr>
      <dsp:spPr>
        <a:xfrm>
          <a:off x="0" y="2434304"/>
          <a:ext cx="4983162" cy="7359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Configure the auto-failover policy that best meets your application needs.</a:t>
          </a:r>
          <a:endParaRPr lang="en-US" sz="1700" kern="1200"/>
        </a:p>
      </dsp:txBody>
      <dsp:txXfrm>
        <a:off x="35925" y="2470229"/>
        <a:ext cx="4911312" cy="664080"/>
      </dsp:txXfrm>
    </dsp:sp>
    <dsp:sp modelId="{249B9357-27B7-48FA-9693-A4E8A251272B}">
      <dsp:nvSpPr>
        <dsp:cNvPr id="0" name=""/>
        <dsp:cNvSpPr/>
      </dsp:nvSpPr>
      <dsp:spPr>
        <a:xfrm>
          <a:off x="0" y="3219195"/>
          <a:ext cx="4983162" cy="7359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Usage of and listener end-points.</a:t>
          </a:r>
          <a:endParaRPr lang="en-US" sz="1700" kern="1200"/>
        </a:p>
      </dsp:txBody>
      <dsp:txXfrm>
        <a:off x="35925" y="3255120"/>
        <a:ext cx="4911312" cy="664080"/>
      </dsp:txXfrm>
    </dsp:sp>
    <dsp:sp modelId="{DF3F32AA-A900-43D6-B269-510E87493361}">
      <dsp:nvSpPr>
        <dsp:cNvPr id="0" name=""/>
        <dsp:cNvSpPr/>
      </dsp:nvSpPr>
      <dsp:spPr>
        <a:xfrm>
          <a:off x="0" y="4004085"/>
          <a:ext cx="4983162" cy="7359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baseline="0"/>
            <a:t>DNS record is automatically updated. </a:t>
          </a:r>
          <a:endParaRPr lang="en-US" sz="1700" kern="1200"/>
        </a:p>
      </dsp:txBody>
      <dsp:txXfrm>
        <a:off x="35925" y="4040010"/>
        <a:ext cx="4911312" cy="66408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952B91-7B4D-4320-92EE-02C9A208A700}">
      <dsp:nvSpPr>
        <dsp:cNvPr id="0" name=""/>
        <dsp:cNvSpPr/>
      </dsp:nvSpPr>
      <dsp:spPr>
        <a:xfrm>
          <a:off x="1552150" y="2836"/>
          <a:ext cx="3703059" cy="22218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ailover group</a:t>
          </a:r>
          <a:endParaRPr lang="en-US" sz="2400" kern="1200" dirty="0"/>
        </a:p>
      </dsp:txBody>
      <dsp:txXfrm>
        <a:off x="1552150" y="2836"/>
        <a:ext cx="3703059" cy="2221835"/>
      </dsp:txXfrm>
    </dsp:sp>
    <dsp:sp modelId="{ADBA2CE2-5D8E-4D42-95B4-19EDC9EEC7FC}">
      <dsp:nvSpPr>
        <dsp:cNvPr id="0" name=""/>
        <dsp:cNvSpPr/>
      </dsp:nvSpPr>
      <dsp:spPr>
        <a:xfrm>
          <a:off x="5625515" y="2836"/>
          <a:ext cx="3703059" cy="22218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ailover group listener</a:t>
          </a:r>
          <a:endParaRPr lang="en-US" sz="2400" kern="1200" dirty="0"/>
        </a:p>
      </dsp:txBody>
      <dsp:txXfrm>
        <a:off x="5625515" y="2836"/>
        <a:ext cx="3703059" cy="2221835"/>
      </dsp:txXfrm>
    </dsp:sp>
    <dsp:sp modelId="{CC5709CB-00C7-4312-8BAA-DF6B701FD901}">
      <dsp:nvSpPr>
        <dsp:cNvPr id="0" name=""/>
        <dsp:cNvSpPr/>
      </dsp:nvSpPr>
      <dsp:spPr>
        <a:xfrm>
          <a:off x="1552150" y="2594977"/>
          <a:ext cx="3703059" cy="22218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utomatic Failover Policy</a:t>
          </a:r>
          <a:endParaRPr lang="en-US" sz="2400" kern="1200" dirty="0"/>
        </a:p>
      </dsp:txBody>
      <dsp:txXfrm>
        <a:off x="1552150" y="2594977"/>
        <a:ext cx="3703059" cy="2221835"/>
      </dsp:txXfrm>
    </dsp:sp>
    <dsp:sp modelId="{F33AE7D5-3463-4657-A4BD-D19D09E3FB84}">
      <dsp:nvSpPr>
        <dsp:cNvPr id="0" name=""/>
        <dsp:cNvSpPr/>
      </dsp:nvSpPr>
      <dsp:spPr>
        <a:xfrm>
          <a:off x="5625515" y="2594977"/>
          <a:ext cx="3703059" cy="22218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Grace Period with Data Loss</a:t>
          </a:r>
          <a:endParaRPr lang="en-US" sz="2400" kern="1200" dirty="0"/>
        </a:p>
      </dsp:txBody>
      <dsp:txXfrm>
        <a:off x="5625515" y="2594977"/>
        <a:ext cx="3703059" cy="22218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0EDE85-7BB9-4860-8F7B-C631049EEDFF}">
      <dsp:nvSpPr>
        <dsp:cNvPr id="0" name=""/>
        <dsp:cNvSpPr/>
      </dsp:nvSpPr>
      <dsp:spPr>
        <a:xfrm>
          <a:off x="0" y="491024"/>
          <a:ext cx="6202362" cy="1825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The Basic, Standard, and General-Purpose service tiers leverage the standard availability architecture for both serverless and provisioned compute.</a:t>
          </a:r>
          <a:endParaRPr lang="en-US" sz="2400" kern="1200" dirty="0"/>
        </a:p>
      </dsp:txBody>
      <dsp:txXfrm>
        <a:off x="89099" y="580123"/>
        <a:ext cx="6024164" cy="1647002"/>
      </dsp:txXfrm>
    </dsp:sp>
    <dsp:sp modelId="{6F140564-8F93-493C-95C5-08B67E63D302}">
      <dsp:nvSpPr>
        <dsp:cNvPr id="0" name=""/>
        <dsp:cNvSpPr/>
      </dsp:nvSpPr>
      <dsp:spPr>
        <a:xfrm>
          <a:off x="0" y="2503424"/>
          <a:ext cx="6202362" cy="1825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Remote storage configurations are used for Basic, Standard or General-Purpose tiers </a:t>
          </a:r>
          <a:endParaRPr lang="en-US" sz="2400" kern="1200" dirty="0"/>
        </a:p>
      </dsp:txBody>
      <dsp:txXfrm>
        <a:off x="89099" y="2592523"/>
        <a:ext cx="6024164" cy="1647002"/>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6B7439-18CF-4CE9-8CA9-B39E63424F66}">
      <dsp:nvSpPr>
        <dsp:cNvPr id="0" name=""/>
        <dsp:cNvSpPr/>
      </dsp:nvSpPr>
      <dsp:spPr>
        <a:xfrm>
          <a:off x="0" y="198525"/>
          <a:ext cx="10880726" cy="144494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 new SQL database engine feature that greatly improves database availability, especially in the presence of long running transactions, by redesigning the SQL database engine recovery process.</a:t>
          </a:r>
          <a:endParaRPr lang="en-US" sz="2400" kern="1200" dirty="0"/>
        </a:p>
      </dsp:txBody>
      <dsp:txXfrm>
        <a:off x="70537" y="269062"/>
        <a:ext cx="10739652" cy="1303875"/>
      </dsp:txXfrm>
    </dsp:sp>
    <dsp:sp modelId="{F0CC0509-8B06-4962-9D75-88B0483ABFAF}">
      <dsp:nvSpPr>
        <dsp:cNvPr id="0" name=""/>
        <dsp:cNvSpPr/>
      </dsp:nvSpPr>
      <dsp:spPr>
        <a:xfrm>
          <a:off x="0" y="1830675"/>
          <a:ext cx="10880726" cy="144494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he primary benefits of ADR are:</a:t>
          </a:r>
          <a:endParaRPr lang="en-US" sz="2400" kern="1200" dirty="0"/>
        </a:p>
      </dsp:txBody>
      <dsp:txXfrm>
        <a:off x="70537" y="1901212"/>
        <a:ext cx="10739652" cy="1303875"/>
      </dsp:txXfrm>
    </dsp:sp>
    <dsp:sp modelId="{00AD4568-22C4-473B-B5B9-6E37E9A94FDD}">
      <dsp:nvSpPr>
        <dsp:cNvPr id="0" name=""/>
        <dsp:cNvSpPr/>
      </dsp:nvSpPr>
      <dsp:spPr>
        <a:xfrm>
          <a:off x="0" y="3275625"/>
          <a:ext cx="10880726" cy="1345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Fast and consistent database recovery.</a:t>
          </a:r>
          <a:endParaRPr lang="en-US" sz="2400" kern="1200" dirty="0"/>
        </a:p>
        <a:p>
          <a:pPr marL="228600" lvl="1" indent="-228600" algn="l" defTabSz="1066800">
            <a:lnSpc>
              <a:spcPct val="90000"/>
            </a:lnSpc>
            <a:spcBef>
              <a:spcPct val="0"/>
            </a:spcBef>
            <a:spcAft>
              <a:spcPct val="20000"/>
            </a:spcAft>
            <a:buChar char="•"/>
          </a:pPr>
          <a:r>
            <a:rPr lang="en-US" sz="2400" kern="1200" baseline="0" dirty="0"/>
            <a:t>Instantaneous transaction rollback.</a:t>
          </a:r>
          <a:endParaRPr lang="en-US" sz="2400" kern="1200" dirty="0"/>
        </a:p>
        <a:p>
          <a:pPr marL="228600" lvl="1" indent="-228600" algn="l" defTabSz="1066800">
            <a:lnSpc>
              <a:spcPct val="90000"/>
            </a:lnSpc>
            <a:spcBef>
              <a:spcPct val="0"/>
            </a:spcBef>
            <a:spcAft>
              <a:spcPct val="20000"/>
            </a:spcAft>
            <a:buChar char="•"/>
          </a:pPr>
          <a:r>
            <a:rPr lang="en-US" sz="2400" kern="1200" baseline="0" dirty="0"/>
            <a:t>Truncation.</a:t>
          </a:r>
          <a:endParaRPr lang="en-US" sz="2400" kern="1200" dirty="0"/>
        </a:p>
      </dsp:txBody>
      <dsp:txXfrm>
        <a:off x="0" y="3275625"/>
        <a:ext cx="10880726" cy="134550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3528"/>
          <a:ext cx="10880725" cy="9090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solidFill>
                <a:srgbClr val="FFFFFF"/>
              </a:solidFill>
            </a:rPr>
            <a:t>True or false: Can you configure both Synchronous and Asynchronous Replication for the replicas in Geo Replication</a:t>
          </a:r>
          <a:r>
            <a:rPr kumimoji="0" lang="en-US" sz="2100" b="0" i="0" u="none" strike="noStrike" kern="1200" cap="none" spc="0" normalizeH="0" baseline="0" noProof="0" dirty="0">
              <a:ln>
                <a:noFill/>
              </a:ln>
              <a:solidFill>
                <a:srgbClr val="FFFFFF"/>
              </a:solidFill>
              <a:effectLst/>
              <a:uLnTx/>
              <a:uFillTx/>
              <a:latin typeface="Segoe UI"/>
              <a:ea typeface="+mn-ea"/>
              <a:cs typeface="+mn-cs"/>
            </a:rPr>
            <a:t>?</a:t>
          </a:r>
          <a:endParaRPr lang="en-US" sz="2100" kern="1200" dirty="0"/>
        </a:p>
      </dsp:txBody>
      <dsp:txXfrm>
        <a:off x="44378" y="87906"/>
        <a:ext cx="10791969" cy="820333"/>
      </dsp:txXfrm>
    </dsp:sp>
    <dsp:sp modelId="{0C4DDF9B-EA8A-4584-BDA7-05A385F52E7D}">
      <dsp:nvSpPr>
        <dsp:cNvPr id="0" name=""/>
        <dsp:cNvSpPr/>
      </dsp:nvSpPr>
      <dsp:spPr>
        <a:xfrm>
          <a:off x="0" y="1013098"/>
          <a:ext cx="10880725" cy="90908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Font typeface="Arial" panose="020B0604020202020204" pitchFamily="34" charset="0"/>
            <a:buNone/>
          </a:pPr>
          <a:r>
            <a:rPr lang="en-US" sz="2100" kern="1200" dirty="0">
              <a:solidFill>
                <a:srgbClr val="FFFFFF"/>
              </a:solidFill>
            </a:rPr>
            <a:t>True or false: Both primary and secondary databases are required to have the same service tier.</a:t>
          </a:r>
          <a:endParaRPr lang="en-US" sz="2100" kern="1200" dirty="0"/>
        </a:p>
      </dsp:txBody>
      <dsp:txXfrm>
        <a:off x="44378" y="1057476"/>
        <a:ext cx="10791969" cy="820333"/>
      </dsp:txXfrm>
    </dsp:sp>
    <dsp:sp modelId="{EFBAC271-C5E2-4127-9368-761652EECB74}">
      <dsp:nvSpPr>
        <dsp:cNvPr id="0" name=""/>
        <dsp:cNvSpPr/>
      </dsp:nvSpPr>
      <dsp:spPr>
        <a:xfrm>
          <a:off x="0" y="1982668"/>
          <a:ext cx="10880725" cy="90908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Font typeface="Arial" panose="020B0604020202020204" pitchFamily="34" charset="0"/>
            <a:buNone/>
          </a:pPr>
          <a:r>
            <a:rPr lang="en-US" sz="2100" kern="1200" dirty="0">
              <a:solidFill>
                <a:srgbClr val="FFFFFF"/>
              </a:solidFill>
            </a:rPr>
            <a:t>What is the Grace period with data loss on the Failover Group?</a:t>
          </a:r>
          <a:endParaRPr lang="en-US" sz="2100" kern="1200" dirty="0"/>
        </a:p>
      </dsp:txBody>
      <dsp:txXfrm>
        <a:off x="44378" y="2027046"/>
        <a:ext cx="10791969" cy="820333"/>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C52799-7694-4970-8E83-4D6F7BE9FA94}">
      <dsp:nvSpPr>
        <dsp:cNvPr id="0" name=""/>
        <dsp:cNvSpPr/>
      </dsp:nvSpPr>
      <dsp:spPr>
        <a:xfrm>
          <a:off x="0" y="1679257"/>
          <a:ext cx="6726237" cy="2239010"/>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3807C8-8193-4D23-AFE3-FC50D610842C}">
      <dsp:nvSpPr>
        <dsp:cNvPr id="0" name=""/>
        <dsp:cNvSpPr/>
      </dsp:nvSpPr>
      <dsp:spPr>
        <a:xfrm>
          <a:off x="73" y="0"/>
          <a:ext cx="2952910" cy="22390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b" anchorCtr="0">
          <a:noAutofit/>
        </a:bodyPr>
        <a:lstStyle/>
        <a:p>
          <a:pPr marL="0" lvl="0" indent="0" algn="ctr" defTabSz="1066800">
            <a:lnSpc>
              <a:spcPct val="90000"/>
            </a:lnSpc>
            <a:spcBef>
              <a:spcPct val="0"/>
            </a:spcBef>
            <a:spcAft>
              <a:spcPct val="35000"/>
            </a:spcAft>
            <a:buNone/>
          </a:pPr>
          <a:r>
            <a:rPr lang="en-US" sz="2400" kern="1200" dirty="0"/>
            <a:t>Business Continuity</a:t>
          </a:r>
        </a:p>
      </dsp:txBody>
      <dsp:txXfrm>
        <a:off x="73" y="0"/>
        <a:ext cx="2952910" cy="2239010"/>
      </dsp:txXfrm>
    </dsp:sp>
    <dsp:sp modelId="{40779399-893A-485D-855D-4B7D1E07AEF5}">
      <dsp:nvSpPr>
        <dsp:cNvPr id="0" name=""/>
        <dsp:cNvSpPr/>
      </dsp:nvSpPr>
      <dsp:spPr>
        <a:xfrm>
          <a:off x="1196652" y="2518886"/>
          <a:ext cx="559752" cy="55975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DF2CB0-78F7-4FF9-8CB4-2B61C89CB161}">
      <dsp:nvSpPr>
        <dsp:cNvPr id="0" name=""/>
        <dsp:cNvSpPr/>
      </dsp:nvSpPr>
      <dsp:spPr>
        <a:xfrm>
          <a:off x="2840035" y="3358515"/>
          <a:ext cx="2952910" cy="22390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t" anchorCtr="0">
          <a:noAutofit/>
        </a:bodyPr>
        <a:lstStyle/>
        <a:p>
          <a:pPr marL="0" lvl="0" indent="0" algn="ctr" defTabSz="1066800">
            <a:lnSpc>
              <a:spcPct val="90000"/>
            </a:lnSpc>
            <a:spcBef>
              <a:spcPct val="0"/>
            </a:spcBef>
            <a:spcAft>
              <a:spcPct val="35000"/>
            </a:spcAft>
            <a:buNone/>
          </a:pPr>
          <a:r>
            <a:rPr lang="en-US" sz="2400" kern="1200" dirty="0"/>
            <a:t>Disaster Recovery</a:t>
          </a:r>
        </a:p>
      </dsp:txBody>
      <dsp:txXfrm>
        <a:off x="2840035" y="3358515"/>
        <a:ext cx="2952910" cy="2239010"/>
      </dsp:txXfrm>
    </dsp:sp>
    <dsp:sp modelId="{DC693925-943A-404B-9137-34B727E90154}">
      <dsp:nvSpPr>
        <dsp:cNvPr id="0" name=""/>
        <dsp:cNvSpPr/>
      </dsp:nvSpPr>
      <dsp:spPr>
        <a:xfrm>
          <a:off x="4297208" y="2518886"/>
          <a:ext cx="559752" cy="55975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6B420D-62A6-45D3-9F81-785F0ECBC258}">
      <dsp:nvSpPr>
        <dsp:cNvPr id="0" name=""/>
        <dsp:cNvSpPr/>
      </dsp:nvSpPr>
      <dsp:spPr>
        <a:xfrm>
          <a:off x="0" y="1167"/>
          <a:ext cx="7116762" cy="9533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High availability is achieved by replicating both compute and storage to additional nodes.</a:t>
          </a:r>
          <a:endParaRPr lang="en-US" sz="1800" kern="1200" dirty="0"/>
        </a:p>
      </dsp:txBody>
      <dsp:txXfrm>
        <a:off x="46539" y="47706"/>
        <a:ext cx="7023684" cy="860271"/>
      </dsp:txXfrm>
    </dsp:sp>
    <dsp:sp modelId="{404FDBF0-EA38-40A6-8C14-FB8C21CAB349}">
      <dsp:nvSpPr>
        <dsp:cNvPr id="0" name=""/>
        <dsp:cNvSpPr/>
      </dsp:nvSpPr>
      <dsp:spPr>
        <a:xfrm>
          <a:off x="0" y="967158"/>
          <a:ext cx="7116762" cy="9533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High availability is implemented using a technology like SQL Server Always On Availability Groups.</a:t>
          </a:r>
          <a:endParaRPr lang="en-US" sz="1800" kern="1200" dirty="0"/>
        </a:p>
      </dsp:txBody>
      <dsp:txXfrm>
        <a:off x="46539" y="1013697"/>
        <a:ext cx="7023684" cy="860271"/>
      </dsp:txXfrm>
    </dsp:sp>
    <dsp:sp modelId="{BECA90C4-0169-476B-B9CD-10DC1079713E}">
      <dsp:nvSpPr>
        <dsp:cNvPr id="0" name=""/>
        <dsp:cNvSpPr/>
      </dsp:nvSpPr>
      <dsp:spPr>
        <a:xfrm>
          <a:off x="0" y="1933150"/>
          <a:ext cx="7116762" cy="9533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The cluster includes a single primary replica for read-write workloads, and up to three secondary replicas (compute and storage) containing copies of data. </a:t>
          </a:r>
          <a:endParaRPr lang="en-US" sz="1800" kern="1200" dirty="0"/>
        </a:p>
      </dsp:txBody>
      <dsp:txXfrm>
        <a:off x="46539" y="1979689"/>
        <a:ext cx="7023684" cy="860271"/>
      </dsp:txXfrm>
    </dsp:sp>
    <dsp:sp modelId="{830F2B68-0BDA-41F1-B615-45D9E6FFAD20}">
      <dsp:nvSpPr>
        <dsp:cNvPr id="0" name=""/>
        <dsp:cNvSpPr/>
      </dsp:nvSpPr>
      <dsp:spPr>
        <a:xfrm>
          <a:off x="0" y="2899141"/>
          <a:ext cx="7116762" cy="9533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The failover is initiated by the Azure Service Fabric. </a:t>
          </a:r>
          <a:endParaRPr lang="en-US" sz="1800" kern="1200"/>
        </a:p>
      </dsp:txBody>
      <dsp:txXfrm>
        <a:off x="46539" y="2945680"/>
        <a:ext cx="7023684" cy="860271"/>
      </dsp:txXfrm>
    </dsp:sp>
    <dsp:sp modelId="{B6797D5E-7071-420D-A8A1-F13F83CDA104}">
      <dsp:nvSpPr>
        <dsp:cNvPr id="0" name=""/>
        <dsp:cNvSpPr/>
      </dsp:nvSpPr>
      <dsp:spPr>
        <a:xfrm>
          <a:off x="0" y="3865133"/>
          <a:ext cx="7116762" cy="9533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As an extra benefit, the premium availability model includes Read Scale-Out feature. </a:t>
          </a:r>
          <a:endParaRPr lang="en-US" sz="1800" kern="1200" dirty="0"/>
        </a:p>
      </dsp:txBody>
      <dsp:txXfrm>
        <a:off x="46539" y="3911672"/>
        <a:ext cx="7023684" cy="8602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B47629-8717-4462-8A97-67BD9CEBE89A}">
      <dsp:nvSpPr>
        <dsp:cNvPr id="0" name=""/>
        <dsp:cNvSpPr/>
      </dsp:nvSpPr>
      <dsp:spPr>
        <a:xfrm>
          <a:off x="0" y="91284"/>
          <a:ext cx="673576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dirty="0"/>
            <a:t>By default, the cluster of nodes for the premium availability model is created in the same datacenter. </a:t>
          </a:r>
          <a:endParaRPr lang="en-US" sz="1500" kern="1200" dirty="0"/>
        </a:p>
      </dsp:txBody>
      <dsp:txXfrm>
        <a:off x="43586" y="134870"/>
        <a:ext cx="6648590" cy="805684"/>
      </dsp:txXfrm>
    </dsp:sp>
    <dsp:sp modelId="{BE7AC363-275C-4D69-9598-B69A7310C7CB}">
      <dsp:nvSpPr>
        <dsp:cNvPr id="0" name=""/>
        <dsp:cNvSpPr/>
      </dsp:nvSpPr>
      <dsp:spPr>
        <a:xfrm>
          <a:off x="0" y="1027340"/>
          <a:ext cx="673576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dirty="0"/>
            <a:t>SQL Database can place different replicas of the Business-Critical database to different availability zones in the same region.</a:t>
          </a:r>
          <a:endParaRPr lang="en-US" sz="1500" kern="1200" dirty="0"/>
        </a:p>
      </dsp:txBody>
      <dsp:txXfrm>
        <a:off x="43586" y="1070926"/>
        <a:ext cx="6648590" cy="805684"/>
      </dsp:txXfrm>
    </dsp:sp>
    <dsp:sp modelId="{EA816DA8-16B2-491E-982A-E36D7B2BFC13}">
      <dsp:nvSpPr>
        <dsp:cNvPr id="0" name=""/>
        <dsp:cNvSpPr/>
      </dsp:nvSpPr>
      <dsp:spPr>
        <a:xfrm>
          <a:off x="0" y="1963396"/>
          <a:ext cx="673576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The routing is controlled by Azure Traffic Manager (ATM). </a:t>
          </a:r>
        </a:p>
      </dsp:txBody>
      <dsp:txXfrm>
        <a:off x="43586" y="2006982"/>
        <a:ext cx="6648590" cy="805684"/>
      </dsp:txXfrm>
    </dsp:sp>
    <dsp:sp modelId="{7F4B4DDA-AD1B-47B1-B8C7-B012B21334C2}">
      <dsp:nvSpPr>
        <dsp:cNvPr id="0" name=""/>
        <dsp:cNvSpPr/>
      </dsp:nvSpPr>
      <dsp:spPr>
        <a:xfrm>
          <a:off x="0" y="2899453"/>
          <a:ext cx="673576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The zone redundant databases have replicas in different datacenters with some distance between them, the increased network latency may impact the performance.</a:t>
          </a:r>
        </a:p>
      </dsp:txBody>
      <dsp:txXfrm>
        <a:off x="43586" y="2943039"/>
        <a:ext cx="6648590" cy="805684"/>
      </dsp:txXfrm>
    </dsp:sp>
    <dsp:sp modelId="{08286313-9289-4961-8FE9-CC08C61FA2EE}">
      <dsp:nvSpPr>
        <dsp:cNvPr id="0" name=""/>
        <dsp:cNvSpPr/>
      </dsp:nvSpPr>
      <dsp:spPr>
        <a:xfrm>
          <a:off x="0" y="3835509"/>
          <a:ext cx="6735762" cy="8928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baseline="0" dirty="0"/>
            <a:t>Zone redundant configurations are currently only supported in the Premium or Business Critical tiers</a:t>
          </a:r>
          <a:endParaRPr lang="en-US" sz="1500" kern="1200" dirty="0"/>
        </a:p>
      </dsp:txBody>
      <dsp:txXfrm>
        <a:off x="43586" y="3879095"/>
        <a:ext cx="6648590" cy="80568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711FBF-18DC-4B4C-8902-0A5FD56F3015}">
      <dsp:nvSpPr>
        <dsp:cNvPr id="0" name=""/>
        <dsp:cNvSpPr/>
      </dsp:nvSpPr>
      <dsp:spPr>
        <a:xfrm rot="5400000">
          <a:off x="-260162" y="261136"/>
          <a:ext cx="1734415" cy="121409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rot="-5400000">
        <a:off x="1" y="608018"/>
        <a:ext cx="1214090" cy="520325"/>
      </dsp:txXfrm>
    </dsp:sp>
    <dsp:sp modelId="{0915C056-74DD-47B1-8D76-B698D80D2D01}">
      <dsp:nvSpPr>
        <dsp:cNvPr id="0" name=""/>
        <dsp:cNvSpPr/>
      </dsp:nvSpPr>
      <dsp:spPr>
        <a:xfrm rot="5400000">
          <a:off x="5483723" y="-4268658"/>
          <a:ext cx="1127369" cy="9666635"/>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3335" rIns="13335" bIns="1333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a:t>Uses SQL Server technology to create full, differential, and transaction log backups. </a:t>
          </a:r>
          <a:endParaRPr lang="en-US" sz="2100" kern="1200"/>
        </a:p>
      </dsp:txBody>
      <dsp:txXfrm rot="-5400000">
        <a:off x="1214090" y="56009"/>
        <a:ext cx="9611601" cy="1017301"/>
      </dsp:txXfrm>
    </dsp:sp>
    <dsp:sp modelId="{AC5A471C-C75E-48EA-9A82-25760D641C25}">
      <dsp:nvSpPr>
        <dsp:cNvPr id="0" name=""/>
        <dsp:cNvSpPr/>
      </dsp:nvSpPr>
      <dsp:spPr>
        <a:xfrm rot="5400000">
          <a:off x="-260162" y="1802779"/>
          <a:ext cx="1734415" cy="121409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endParaRPr lang="en-US" sz="3100" kern="1200" dirty="0"/>
        </a:p>
      </dsp:txBody>
      <dsp:txXfrm rot="-5400000">
        <a:off x="1" y="2149661"/>
        <a:ext cx="1214090" cy="520325"/>
      </dsp:txXfrm>
    </dsp:sp>
    <dsp:sp modelId="{F1327259-AA5A-4D3A-B074-92B3E45AC9A1}">
      <dsp:nvSpPr>
        <dsp:cNvPr id="0" name=""/>
        <dsp:cNvSpPr/>
      </dsp:nvSpPr>
      <dsp:spPr>
        <a:xfrm rot="5400000">
          <a:off x="5483723" y="-2727015"/>
          <a:ext cx="1127369" cy="9666635"/>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3335" rIns="13335" bIns="1333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Transaction log backups, with full and differential backups, allow you to restore a database to a specific point-in-time to the same server that hosts the database.</a:t>
          </a:r>
          <a:endParaRPr lang="en-US" sz="2100" kern="1200" dirty="0"/>
        </a:p>
      </dsp:txBody>
      <dsp:txXfrm rot="-5400000">
        <a:off x="1214090" y="1597652"/>
        <a:ext cx="9611601" cy="1017301"/>
      </dsp:txXfrm>
    </dsp:sp>
    <dsp:sp modelId="{A5D84390-D0BC-47A9-9087-87EFA53406BC}">
      <dsp:nvSpPr>
        <dsp:cNvPr id="0" name=""/>
        <dsp:cNvSpPr/>
      </dsp:nvSpPr>
      <dsp:spPr>
        <a:xfrm rot="5400000">
          <a:off x="-260162" y="3344423"/>
          <a:ext cx="1734415" cy="121409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endParaRPr lang="en-US" sz="3100" kern="1200" dirty="0"/>
        </a:p>
      </dsp:txBody>
      <dsp:txXfrm rot="-5400000">
        <a:off x="1" y="3691305"/>
        <a:ext cx="1214090" cy="520325"/>
      </dsp:txXfrm>
    </dsp:sp>
    <dsp:sp modelId="{F4740373-9527-4861-925E-399D8B8C6513}">
      <dsp:nvSpPr>
        <dsp:cNvPr id="0" name=""/>
        <dsp:cNvSpPr/>
      </dsp:nvSpPr>
      <dsp:spPr>
        <a:xfrm rot="5400000">
          <a:off x="5483723" y="-1185371"/>
          <a:ext cx="1127369" cy="9666635"/>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3335" rIns="13335" bIns="13335" numCol="1" spcCol="1270" anchor="ctr" anchorCtr="0">
          <a:noAutofit/>
        </a:bodyPr>
        <a:lstStyle/>
        <a:p>
          <a:pPr marL="228600" lvl="1" indent="-228600" algn="l" defTabSz="933450">
            <a:lnSpc>
              <a:spcPct val="90000"/>
            </a:lnSpc>
            <a:spcBef>
              <a:spcPct val="0"/>
            </a:spcBef>
            <a:spcAft>
              <a:spcPct val="15000"/>
            </a:spcAft>
            <a:buChar char="•"/>
          </a:pPr>
          <a:r>
            <a:rPr lang="en-US" sz="2100" kern="1200" baseline="0" dirty="0"/>
            <a:t>When you restore a database, the service figures out which full, differential, and transaction log backups need to be restored.</a:t>
          </a:r>
          <a:endParaRPr lang="en-US" sz="2100" kern="1200" dirty="0"/>
        </a:p>
      </dsp:txBody>
      <dsp:txXfrm rot="-5400000">
        <a:off x="1214090" y="3139296"/>
        <a:ext cx="9611601" cy="101730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7A1FA5-CB4B-4DD1-9E1E-2DD81569BE5F}">
      <dsp:nvSpPr>
        <dsp:cNvPr id="0" name=""/>
        <dsp:cNvSpPr/>
      </dsp:nvSpPr>
      <dsp:spPr>
        <a:xfrm>
          <a:off x="0" y="340018"/>
          <a:ext cx="10606125"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DC1B8D-923A-4DBD-BE9A-C6C118CA76CB}">
      <dsp:nvSpPr>
        <dsp:cNvPr id="0" name=""/>
        <dsp:cNvSpPr/>
      </dsp:nvSpPr>
      <dsp:spPr>
        <a:xfrm>
          <a:off x="530306" y="538"/>
          <a:ext cx="9867843" cy="678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620" tIns="0" rIns="280620"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Light"/>
              <a:ea typeface="+mn-ea"/>
              <a:cs typeface="+mn-cs"/>
            </a:rPr>
            <a:t>All Azure SQL databases (single, pooled, and managed instance databases) have a default backup retention period of </a:t>
          </a:r>
          <a:r>
            <a:rPr lang="en-US" sz="1800" b="1" kern="1200" dirty="0">
              <a:latin typeface="Segoe UI Light"/>
              <a:ea typeface="+mn-ea"/>
              <a:cs typeface="+mn-cs"/>
            </a:rPr>
            <a:t>seven</a:t>
          </a:r>
          <a:r>
            <a:rPr lang="en-US" sz="1800" kern="1200" dirty="0">
              <a:latin typeface="Segoe UI Light"/>
              <a:ea typeface="+mn-ea"/>
              <a:cs typeface="+mn-cs"/>
            </a:rPr>
            <a:t> days. </a:t>
          </a:r>
        </a:p>
      </dsp:txBody>
      <dsp:txXfrm>
        <a:off x="563450" y="33682"/>
        <a:ext cx="9801555" cy="612672"/>
      </dsp:txXfrm>
    </dsp:sp>
    <dsp:sp modelId="{D2F80189-0205-4777-997F-612A455DDD1A}">
      <dsp:nvSpPr>
        <dsp:cNvPr id="0" name=""/>
        <dsp:cNvSpPr/>
      </dsp:nvSpPr>
      <dsp:spPr>
        <a:xfrm>
          <a:off x="0" y="1383298"/>
          <a:ext cx="10606125"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7DDBC1E-4F7B-4F2D-B5AD-A198A1BF65E0}">
      <dsp:nvSpPr>
        <dsp:cNvPr id="0" name=""/>
        <dsp:cNvSpPr/>
      </dsp:nvSpPr>
      <dsp:spPr>
        <a:xfrm>
          <a:off x="530306" y="1043818"/>
          <a:ext cx="9867843" cy="678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620" tIns="0" rIns="280620"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Light"/>
              <a:ea typeface="+mn-ea"/>
              <a:cs typeface="+mn-cs"/>
            </a:rPr>
            <a:t>You can change backup retention period up to 35 days.</a:t>
          </a:r>
        </a:p>
      </dsp:txBody>
      <dsp:txXfrm>
        <a:off x="563450" y="1076962"/>
        <a:ext cx="9801555" cy="612672"/>
      </dsp:txXfrm>
    </dsp:sp>
    <dsp:sp modelId="{E414A71A-7E33-416E-9F98-607A34DBD891}">
      <dsp:nvSpPr>
        <dsp:cNvPr id="0" name=""/>
        <dsp:cNvSpPr/>
      </dsp:nvSpPr>
      <dsp:spPr>
        <a:xfrm>
          <a:off x="0" y="2426578"/>
          <a:ext cx="10606125"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12F931-9DD0-4520-AEF1-6DD5267AFDFD}">
      <dsp:nvSpPr>
        <dsp:cNvPr id="0" name=""/>
        <dsp:cNvSpPr/>
      </dsp:nvSpPr>
      <dsp:spPr>
        <a:xfrm>
          <a:off x="530306" y="2087098"/>
          <a:ext cx="9867843" cy="678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620" tIns="0" rIns="280620" bIns="0" numCol="1" spcCol="1270" anchor="ctr" anchorCtr="0">
          <a:noAutofit/>
        </a:bodyPr>
        <a:lstStyle/>
        <a:p>
          <a:pPr marL="0" lvl="0" indent="0" algn="l" defTabSz="800100">
            <a:lnSpc>
              <a:spcPct val="90000"/>
            </a:lnSpc>
            <a:spcBef>
              <a:spcPct val="0"/>
            </a:spcBef>
            <a:spcAft>
              <a:spcPct val="35000"/>
            </a:spcAft>
            <a:buNone/>
          </a:pPr>
          <a:r>
            <a:rPr lang="en-US" sz="1800" kern="1200">
              <a:latin typeface="Segoe UI Light"/>
              <a:ea typeface="+mn-ea"/>
              <a:cs typeface="+mn-cs"/>
            </a:rPr>
            <a:t>If you delete a database, SQL Database will keep the backups in the same way it would for an online database.</a:t>
          </a:r>
          <a:endParaRPr lang="en-US" sz="1800" kern="1200" dirty="0">
            <a:latin typeface="Segoe UI Light"/>
            <a:ea typeface="+mn-ea"/>
            <a:cs typeface="+mn-cs"/>
          </a:endParaRPr>
        </a:p>
      </dsp:txBody>
      <dsp:txXfrm>
        <a:off x="563450" y="2120242"/>
        <a:ext cx="9801555" cy="612672"/>
      </dsp:txXfrm>
    </dsp:sp>
    <dsp:sp modelId="{75942490-805C-4884-A61A-7CD2EAE6A229}">
      <dsp:nvSpPr>
        <dsp:cNvPr id="0" name=""/>
        <dsp:cNvSpPr/>
      </dsp:nvSpPr>
      <dsp:spPr>
        <a:xfrm>
          <a:off x="0" y="3469858"/>
          <a:ext cx="10606125"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B552E7-D033-483A-9215-7D2EE3AADBDF}">
      <dsp:nvSpPr>
        <dsp:cNvPr id="0" name=""/>
        <dsp:cNvSpPr/>
      </dsp:nvSpPr>
      <dsp:spPr>
        <a:xfrm>
          <a:off x="530306" y="3130378"/>
          <a:ext cx="9867843" cy="678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0620" tIns="0" rIns="280620" bIns="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Light"/>
              <a:ea typeface="+mn-ea"/>
              <a:cs typeface="+mn-cs"/>
            </a:rPr>
            <a:t>If you need to keep the backups for longer than the maximum retention period, you can modify the backup properties to add one or more long-term retention periods to your database. </a:t>
          </a:r>
        </a:p>
      </dsp:txBody>
      <dsp:txXfrm>
        <a:off x="563450" y="3163522"/>
        <a:ext cx="9801555" cy="61267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2E41E8-453D-4C57-AB8C-CE49656920B2}">
      <dsp:nvSpPr>
        <dsp:cNvPr id="0" name=""/>
        <dsp:cNvSpPr/>
      </dsp:nvSpPr>
      <dsp:spPr>
        <a:xfrm>
          <a:off x="0" y="14803"/>
          <a:ext cx="10880726" cy="7792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You can change the default PITR backup retention period using the Azure portal, PowerShell, or the REST API. </a:t>
          </a:r>
          <a:endParaRPr lang="en-US" sz="1800" kern="1200" dirty="0"/>
        </a:p>
      </dsp:txBody>
      <dsp:txXfrm>
        <a:off x="38038" y="52841"/>
        <a:ext cx="10804650" cy="703143"/>
      </dsp:txXfrm>
    </dsp:sp>
    <dsp:sp modelId="{7F0EACEB-049B-4287-96E6-92D08212695A}">
      <dsp:nvSpPr>
        <dsp:cNvPr id="0" name=""/>
        <dsp:cNvSpPr/>
      </dsp:nvSpPr>
      <dsp:spPr>
        <a:xfrm>
          <a:off x="0" y="845863"/>
          <a:ext cx="10880726" cy="7792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The following examples illustrate how to change PITR retention to 28 days.</a:t>
          </a:r>
          <a:endParaRPr lang="en-US" sz="1800" kern="1200"/>
        </a:p>
      </dsp:txBody>
      <dsp:txXfrm>
        <a:off x="38038" y="883901"/>
        <a:ext cx="10804650" cy="70314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5E8B39-0C06-492A-95E2-4B59CE7302E6}">
      <dsp:nvSpPr>
        <dsp:cNvPr id="0" name=""/>
        <dsp:cNvSpPr/>
      </dsp:nvSpPr>
      <dsp:spPr>
        <a:xfrm>
          <a:off x="0" y="24003"/>
          <a:ext cx="5291128" cy="4633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The supported values are: 7, 14, 21, 28 or 35 days. </a:t>
          </a:r>
        </a:p>
      </dsp:txBody>
      <dsp:txXfrm>
        <a:off x="22617" y="46620"/>
        <a:ext cx="5245894" cy="41808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6109BC-E447-4311-91F9-BC168524E549}">
      <dsp:nvSpPr>
        <dsp:cNvPr id="0" name=""/>
        <dsp:cNvSpPr/>
      </dsp:nvSpPr>
      <dsp:spPr>
        <a:xfrm>
          <a:off x="0" y="55199"/>
          <a:ext cx="10880726"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You can configure a single or a pooled database with a long-term backup retention policy (LTR) to automatically retain the database backups in separate Azure Blob storage containers for up to 10 years.</a:t>
          </a:r>
          <a:endParaRPr lang="en-US" sz="2400" kern="1200" dirty="0"/>
        </a:p>
      </dsp:txBody>
      <dsp:txXfrm>
        <a:off x="70537" y="125736"/>
        <a:ext cx="10739652" cy="1303875"/>
      </dsp:txXfrm>
    </dsp:sp>
    <dsp:sp modelId="{403B58F7-6A25-44FC-ADE7-AADED7863554}">
      <dsp:nvSpPr>
        <dsp:cNvPr id="0" name=""/>
        <dsp:cNvSpPr/>
      </dsp:nvSpPr>
      <dsp:spPr>
        <a:xfrm>
          <a:off x="0" y="1687350"/>
          <a:ext cx="10880726"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You can then recover a database using these backups using the Azure portal or PowerShell.</a:t>
          </a:r>
          <a:endParaRPr lang="en-US" sz="2400" kern="1200" dirty="0"/>
        </a:p>
      </dsp:txBody>
      <dsp:txXfrm>
        <a:off x="70537" y="1757887"/>
        <a:ext cx="10739652" cy="1303875"/>
      </dsp:txXfrm>
    </dsp:sp>
    <dsp:sp modelId="{0D5563E3-B4A2-47FC-9998-1EB7FE0368CC}">
      <dsp:nvSpPr>
        <dsp:cNvPr id="0" name=""/>
        <dsp:cNvSpPr/>
      </dsp:nvSpPr>
      <dsp:spPr>
        <a:xfrm>
          <a:off x="0" y="3319500"/>
          <a:ext cx="10880726"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eleting LTR backup is non-reversible. To delete an LTR backup after the server has been deleted you must have Subscription scope permission. </a:t>
          </a:r>
          <a:endParaRPr lang="en-US" sz="2400" kern="1200" dirty="0"/>
        </a:p>
      </dsp:txBody>
      <dsp:txXfrm>
        <a:off x="70537" y="3390037"/>
        <a:ext cx="10739652" cy="130387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9.01.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19/2022</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azure/sql-database/sql-database-long-term-retention"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zure.microsoft.com/en-us/documentation/articles/sql-database-copy/"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azure.microsoft.com/en-us/documentation/articles/sql-database-export-powershell/"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t-sql/statements/alter-database-azure-sql-database"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sql-database/sql-database-automated-backu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azure/sql-database/sql-database-long-term-retention"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sql-database/sql-database-geo-replication-overview"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docs.microsoft.com/en-us/azure/sql-database/sql-database-business-continuity"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docs.microsoft.com/en-us/azure/active-directory/fundamentals/active-directory-whatis" TargetMode="External"/><Relationship Id="rId3" Type="http://schemas.openxmlformats.org/officeDocument/2006/relationships/hyperlink" Target="https://docs.microsoft.com/en-us/sql/relational-databases/system-catalog-views/sys-resource-stats-azure-sql-database" TargetMode="External"/><Relationship Id="rId7" Type="http://schemas.openxmlformats.org/officeDocument/2006/relationships/hyperlink" Target="https://docs.microsoft.com/en-us/azure/sql-database/sql-database-manage-logins"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docs.microsoft.com/en-us/azure/sql-database/sql-database-firewall-configure" TargetMode="External"/><Relationship Id="rId5" Type="http://schemas.openxmlformats.org/officeDocument/2006/relationships/hyperlink" Target="https://docs.microsoft.com/en-us/azure/sql-database/sql-database-service-tiers" TargetMode="External"/><Relationship Id="rId4" Type="http://schemas.openxmlformats.org/officeDocument/2006/relationships/hyperlink" Target="https://docs.microsoft.com/en-us/sql/relational-databases/system-dynamic-management-views/sys-dm-db-resource-stats-azure-sql-database"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azure/sql-database/sql-database-high-availability"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azure/sql-database/sql-database-accelerated-database-recovery"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sql/database-engine/availability-groups/windows/overview-of-always-on-availability-groups-sql-server"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availability-zones/az-overview"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overview"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19/2022</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0" i="0" u="none" strike="noStrike" kern="1200" dirty="0">
                <a:solidFill>
                  <a:schemeClr val="tx1"/>
                </a:solidFill>
                <a:effectLst/>
                <a:latin typeface="Segoe UI Light" pitchFamily="34" charset="0"/>
                <a:ea typeface="+mn-ea"/>
                <a:cs typeface="+mn-cs"/>
              </a:rPr>
              <a:t>https://docs.microsoft.com/en-us/azure/sql-database/sql-database-long-term-backup-retention-configur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5265037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base/sql-database-long-term-retention</a:t>
            </a:r>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Long-term backup retention leverages the automatic SQL Database backups created to enable point-time restore (PITR). You can configure a long term retention policy for each SQL database and specify how frequently you need to copy the backups to the long-term storage. To enable that flexibility you can define the policy using a combination of four parameters: weekly backup retention (W), monthly backup retention (M), yearly backup retention (Y) and week of year (</a:t>
            </a:r>
            <a:r>
              <a:rPr lang="en-US" sz="800" b="0" i="0" u="none" strike="noStrike" kern="1200" dirty="0" err="1">
                <a:solidFill>
                  <a:schemeClr val="tx1"/>
                </a:solidFill>
                <a:effectLst/>
                <a:latin typeface="Segoe UI Light" pitchFamily="34" charset="0"/>
                <a:ea typeface="+mn-ea"/>
                <a:cs typeface="+mn-cs"/>
              </a:rPr>
              <a:t>WeekOfYear</a:t>
            </a:r>
            <a:r>
              <a:rPr lang="en-US" sz="800" b="0" i="0" u="none" strike="noStrike" kern="1200" dirty="0">
                <a:solidFill>
                  <a:schemeClr val="tx1"/>
                </a:solidFill>
                <a:effectLst/>
                <a:latin typeface="Segoe UI Light" pitchFamily="34" charset="0"/>
                <a:ea typeface="+mn-ea"/>
                <a:cs typeface="+mn-cs"/>
              </a:rPr>
              <a:t>). If you specify W, one backup every week will be copied to the long-term storage. If you specify M, one backup during the first week of each month will be copied to the long-term storage. If you specify Y, one backup during the week specified by </a:t>
            </a:r>
            <a:r>
              <a:rPr lang="en-US" sz="800" b="0" i="0" u="none" strike="noStrike" kern="1200" dirty="0" err="1">
                <a:solidFill>
                  <a:schemeClr val="tx1"/>
                </a:solidFill>
                <a:effectLst/>
                <a:latin typeface="Segoe UI Light" pitchFamily="34" charset="0"/>
                <a:ea typeface="+mn-ea"/>
                <a:cs typeface="+mn-cs"/>
              </a:rPr>
              <a:t>WeekOfYear</a:t>
            </a:r>
            <a:r>
              <a:rPr lang="en-US" sz="800" b="0" i="0" u="none" strike="noStrike" kern="1200" dirty="0">
                <a:solidFill>
                  <a:schemeClr val="tx1"/>
                </a:solidFill>
                <a:effectLst/>
                <a:latin typeface="Segoe UI Light" pitchFamily="34" charset="0"/>
                <a:ea typeface="+mn-ea"/>
                <a:cs typeface="+mn-cs"/>
              </a:rPr>
              <a:t> will be copied to the long-term storage. Each backup will be kept in the long-term storage for the period specified by these parameters. </a:t>
            </a:r>
          </a:p>
          <a:p>
            <a:r>
              <a:rPr lang="en-US" sz="800" b="0" i="0" u="none" strike="noStrike" kern="1200" dirty="0">
                <a:solidFill>
                  <a:schemeClr val="tx1"/>
                </a:solidFill>
                <a:effectLst/>
                <a:latin typeface="Segoe UI Light" pitchFamily="34" charset="0"/>
                <a:ea typeface="+mn-ea"/>
                <a:cs typeface="+mn-cs"/>
              </a:rPr>
              <a:t>Examples:</a:t>
            </a:r>
          </a:p>
          <a:p>
            <a:r>
              <a:rPr lang="en-US" sz="800" b="0" i="0" u="none" strike="noStrike" kern="1200" dirty="0">
                <a:solidFill>
                  <a:schemeClr val="tx1"/>
                </a:solidFill>
                <a:effectLst/>
                <a:latin typeface="Segoe UI Light" pitchFamily="34" charset="0"/>
                <a:ea typeface="+mn-ea"/>
                <a:cs typeface="+mn-cs"/>
              </a:rPr>
              <a:t>W=0, M=0, Y=5, </a:t>
            </a:r>
            <a:r>
              <a:rPr lang="en-US" sz="800" b="0" i="0" u="none" strike="noStrike" kern="1200" dirty="0" err="1">
                <a:solidFill>
                  <a:schemeClr val="tx1"/>
                </a:solidFill>
                <a:effectLst/>
                <a:latin typeface="Segoe UI Light" pitchFamily="34" charset="0"/>
                <a:ea typeface="+mn-ea"/>
                <a:cs typeface="+mn-cs"/>
              </a:rPr>
              <a:t>WeekOfYear</a:t>
            </a:r>
            <a:r>
              <a:rPr lang="en-US" sz="800" b="0" i="0" u="none" strike="noStrike" kern="1200" dirty="0">
                <a:solidFill>
                  <a:schemeClr val="tx1"/>
                </a:solidFill>
                <a:effectLst/>
                <a:latin typeface="Segoe UI Light" pitchFamily="34" charset="0"/>
                <a:ea typeface="+mn-ea"/>
                <a:cs typeface="+mn-cs"/>
              </a:rPr>
              <a:t>=3</a:t>
            </a:r>
          </a:p>
          <a:p>
            <a:r>
              <a:rPr lang="en-US" sz="800" b="0" i="0" u="none" strike="noStrike" kern="1200" dirty="0">
                <a:solidFill>
                  <a:schemeClr val="tx1"/>
                </a:solidFill>
                <a:effectLst/>
                <a:latin typeface="Segoe UI Light" pitchFamily="34" charset="0"/>
                <a:ea typeface="+mn-ea"/>
                <a:cs typeface="+mn-cs"/>
              </a:rPr>
              <a:t>The 3rd full backup of each year will be kept for 5 years.</a:t>
            </a:r>
          </a:p>
          <a:p>
            <a:r>
              <a:rPr lang="en-US" sz="800" b="0" i="0" u="none" strike="noStrike" kern="1200" dirty="0">
                <a:solidFill>
                  <a:schemeClr val="tx1"/>
                </a:solidFill>
                <a:effectLst/>
                <a:latin typeface="Segoe UI Light" pitchFamily="34" charset="0"/>
                <a:ea typeface="+mn-ea"/>
                <a:cs typeface="+mn-cs"/>
              </a:rPr>
              <a:t>W=0, M=3, Y=0</a:t>
            </a:r>
          </a:p>
          <a:p>
            <a:r>
              <a:rPr lang="en-US" sz="800" b="0" i="0" u="none" strike="noStrike" kern="1200" dirty="0">
                <a:solidFill>
                  <a:schemeClr val="tx1"/>
                </a:solidFill>
                <a:effectLst/>
                <a:latin typeface="Segoe UI Light" pitchFamily="34" charset="0"/>
                <a:ea typeface="+mn-ea"/>
                <a:cs typeface="+mn-cs"/>
              </a:rPr>
              <a:t>The first full backup of each month will be kept for 3 months.</a:t>
            </a:r>
          </a:p>
          <a:p>
            <a:r>
              <a:rPr lang="en-US" sz="800" b="0" i="0" u="none" strike="noStrike" kern="1200" dirty="0">
                <a:solidFill>
                  <a:schemeClr val="tx1"/>
                </a:solidFill>
                <a:effectLst/>
                <a:latin typeface="Segoe UI Light" pitchFamily="34" charset="0"/>
                <a:ea typeface="+mn-ea"/>
                <a:cs typeface="+mn-cs"/>
              </a:rPr>
              <a:t>W=12, M=0, Y=0</a:t>
            </a:r>
          </a:p>
          <a:p>
            <a:r>
              <a:rPr lang="en-US" sz="800" b="0" i="0" u="none" strike="noStrike" kern="1200" dirty="0">
                <a:solidFill>
                  <a:schemeClr val="tx1"/>
                </a:solidFill>
                <a:effectLst/>
                <a:latin typeface="Segoe UI Light" pitchFamily="34" charset="0"/>
                <a:ea typeface="+mn-ea"/>
                <a:cs typeface="+mn-cs"/>
              </a:rPr>
              <a:t>Each weekly full backup will be kept for 12 weeks.</a:t>
            </a:r>
          </a:p>
          <a:p>
            <a:r>
              <a:rPr lang="en-US" sz="800" b="0" i="0" u="none" strike="noStrike" kern="1200" dirty="0">
                <a:solidFill>
                  <a:schemeClr val="tx1"/>
                </a:solidFill>
                <a:effectLst/>
                <a:latin typeface="Segoe UI Light" pitchFamily="34" charset="0"/>
                <a:ea typeface="+mn-ea"/>
                <a:cs typeface="+mn-cs"/>
              </a:rPr>
              <a:t>W=6, M=12, Y=10, </a:t>
            </a:r>
            <a:r>
              <a:rPr lang="en-US" sz="800" b="0" i="0" u="none" strike="noStrike" kern="1200" dirty="0" err="1">
                <a:solidFill>
                  <a:schemeClr val="tx1"/>
                </a:solidFill>
                <a:effectLst/>
                <a:latin typeface="Segoe UI Light" pitchFamily="34" charset="0"/>
                <a:ea typeface="+mn-ea"/>
                <a:cs typeface="+mn-cs"/>
              </a:rPr>
              <a:t>WeekOfYear</a:t>
            </a:r>
            <a:r>
              <a:rPr lang="en-US" sz="800" b="0" i="0" u="none" strike="noStrike" kern="1200" dirty="0">
                <a:solidFill>
                  <a:schemeClr val="tx1"/>
                </a:solidFill>
                <a:effectLst/>
                <a:latin typeface="Segoe UI Light" pitchFamily="34" charset="0"/>
                <a:ea typeface="+mn-ea"/>
                <a:cs typeface="+mn-cs"/>
              </a:rPr>
              <a:t>=16</a:t>
            </a:r>
          </a:p>
          <a:p>
            <a:r>
              <a:rPr lang="en-US" sz="800" b="0" i="0" u="none" strike="noStrike" kern="1200" dirty="0">
                <a:solidFill>
                  <a:schemeClr val="tx1"/>
                </a:solidFill>
                <a:effectLst/>
                <a:latin typeface="Segoe UI Light" pitchFamily="34" charset="0"/>
                <a:ea typeface="+mn-ea"/>
                <a:cs typeface="+mn-cs"/>
              </a:rPr>
              <a:t>Each weekly full backup will be kept for 6 weeks. Except first full backup of each month, which will be kept for 12 months. Except the full backup taken on 16th week of year, which will be kept for 10 years. </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a:p>
        </p:txBody>
      </p:sp>
    </p:spTree>
    <p:extLst>
      <p:ext uri="{BB962C8B-B14F-4D97-AF65-F5344CB8AC3E}">
        <p14:creationId xmlns:p14="http://schemas.microsoft.com/office/powerpoint/2010/main" val="14030893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0" i="0" u="none" strike="noStrike" kern="1200" dirty="0">
                <a:solidFill>
                  <a:schemeClr val="tx1"/>
                </a:solidFill>
                <a:effectLst/>
                <a:latin typeface="Segoe UI Light" pitchFamily="34" charset="0"/>
                <a:ea typeface="+mn-ea"/>
                <a:cs typeface="+mn-cs"/>
              </a:rPr>
              <a:t>Backups are file-snapshot based and </a:t>
            </a:r>
            <a:r>
              <a:rPr lang="en-US" dirty="0"/>
              <a:t>therefore</a:t>
            </a:r>
            <a:r>
              <a:rPr lang="en-US" sz="800" b="0" i="0" u="none" strike="noStrike" kern="1200" dirty="0">
                <a:solidFill>
                  <a:schemeClr val="tx1"/>
                </a:solidFill>
                <a:effectLst/>
                <a:latin typeface="Segoe UI Light" pitchFamily="34" charset="0"/>
                <a:ea typeface="+mn-ea"/>
                <a:cs typeface="+mn-cs"/>
              </a:rPr>
              <a:t> they are nearly instantaneous. Storage and compute separation enable pushing down the backup/restore operation to the storage layer to reduce the processing burden on the primary compute node. As a result, the backup of a large database does not impact the performance of the primary compute node. Similarly, restores are done by copying the file snapshot and as such are not a size of data operation. For restores within the same storage account, the restore operation is fast.</a:t>
            </a:r>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2873528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7</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19/2022</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None/>
            </a:pPr>
            <a:r>
              <a:rPr lang="en-US" sz="1800" dirty="0">
                <a:solidFill>
                  <a:srgbClr val="000000"/>
                </a:solidFill>
                <a:latin typeface="Consolas" panose="020B0609020204030204" pitchFamily="49" charset="0"/>
              </a:rPr>
              <a:t>M03L01Demo01</a:t>
            </a:r>
          </a:p>
          <a:p>
            <a:pPr marL="0" indent="0">
              <a:buNone/>
            </a:pPr>
            <a:endParaRPr lang="en-US" sz="800" b="0" i="0" u="none" strike="noStrike" kern="1200" dirty="0">
              <a:solidFill>
                <a:schemeClr val="tx1"/>
              </a:solidFill>
              <a:effectLst/>
              <a:latin typeface="Segoe UI Light" pitchFamily="34" charset="0"/>
              <a:ea typeface="+mn-ea"/>
              <a:cs typeface="+mn-cs"/>
            </a:endParaRPr>
          </a:p>
          <a:p>
            <a:pPr marL="0" indent="0">
              <a:buNone/>
            </a:pPr>
            <a:r>
              <a:rPr lang="en-US" sz="800" b="0" i="0" u="none" strike="noStrike" kern="1200" dirty="0">
                <a:solidFill>
                  <a:schemeClr val="tx1"/>
                </a:solidFill>
                <a:effectLst/>
                <a:latin typeface="Segoe UI Light" pitchFamily="34" charset="0"/>
                <a:ea typeface="+mn-ea"/>
                <a:cs typeface="+mn-cs"/>
              </a:rPr>
              <a:t>Demo requirements</a:t>
            </a:r>
          </a:p>
          <a:p>
            <a:pPr marL="0" indent="0">
              <a:buNone/>
            </a:pPr>
            <a:r>
              <a:rPr lang="en-US" sz="800" b="0" i="0" u="none" strike="noStrike" kern="1200" dirty="0">
                <a:solidFill>
                  <a:schemeClr val="tx1"/>
                </a:solidFill>
                <a:effectLst/>
                <a:latin typeface="Segoe UI Light" pitchFamily="34" charset="0"/>
                <a:ea typeface="+mn-ea"/>
                <a:cs typeface="+mn-cs"/>
              </a:rPr>
              <a:t>- The </a:t>
            </a:r>
            <a:r>
              <a:rPr lang="en-US" sz="800" b="0" i="0" u="none" strike="noStrike" kern="1200" dirty="0" err="1">
                <a:solidFill>
                  <a:schemeClr val="tx1"/>
                </a:solidFill>
                <a:effectLst/>
                <a:latin typeface="Segoe UI Light" pitchFamily="34" charset="0"/>
                <a:ea typeface="+mn-ea"/>
                <a:cs typeface="+mn-cs"/>
              </a:rPr>
              <a:t>salesdb</a:t>
            </a:r>
            <a:r>
              <a:rPr lang="en-US" sz="800" b="0" i="0" u="none" strike="noStrike" kern="1200" dirty="0">
                <a:solidFill>
                  <a:schemeClr val="tx1"/>
                </a:solidFill>
                <a:effectLst/>
                <a:latin typeface="Segoe UI Light" pitchFamily="34" charset="0"/>
                <a:ea typeface="+mn-ea"/>
                <a:cs typeface="+mn-cs"/>
              </a:rPr>
              <a:t> should be available which has been created during module 1</a:t>
            </a:r>
          </a:p>
          <a:p>
            <a:pPr marL="228600" indent="-228600">
              <a:buAutoNum type="arabicPeriod"/>
            </a:pPr>
            <a:endParaRPr lang="en-US" sz="800" b="0" i="0" u="none" strike="noStrike" kern="1200" dirty="0">
              <a:solidFill>
                <a:schemeClr val="tx1"/>
              </a:solidFill>
              <a:effectLst/>
              <a:latin typeface="Segoe UI Light" pitchFamily="34" charset="0"/>
              <a:ea typeface="+mn-ea"/>
              <a:cs typeface="+mn-cs"/>
            </a:endParaRPr>
          </a:p>
          <a:p>
            <a:pPr marL="228600" indent="-228600">
              <a:buAutoNum type="arabicPeriod"/>
            </a:pPr>
            <a:endParaRPr lang="en-US" sz="800" b="0" i="0" u="none" strike="noStrike" kern="1200" dirty="0">
              <a:solidFill>
                <a:schemeClr val="tx1"/>
              </a:solidFill>
              <a:effectLst/>
              <a:latin typeface="Segoe UI Light" pitchFamily="34" charset="0"/>
              <a:ea typeface="+mn-ea"/>
              <a:cs typeface="+mn-cs"/>
            </a:endParaRPr>
          </a:p>
          <a:p>
            <a:pPr marL="228600" indent="-228600">
              <a:buAutoNum type="arabicPeriod"/>
            </a:pPr>
            <a:r>
              <a:rPr lang="en-US" sz="800" b="0" i="0" u="none" strike="noStrike" kern="1200" dirty="0">
                <a:solidFill>
                  <a:schemeClr val="tx1"/>
                </a:solidFill>
                <a:effectLst/>
                <a:latin typeface="Segoe UI Light" pitchFamily="34" charset="0"/>
                <a:ea typeface="+mn-ea"/>
                <a:cs typeface="+mn-cs"/>
              </a:rPr>
              <a:t>In the Azure portal, select your Logical SQL server and then click </a:t>
            </a:r>
            <a:r>
              <a:rPr lang="en-US" sz="800" b="1" i="0" u="none" strike="noStrike" kern="1200" dirty="0">
                <a:solidFill>
                  <a:schemeClr val="tx1"/>
                </a:solidFill>
                <a:effectLst/>
                <a:latin typeface="Segoe UI Light" pitchFamily="34" charset="0"/>
                <a:ea typeface="+mn-ea"/>
                <a:cs typeface="+mn-cs"/>
              </a:rPr>
              <a:t>Manage Backups</a:t>
            </a:r>
            <a:r>
              <a:rPr lang="en-US" sz="800" b="0" i="0" u="none" strike="noStrike" kern="1200" dirty="0">
                <a:solidFill>
                  <a:schemeClr val="tx1"/>
                </a:solidFill>
                <a:effectLst/>
                <a:latin typeface="Segoe UI Light" pitchFamily="34" charset="0"/>
                <a:ea typeface="+mn-ea"/>
                <a:cs typeface="+mn-cs"/>
              </a:rPr>
              <a:t>. </a:t>
            </a:r>
          </a:p>
          <a:p>
            <a:pPr marL="228600" indent="-228600">
              <a:buAutoNum type="arabicPeriod"/>
            </a:pPr>
            <a:r>
              <a:rPr lang="en-US" sz="800" b="0" i="0" u="none" strike="noStrike" kern="1200" dirty="0">
                <a:solidFill>
                  <a:schemeClr val="tx1"/>
                </a:solidFill>
                <a:effectLst/>
                <a:latin typeface="Segoe UI Light" pitchFamily="34" charset="0"/>
                <a:ea typeface="+mn-ea"/>
                <a:cs typeface="+mn-cs"/>
              </a:rPr>
              <a:t>On the </a:t>
            </a:r>
            <a:r>
              <a:rPr lang="en-US" sz="800" b="1" i="0" u="none" strike="noStrike" kern="1200" dirty="0">
                <a:solidFill>
                  <a:schemeClr val="tx1"/>
                </a:solidFill>
                <a:effectLst/>
                <a:latin typeface="Segoe UI Light" pitchFamily="34" charset="0"/>
                <a:ea typeface="+mn-ea"/>
                <a:cs typeface="+mn-cs"/>
              </a:rPr>
              <a:t>Configure policies</a:t>
            </a:r>
            <a:r>
              <a:rPr lang="en-US" sz="800" b="0" i="0" u="none" strike="noStrike" kern="1200" dirty="0">
                <a:solidFill>
                  <a:schemeClr val="tx1"/>
                </a:solidFill>
                <a:effectLst/>
                <a:latin typeface="Segoe UI Light" pitchFamily="34" charset="0"/>
                <a:ea typeface="+mn-ea"/>
                <a:cs typeface="+mn-cs"/>
              </a:rPr>
              <a:t> tab, select the database on which you want to set or modify long-term backup retention policies</a:t>
            </a:r>
            <a:r>
              <a:rPr lang="en-US" sz="800" b="1" i="0" u="sng" strike="noStrike" kern="1200" dirty="0">
                <a:solidFill>
                  <a:schemeClr val="tx1"/>
                </a:solidFill>
                <a:effectLst/>
                <a:latin typeface="Segoe UI Light" pitchFamily="34" charset="0"/>
                <a:ea typeface="+mn-ea"/>
                <a:cs typeface="+mn-cs"/>
              </a:rPr>
              <a:t>. Make sure that you select the checkbox next to the database</a:t>
            </a:r>
            <a:r>
              <a:rPr lang="en-US" sz="800" b="0" i="0" u="none" strike="noStrike" kern="1200" dirty="0">
                <a:solidFill>
                  <a:schemeClr val="tx1"/>
                </a:solidFill>
                <a:effectLst/>
                <a:latin typeface="Segoe UI Light" pitchFamily="34" charset="0"/>
                <a:ea typeface="+mn-ea"/>
                <a:cs typeface="+mn-cs"/>
              </a:rPr>
              <a:t>! Make sure that your database is </a:t>
            </a:r>
            <a:r>
              <a:rPr lang="en-US" sz="800" b="1" i="0" u="sng" strike="noStrike" kern="1200" dirty="0">
                <a:solidFill>
                  <a:schemeClr val="tx1"/>
                </a:solidFill>
                <a:effectLst/>
                <a:latin typeface="Segoe UI Light" pitchFamily="34" charset="0"/>
                <a:ea typeface="+mn-ea"/>
                <a:cs typeface="+mn-cs"/>
              </a:rPr>
              <a:t>Standard Tier </a:t>
            </a:r>
            <a:r>
              <a:rPr lang="en-US" sz="800" b="0" i="0" u="none" strike="noStrike" kern="1200" dirty="0">
                <a:solidFill>
                  <a:schemeClr val="tx1"/>
                </a:solidFill>
                <a:effectLst/>
                <a:latin typeface="Segoe UI Light" pitchFamily="34" charset="0"/>
                <a:ea typeface="+mn-ea"/>
                <a:cs typeface="+mn-cs"/>
              </a:rPr>
              <a:t>because at the time of building this deck I received an error on basic that it’s not supported. </a:t>
            </a:r>
            <a:r>
              <a:rPr lang="nl-BE" sz="800" kern="1200" dirty="0">
                <a:solidFill>
                  <a:schemeClr val="tx1"/>
                </a:solidFill>
                <a:effectLst/>
                <a:latin typeface="Segoe UI Light" pitchFamily="34" charset="0"/>
                <a:ea typeface="+mn-ea"/>
                <a:cs typeface="+mn-cs"/>
              </a:rPr>
              <a:t>LTR is supported/available for basic tier; to avoid the error message, make sure the Point in time recovery setting at the top of the blade is </a:t>
            </a:r>
            <a:r>
              <a:rPr lang="en-US" sz="800" kern="1200" dirty="0">
                <a:solidFill>
                  <a:schemeClr val="tx1"/>
                </a:solidFill>
                <a:effectLst/>
                <a:latin typeface="Segoe UI Light" pitchFamily="34" charset="0"/>
                <a:ea typeface="+mn-ea"/>
                <a:cs typeface="+mn-cs"/>
              </a:rPr>
              <a:t>‘Keep current settings’, because basic doesn't let you modify the </a:t>
            </a:r>
            <a:r>
              <a:rPr lang="en-US" sz="800" kern="1200" dirty="0" err="1">
                <a:solidFill>
                  <a:schemeClr val="tx1"/>
                </a:solidFill>
                <a:effectLst/>
                <a:latin typeface="Segoe UI Light" pitchFamily="34" charset="0"/>
                <a:ea typeface="+mn-ea"/>
                <a:cs typeface="+mn-cs"/>
              </a:rPr>
              <a:t>PiTR</a:t>
            </a:r>
            <a:r>
              <a:rPr lang="en-US" sz="800" kern="1200" dirty="0">
                <a:solidFill>
                  <a:schemeClr val="tx1"/>
                </a:solidFill>
                <a:effectLst/>
                <a:latin typeface="Segoe UI Light" pitchFamily="34" charset="0"/>
                <a:ea typeface="+mn-ea"/>
                <a:cs typeface="+mn-cs"/>
              </a:rPr>
              <a:t> setting</a:t>
            </a:r>
            <a:endParaRPr lang="en-US" sz="800" b="0" i="0" u="none" strike="noStrike" kern="1200" dirty="0">
              <a:solidFill>
                <a:schemeClr val="tx1"/>
              </a:solidFill>
              <a:effectLst/>
              <a:latin typeface="Segoe UI Light" pitchFamily="34" charset="0"/>
              <a:ea typeface="+mn-ea"/>
              <a:cs typeface="+mn-cs"/>
            </a:endParaRPr>
          </a:p>
          <a:p>
            <a:pPr marL="228600" indent="-228600">
              <a:buAutoNum type="arabicPeriod"/>
            </a:pPr>
            <a:r>
              <a:rPr lang="en-US" sz="800" b="0" i="0" u="none" strike="noStrike" kern="1200" dirty="0">
                <a:solidFill>
                  <a:schemeClr val="tx1"/>
                </a:solidFill>
                <a:effectLst/>
                <a:latin typeface="Segoe UI Light" pitchFamily="34" charset="0"/>
                <a:ea typeface="+mn-ea"/>
                <a:cs typeface="+mn-cs"/>
              </a:rPr>
              <a:t>Click the Configure retention button</a:t>
            </a:r>
          </a:p>
          <a:p>
            <a:pPr marL="228600" indent="-228600">
              <a:buAutoNum type="arabicPeriod"/>
            </a:pPr>
            <a:r>
              <a:rPr lang="en-US" sz="800" b="0" i="0" u="none" strike="noStrike" kern="1200" dirty="0">
                <a:solidFill>
                  <a:schemeClr val="tx1"/>
                </a:solidFill>
                <a:effectLst/>
                <a:latin typeface="Segoe UI Light" pitchFamily="34" charset="0"/>
                <a:ea typeface="+mn-ea"/>
                <a:cs typeface="+mn-cs"/>
              </a:rPr>
              <a:t>In the </a:t>
            </a:r>
            <a:r>
              <a:rPr lang="en-US" sz="800" b="1" i="0" u="none" strike="noStrike" kern="1200" dirty="0">
                <a:solidFill>
                  <a:schemeClr val="tx1"/>
                </a:solidFill>
                <a:effectLst/>
                <a:latin typeface="Segoe UI Light" pitchFamily="34" charset="0"/>
                <a:ea typeface="+mn-ea"/>
                <a:cs typeface="+mn-cs"/>
              </a:rPr>
              <a:t>Configure policies</a:t>
            </a:r>
            <a:r>
              <a:rPr lang="en-US" sz="800" b="0" i="0" u="none" strike="noStrike" kern="1200" dirty="0">
                <a:solidFill>
                  <a:schemeClr val="tx1"/>
                </a:solidFill>
                <a:effectLst/>
                <a:latin typeface="Segoe UI Light" pitchFamily="34" charset="0"/>
                <a:ea typeface="+mn-ea"/>
                <a:cs typeface="+mn-cs"/>
              </a:rPr>
              <a:t> pane, select if you want to retain weekly, monthly or yearly backups and specify the retention period for each</a:t>
            </a:r>
          </a:p>
          <a:p>
            <a:pPr marL="228600" indent="-228600">
              <a:buAutoNum type="arabicPeriod"/>
            </a:pPr>
            <a:r>
              <a:rPr lang="nl-BE" sz="800" b="0" i="0" u="none" strike="noStrike" kern="1200" dirty="0">
                <a:solidFill>
                  <a:schemeClr val="tx1"/>
                </a:solidFill>
                <a:effectLst/>
                <a:latin typeface="Segoe UI Light" pitchFamily="34" charset="0"/>
                <a:ea typeface="+mn-ea"/>
                <a:cs typeface="+mn-cs"/>
              </a:rPr>
              <a:t>When complete, click </a:t>
            </a:r>
            <a:r>
              <a:rPr lang="nl-BE" sz="800" b="1" i="0" u="none" strike="noStrike" kern="1200" dirty="0">
                <a:solidFill>
                  <a:schemeClr val="tx1"/>
                </a:solidFill>
                <a:effectLst/>
                <a:latin typeface="Segoe UI Light" pitchFamily="34" charset="0"/>
                <a:ea typeface="+mn-ea"/>
                <a:cs typeface="+mn-cs"/>
              </a:rPr>
              <a:t>Apply</a:t>
            </a:r>
            <a:r>
              <a:rPr lang="nl-BE" sz="800" b="0" i="0" u="none" strike="noStrike" kern="1200" dirty="0">
                <a:solidFill>
                  <a:schemeClr val="tx1"/>
                </a:solidFill>
                <a:effectLst/>
                <a:latin typeface="Segoe UI Light" pitchFamily="34" charset="0"/>
                <a:ea typeface="+mn-ea"/>
                <a:cs typeface="+mn-cs"/>
              </a:rPr>
              <a:t>.</a:t>
            </a:r>
          </a:p>
          <a:p>
            <a:pPr marL="228600" indent="-228600">
              <a:buAutoNum type="arabicPeriod"/>
            </a:pPr>
            <a:endParaRPr lang="nl-BE" sz="800" b="0" i="0" u="none" strike="noStrike" kern="1200" dirty="0">
              <a:solidFill>
                <a:schemeClr val="tx1"/>
              </a:solidFill>
              <a:effectLst/>
              <a:latin typeface="Segoe UI Light" pitchFamily="34" charset="0"/>
              <a:ea typeface="+mn-ea"/>
              <a:cs typeface="+mn-cs"/>
            </a:endParaRPr>
          </a:p>
          <a:p>
            <a:pPr marL="0" indent="0">
              <a:buNone/>
            </a:pPr>
            <a:r>
              <a:rPr lang="nl-BE" sz="800" b="0" i="0" u="none" strike="noStrike" kern="1200" dirty="0">
                <a:solidFill>
                  <a:schemeClr val="tx1"/>
                </a:solidFill>
                <a:effectLst/>
                <a:latin typeface="Segoe UI Light" pitchFamily="34" charset="0"/>
                <a:ea typeface="+mn-ea"/>
                <a:cs typeface="+mn-cs"/>
              </a:rPr>
              <a:t>Show the Available backup tab, but of course nothing will appear here yet.</a:t>
            </a:r>
          </a:p>
          <a:p>
            <a:pPr marL="228600" indent="-228600">
              <a:buAutoNum type="arabicPeriod"/>
            </a:pPr>
            <a:endParaRPr lang="en-US"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hlinkClick r:id="rId3"/>
              </a:rPr>
              <a:t>SQL Database Copy</a:t>
            </a:r>
            <a:r>
              <a:rPr lang="en-US" sz="800" b="0" i="0" kern="1200" dirty="0">
                <a:solidFill>
                  <a:schemeClr val="tx1"/>
                </a:solidFill>
                <a:effectLst/>
                <a:latin typeface="Segoe UI Light" pitchFamily="34" charset="0"/>
                <a:ea typeface="+mn-ea"/>
                <a:cs typeface="+mn-cs"/>
              </a:rPr>
              <a:t> – is designed to make a transaction-consistent copy of your database leveraging the built in backup retention policy.  It first makes a copy of the tail of the transaction log, and then uses this tail plus the full, differential, and log backups retained behind the scenes in Azure SQL Database.  All this is done without interrupting the log chain of the current database retention plan (a common problem with preemptive full backups in on premises databases).</a:t>
            </a:r>
          </a:p>
          <a:p>
            <a:r>
              <a:rPr lang="en-US" sz="800" b="0" i="0" u="none" strike="noStrike" kern="1200" dirty="0">
                <a:solidFill>
                  <a:schemeClr val="tx1"/>
                </a:solidFill>
                <a:effectLst/>
                <a:latin typeface="Segoe UI Light" pitchFamily="34" charset="0"/>
                <a:ea typeface="+mn-ea"/>
                <a:cs typeface="+mn-cs"/>
                <a:hlinkClick r:id="rId4"/>
              </a:rPr>
              <a:t>SQL Database Export</a:t>
            </a:r>
            <a:r>
              <a:rPr lang="en-US" sz="800" b="0" i="0" kern="1200" dirty="0">
                <a:solidFill>
                  <a:schemeClr val="tx1"/>
                </a:solidFill>
                <a:effectLst/>
                <a:latin typeface="Segoe UI Light" pitchFamily="34" charset="0"/>
                <a:ea typeface="+mn-ea"/>
                <a:cs typeface="+mn-cs"/>
              </a:rPr>
              <a:t> – is designed to export a copy of your database to a .</a:t>
            </a:r>
            <a:r>
              <a:rPr lang="en-US" sz="800" b="0" i="0" kern="1200" dirty="0" err="1">
                <a:solidFill>
                  <a:schemeClr val="tx1"/>
                </a:solidFill>
                <a:effectLst/>
                <a:latin typeface="Segoe UI Light" pitchFamily="34" charset="0"/>
                <a:ea typeface="+mn-ea"/>
                <a:cs typeface="+mn-cs"/>
              </a:rPr>
              <a:t>bacpac</a:t>
            </a:r>
            <a:r>
              <a:rPr lang="en-US" sz="800" b="0" i="0" kern="1200" dirty="0">
                <a:solidFill>
                  <a:schemeClr val="tx1"/>
                </a:solidFill>
                <a:effectLst/>
                <a:latin typeface="Segoe UI Light" pitchFamily="34" charset="0"/>
                <a:ea typeface="+mn-ea"/>
                <a:cs typeface="+mn-cs"/>
              </a:rPr>
              <a:t> file which is an encapsulated version of the databases schema and data.  While not truly a backup file like a .</a:t>
            </a:r>
            <a:r>
              <a:rPr lang="en-US" sz="800" b="0" i="0" kern="1200" dirty="0" err="1">
                <a:solidFill>
                  <a:schemeClr val="tx1"/>
                </a:solidFill>
                <a:effectLst/>
                <a:latin typeface="Segoe UI Light" pitchFamily="34" charset="0"/>
                <a:ea typeface="+mn-ea"/>
                <a:cs typeface="+mn-cs"/>
              </a:rPr>
              <a:t>bak</a:t>
            </a:r>
            <a:r>
              <a:rPr lang="en-US" sz="800" b="0" i="0" kern="1200" dirty="0">
                <a:solidFill>
                  <a:schemeClr val="tx1"/>
                </a:solidFill>
                <a:effectLst/>
                <a:latin typeface="Segoe UI Light" pitchFamily="34" charset="0"/>
                <a:ea typeface="+mn-ea"/>
                <a:cs typeface="+mn-cs"/>
              </a:rPr>
              <a:t> file in a traditional SQL database, it does contain everything you need to reconstitute your database in the event of an emergency.</a:t>
            </a:r>
          </a:p>
          <a:p>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SQL Database Export is not transitionally consistent. Therefore, it is strongly recommended that you have a database that is not being actively used while you take the copy.  Hence I would recommend starting with database copy, then export, and ultimately drop the copied database.</a:t>
            </a:r>
          </a:p>
          <a:p>
            <a:r>
              <a:rPr lang="en-US" sz="800" b="0" i="0" kern="1200" dirty="0">
                <a:solidFill>
                  <a:schemeClr val="tx1"/>
                </a:solidFill>
                <a:effectLst/>
                <a:latin typeface="Segoe UI Light" pitchFamily="34" charset="0"/>
                <a:ea typeface="+mn-ea"/>
                <a:cs typeface="+mn-cs"/>
              </a:rPr>
              <a:t>SQL Database Copy creates a copy of your database. Therefore, if you have a 50 GB P1 database after the operation you’ll have two 50GB P1 databases, and consequently double the cost of hosting the database.  Each time you run this operation you’re increasing your cost, and each database gets its own retention schedule which is unnecessary.  Using the </a:t>
            </a:r>
            <a:r>
              <a:rPr lang="en-US" sz="800" b="0" i="0" kern="1200" dirty="0" err="1">
                <a:solidFill>
                  <a:schemeClr val="tx1"/>
                </a:solidFill>
                <a:effectLst/>
                <a:latin typeface="Segoe UI Light" pitchFamily="34" charset="0"/>
                <a:ea typeface="+mn-ea"/>
                <a:cs typeface="+mn-cs"/>
              </a:rPr>
              <a:t>bacpac</a:t>
            </a:r>
            <a:r>
              <a:rPr lang="en-US" sz="800" b="0" i="0" kern="1200" dirty="0">
                <a:solidFill>
                  <a:schemeClr val="tx1"/>
                </a:solidFill>
                <a:effectLst/>
                <a:latin typeface="Segoe UI Light" pitchFamily="34" charset="0"/>
                <a:ea typeface="+mn-ea"/>
                <a:cs typeface="+mn-cs"/>
              </a:rPr>
              <a:t> approach you keep the database copy around for a small amount of time and keep your costs low.  You also get a choice whether you want this retention in Azure Storage which is much cheaper than Azure SQL to use or to take the </a:t>
            </a:r>
            <a:r>
              <a:rPr lang="en-US" sz="800" b="0" i="0" kern="1200" dirty="0" err="1">
                <a:solidFill>
                  <a:schemeClr val="tx1"/>
                </a:solidFill>
                <a:effectLst/>
                <a:latin typeface="Segoe UI Light" pitchFamily="34" charset="0"/>
                <a:ea typeface="+mn-ea"/>
                <a:cs typeface="+mn-cs"/>
              </a:rPr>
              <a:t>bacpac</a:t>
            </a:r>
            <a:r>
              <a:rPr lang="en-US" sz="800" b="0" i="0" kern="1200" dirty="0">
                <a:solidFill>
                  <a:schemeClr val="tx1"/>
                </a:solidFill>
                <a:effectLst/>
                <a:latin typeface="Segoe UI Light" pitchFamily="34" charset="0"/>
                <a:ea typeface="+mn-ea"/>
                <a:cs typeface="+mn-cs"/>
              </a:rPr>
              <a:t> out of Azure and into your own data center.</a:t>
            </a:r>
          </a:p>
          <a:p>
            <a:endParaRPr lang="en-US" sz="800" b="0" i="0" kern="1200" dirty="0">
              <a:solidFill>
                <a:schemeClr val="tx1"/>
              </a:solidFill>
              <a:effectLst/>
              <a:latin typeface="Segoe UI Light" pitchFamily="34" charset="0"/>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16543504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ion</a:t>
            </a:r>
          </a:p>
          <a:p>
            <a:r>
              <a:rPr lang="en-US" dirty="0"/>
              <a:t>Step 1 – We see the DB being backed up to Azure Store</a:t>
            </a:r>
          </a:p>
          <a:p>
            <a:r>
              <a:rPr lang="en-US" dirty="0"/>
              <a:t>Step 2 – We see an asynchronous process making 2 more copies of the backup (This is an Azure storage function and not an Azure SQL DB function)</a:t>
            </a:r>
          </a:p>
          <a:p>
            <a:r>
              <a:rPr lang="en-US" dirty="0"/>
              <a:t>Step 3 – We see the DB restored back to the same server, but it now has a GUID in the name</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t>
            </a:r>
          </a:p>
          <a:p>
            <a:r>
              <a:rPr lang="en-US" sz="800" b="0" i="0" u="none" strike="noStrike" kern="1200" dirty="0">
                <a:solidFill>
                  <a:schemeClr val="tx1"/>
                </a:solidFill>
                <a:effectLst/>
                <a:latin typeface="Segoe UI Light" pitchFamily="34" charset="0"/>
                <a:ea typeface="+mn-ea"/>
                <a:cs typeface="+mn-cs"/>
              </a:rPr>
              <a:t>The database can be restored to any service tier or performance level, and as a single database or into an elastic pool. Ensure you have sufficient resources on the logical server or in the elastic pool to which you are restoring the database. Once complete, the restored database is a normal, fully accessible, online database. The restored database is charged at normal rates based on its service tier and performance level. You do not incur charges until the database restore is complete.</a:t>
            </a:r>
          </a:p>
          <a:p>
            <a:r>
              <a:rPr lang="en-US" sz="800" b="0" i="0" u="none" strike="noStrike" kern="1200" dirty="0">
                <a:solidFill>
                  <a:schemeClr val="tx1"/>
                </a:solidFill>
                <a:effectLst/>
                <a:latin typeface="Segoe UI Light" pitchFamily="34" charset="0"/>
                <a:ea typeface="+mn-ea"/>
                <a:cs typeface="+mn-cs"/>
              </a:rPr>
              <a:t>You generally restore a database to an earlier point for recovery purposes. When doing so, you can treat the restored database as a replacement for the original database or use it to retrieve data from and then update the original database. </a:t>
            </a:r>
          </a:p>
          <a:p>
            <a:r>
              <a:rPr lang="en-US" sz="800" b="1" i="1" u="none" strike="noStrike" kern="1200" dirty="0">
                <a:solidFill>
                  <a:schemeClr val="tx1"/>
                </a:solidFill>
                <a:effectLst/>
                <a:latin typeface="Segoe UI Light" pitchFamily="34" charset="0"/>
                <a:ea typeface="+mn-ea"/>
                <a:cs typeface="+mn-cs"/>
              </a:rPr>
              <a:t>Database replacement:</a:t>
            </a:r>
            <a:r>
              <a:rPr lang="en-US" sz="800" b="0" i="0" u="none" strike="noStrike" kern="1200" dirty="0">
                <a:solidFill>
                  <a:schemeClr val="tx1"/>
                </a:solidFill>
                <a:effectLst/>
                <a:latin typeface="Segoe UI Light" pitchFamily="34" charset="0"/>
                <a:ea typeface="+mn-ea"/>
                <a:cs typeface="+mn-cs"/>
              </a:rPr>
              <a:t> If the restored database is intended as a replacement for the original database, you should verify the performance level and/or service tier are appropriate and scale the database if necessary. You can rename the original database and then give the restored database the original name using the </a:t>
            </a:r>
            <a:r>
              <a:rPr lang="en-US" sz="800" b="0" i="0" u="none" strike="noStrike" kern="1200" dirty="0">
                <a:solidFill>
                  <a:schemeClr val="tx1"/>
                </a:solidFill>
                <a:effectLst/>
                <a:latin typeface="Segoe UI Light" pitchFamily="34" charset="0"/>
                <a:ea typeface="+mn-ea"/>
                <a:cs typeface="+mn-cs"/>
                <a:hlinkClick r:id="rId3"/>
              </a:rPr>
              <a:t>ALTER DATABASE</a:t>
            </a:r>
            <a:r>
              <a:rPr lang="en-US" sz="800" b="0" i="0" u="none" strike="noStrike" kern="1200" dirty="0">
                <a:solidFill>
                  <a:schemeClr val="tx1"/>
                </a:solidFill>
                <a:effectLst/>
                <a:latin typeface="Segoe UI Light" pitchFamily="34" charset="0"/>
                <a:ea typeface="+mn-ea"/>
                <a:cs typeface="+mn-cs"/>
              </a:rPr>
              <a:t> command in T-SQL. </a:t>
            </a:r>
          </a:p>
          <a:p>
            <a:r>
              <a:rPr lang="en-US" sz="800" b="1" i="1" u="none" strike="noStrike" kern="1200" dirty="0">
                <a:solidFill>
                  <a:schemeClr val="tx1"/>
                </a:solidFill>
                <a:effectLst/>
                <a:latin typeface="Segoe UI Light" pitchFamily="34" charset="0"/>
                <a:ea typeface="+mn-ea"/>
                <a:cs typeface="+mn-cs"/>
              </a:rPr>
              <a:t>Data recovery:</a:t>
            </a:r>
            <a:r>
              <a:rPr lang="en-US" sz="800" b="0" i="0" u="none" strike="noStrike" kern="1200" dirty="0">
                <a:solidFill>
                  <a:schemeClr val="tx1"/>
                </a:solidFill>
                <a:effectLst/>
                <a:latin typeface="Segoe UI Light" pitchFamily="34" charset="0"/>
                <a:ea typeface="+mn-ea"/>
                <a:cs typeface="+mn-cs"/>
              </a:rPr>
              <a:t> If you plan to retrieve data from the restored database to recover from a user or application error, you need to write and execute the necessary data recovery scripts to extract data from the restored database to the original database. Although the restore operation may take a long time to complete, the restoring database is visible in the database list throughout the restore process. If you delete the database during the restore, the restore operation is canceled and you are not charged for the database that did not complete the restore. </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22013104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By default, Azure SQL Database backups are stored in geo-replicated blob storage (RA-GRS storage type). The following options are available for database recovery by using </a:t>
            </a:r>
            <a:r>
              <a:rPr lang="en-US" sz="800" b="0" i="0" u="sng" strike="noStrike" kern="1200" dirty="0">
                <a:solidFill>
                  <a:schemeClr val="tx1"/>
                </a:solidFill>
                <a:effectLst/>
                <a:latin typeface="Segoe UI Light" pitchFamily="34" charset="0"/>
                <a:ea typeface="+mn-ea"/>
                <a:cs typeface="+mn-cs"/>
                <a:hlinkClick r:id="rId3"/>
              </a:rPr>
              <a:t>automated database backups</a:t>
            </a:r>
            <a:r>
              <a:rPr lang="en-US" sz="800" b="0" i="0" u="none" strike="noStrike" kern="1200" dirty="0">
                <a:solidFill>
                  <a:schemeClr val="tx1"/>
                </a:solidFill>
                <a:effectLst/>
                <a:latin typeface="Segoe UI Light" pitchFamily="34" charset="0"/>
                <a:ea typeface="+mn-ea"/>
                <a:cs typeface="+mn-cs"/>
              </a:rPr>
              <a:t>. You can:</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Create a new database on the same SQL Database server, recovered to a specified point in time within the retention period.</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Create a database on the same SQL Database server, recovered to the deletion time for a deleted database.</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Create a new database on any SQL Database server in the same region, recovered to the point of the most recent backups.</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Create a new database on any SQL Database server in any other region, recovered to the point of the most recent replicated backups.</a:t>
            </a:r>
          </a:p>
          <a:p>
            <a:r>
              <a:rPr lang="en-US" sz="800" b="0" i="0" u="none" strike="noStrike" kern="1200" dirty="0">
                <a:solidFill>
                  <a:schemeClr val="tx1"/>
                </a:solidFill>
                <a:effectLst/>
                <a:latin typeface="Segoe UI Light" pitchFamily="34" charset="0"/>
                <a:ea typeface="+mn-ea"/>
                <a:cs typeface="+mn-cs"/>
              </a:rPr>
              <a:t>If you configured </a:t>
            </a:r>
            <a:r>
              <a:rPr lang="en-US" sz="800" b="0" i="0" u="sng" strike="noStrike" kern="1200" dirty="0">
                <a:solidFill>
                  <a:schemeClr val="tx1"/>
                </a:solidFill>
                <a:effectLst/>
                <a:latin typeface="Segoe UI Light" pitchFamily="34" charset="0"/>
                <a:ea typeface="+mn-ea"/>
                <a:cs typeface="+mn-cs"/>
                <a:hlinkClick r:id="rId4"/>
              </a:rPr>
              <a:t>backup long-term retention</a:t>
            </a:r>
            <a:r>
              <a:rPr lang="en-US" sz="800" b="0" i="0" u="none" strike="noStrike" kern="1200" dirty="0">
                <a:solidFill>
                  <a:schemeClr val="tx1"/>
                </a:solidFill>
                <a:effectLst/>
                <a:latin typeface="Segoe UI Light" pitchFamily="34" charset="0"/>
                <a:ea typeface="+mn-ea"/>
                <a:cs typeface="+mn-cs"/>
              </a:rPr>
              <a:t>, you can also create a new database from any long-term retention backup on any SQL Database server.</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a:p>
        </p:txBody>
      </p:sp>
    </p:spTree>
    <p:extLst>
      <p:ext uri="{BB962C8B-B14F-4D97-AF65-F5344CB8AC3E}">
        <p14:creationId xmlns:p14="http://schemas.microsoft.com/office/powerpoint/2010/main" val="2253688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If you delete a database, SQL Database keeps the backups in the same way it would for an online database. For example, suppose you delete a Basic database that has a retention period of seven days. A backup that is four days old is saved for three more day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dirty="0"/>
              <a:t>After downgrading to a lower performance tier, the restore point’s retention period is immediately truncated to the retention period of the performance tier of the current database.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Database replacement: If the restored database is intended as a replacement for the original database, you should verify the performance level and/or service tier are appropriate and scale the database if necessary. You can rename the original database and then give the restored database the original name using the ALTER DATABASE command in T-SQL.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If you plan to retrieve data from the restored database to recover from a user or application error, you will separately need to write and execute whatever data recovery scripts you need to extract data from the restored database to the original database. </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a:p>
        </p:txBody>
      </p:sp>
    </p:spTree>
    <p:extLst>
      <p:ext uri="{BB962C8B-B14F-4D97-AF65-F5344CB8AC3E}">
        <p14:creationId xmlns:p14="http://schemas.microsoft.com/office/powerpoint/2010/main" val="27495875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The recovery time to restore a database using automated database backups is impacted by several factors: </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The size of the database.</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The compute size of the database.</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The number of transaction logs involved.</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The amount of activity that needs to be replayed to recover to the restore point.</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The network bandwidth if the restore is to a different region.</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The number of concurrent restore requests being processed in the target region.</a:t>
            </a:r>
          </a:p>
          <a:p>
            <a:pPr marL="171450" indent="-171450">
              <a:buFont typeface="Arial" panose="020B0604020202020204" pitchFamily="34" charset="0"/>
              <a:buChar char="•"/>
            </a:pPr>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For a very large and/or active database, the restore may take several hours. If there is prolonged outage in a region, it is possible that there are large numbers of geo-restore requests being processed by other regions. When there are many requests, the recovery time may increase for databases in that region. Most database restores complete within 12 hours.</a:t>
            </a:r>
          </a:p>
          <a:p>
            <a:r>
              <a:rPr lang="en-US" sz="800" b="0" i="0" u="none" strike="noStrike" kern="1200" dirty="0">
                <a:solidFill>
                  <a:schemeClr val="tx1"/>
                </a:solidFill>
                <a:effectLst/>
                <a:latin typeface="Segoe UI Light" pitchFamily="34" charset="0"/>
                <a:ea typeface="+mn-ea"/>
                <a:cs typeface="+mn-cs"/>
              </a:rPr>
              <a:t>For a single subscription, there are some limitations on number of concurrent restore requests (including point in time restore, geo restore and restore from long-term retention backup) being submitted and proceeded:</a:t>
            </a:r>
          </a:p>
          <a:p>
            <a:r>
              <a:rPr lang="en-US" sz="800" b="1" i="0" u="none" strike="noStrike" kern="1200" dirty="0">
                <a:solidFill>
                  <a:schemeClr val="tx1"/>
                </a:solidFill>
                <a:effectLst/>
                <a:latin typeface="Segoe UI Light" pitchFamily="34" charset="0"/>
                <a:ea typeface="+mn-ea"/>
                <a:cs typeface="+mn-cs"/>
              </a:rPr>
              <a:t>			Max # of concurrent requests being processed</a:t>
            </a:r>
            <a:r>
              <a:rPr lang="en-US" sz="800" b="0" i="0" u="none" strike="noStrike" kern="1200" dirty="0">
                <a:solidFill>
                  <a:schemeClr val="tx1"/>
                </a:solidFill>
                <a:effectLst/>
                <a:latin typeface="Segoe UI Light" pitchFamily="34" charset="0"/>
                <a:ea typeface="+mn-ea"/>
                <a:cs typeface="+mn-cs"/>
              </a:rPr>
              <a:t> 	</a:t>
            </a:r>
            <a:r>
              <a:rPr lang="en-US" sz="800" b="1" i="0" u="none" strike="noStrike" kern="1200" dirty="0">
                <a:solidFill>
                  <a:schemeClr val="tx1"/>
                </a:solidFill>
                <a:effectLst/>
                <a:latin typeface="Segoe UI Light" pitchFamily="34" charset="0"/>
                <a:ea typeface="+mn-ea"/>
                <a:cs typeface="+mn-cs"/>
              </a:rPr>
              <a:t>Max # of concurrent requests being submitted</a:t>
            </a:r>
            <a:r>
              <a:rPr lang="en-US" sz="800" b="0" i="0" u="none" strike="noStrike" kern="1200" dirty="0">
                <a:solidFill>
                  <a:schemeClr val="tx1"/>
                </a:solidFill>
                <a:effectLst/>
                <a:latin typeface="Segoe UI Light" pitchFamily="34" charset="0"/>
                <a:ea typeface="+mn-ea"/>
                <a:cs typeface="+mn-cs"/>
              </a:rPr>
              <a:t> </a:t>
            </a:r>
          </a:p>
          <a:p>
            <a:r>
              <a:rPr lang="en-US" sz="800" b="0" i="0" u="none" strike="noStrike" kern="1200" dirty="0">
                <a:solidFill>
                  <a:schemeClr val="tx1"/>
                </a:solidFill>
                <a:effectLst/>
                <a:latin typeface="Segoe UI Light" pitchFamily="34" charset="0"/>
                <a:ea typeface="+mn-ea"/>
                <a:cs typeface="+mn-cs"/>
              </a:rPr>
              <a:t>Single database (per subscription) 	10 				60 </a:t>
            </a:r>
          </a:p>
          <a:p>
            <a:r>
              <a:rPr lang="en-US" sz="800" b="0" i="0" u="none" strike="noStrike" kern="1200" dirty="0">
                <a:solidFill>
                  <a:schemeClr val="tx1"/>
                </a:solidFill>
                <a:effectLst/>
                <a:latin typeface="Segoe UI Light" pitchFamily="34" charset="0"/>
                <a:ea typeface="+mn-ea"/>
                <a:cs typeface="+mn-cs"/>
              </a:rPr>
              <a:t>Elastic pool (per pool) 		4 				200 </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718043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dirty="0">
                <a:solidFill>
                  <a:srgbClr val="000000"/>
                </a:solidFill>
                <a:latin typeface="Consolas" panose="020B0609020204030204" pitchFamily="49" charset="0"/>
              </a:rPr>
              <a:t>M03L01Demo02</a:t>
            </a:r>
          </a:p>
          <a:p>
            <a:endParaRPr lang="en-US" sz="800" b="1" i="0" u="none" strike="noStrike" kern="1200" dirty="0">
              <a:solidFill>
                <a:schemeClr val="tx1"/>
              </a:solidFill>
              <a:effectLst/>
              <a:latin typeface="Segoe UI Light" pitchFamily="34" charset="0"/>
              <a:ea typeface="+mn-ea"/>
              <a:cs typeface="+mn-cs"/>
            </a:endParaRPr>
          </a:p>
          <a:p>
            <a:r>
              <a:rPr lang="en-US" sz="800" b="1" i="0" u="none" strike="noStrike" kern="1200" dirty="0">
                <a:solidFill>
                  <a:schemeClr val="tx1"/>
                </a:solidFill>
                <a:effectLst/>
                <a:latin typeface="Segoe UI Light" pitchFamily="34" charset="0"/>
                <a:ea typeface="+mn-ea"/>
                <a:cs typeface="+mn-cs"/>
              </a:rPr>
              <a:t>Demo Requirements</a:t>
            </a:r>
            <a:endParaRPr lang="en-US" sz="800" b="0" i="0" u="none" strike="noStrike" kern="1200" dirty="0">
              <a:solidFill>
                <a:schemeClr val="tx1"/>
              </a:solidFill>
              <a:effectLst/>
              <a:latin typeface="Segoe UI Light" pitchFamily="34" charset="0"/>
              <a:ea typeface="+mn-ea"/>
              <a:cs typeface="+mn-cs"/>
            </a:endParaRPr>
          </a:p>
          <a:p>
            <a:pPr marL="171450" indent="-171450">
              <a:buFontTx/>
              <a:buChar char="-"/>
            </a:pPr>
            <a:r>
              <a:rPr lang="en-US" sz="800" b="0" i="0" u="none" strike="noStrike" kern="1200" dirty="0">
                <a:solidFill>
                  <a:schemeClr val="tx1"/>
                </a:solidFill>
                <a:effectLst/>
                <a:latin typeface="Segoe UI Light" pitchFamily="34" charset="0"/>
                <a:ea typeface="+mn-ea"/>
                <a:cs typeface="+mn-cs"/>
              </a:rPr>
              <a:t>The </a:t>
            </a:r>
            <a:r>
              <a:rPr lang="en-US" sz="800" b="0" i="0" u="none" strike="noStrike" kern="1200" dirty="0" err="1">
                <a:solidFill>
                  <a:schemeClr val="tx1"/>
                </a:solidFill>
                <a:effectLst/>
                <a:latin typeface="Segoe UI Light" pitchFamily="34" charset="0"/>
                <a:ea typeface="+mn-ea"/>
                <a:cs typeface="+mn-cs"/>
              </a:rPr>
              <a:t>salesdb</a:t>
            </a:r>
            <a:r>
              <a:rPr lang="en-US" sz="800" b="0" i="0" u="none" strike="noStrike" kern="1200" dirty="0">
                <a:solidFill>
                  <a:schemeClr val="tx1"/>
                </a:solidFill>
                <a:effectLst/>
                <a:latin typeface="Segoe UI Light" pitchFamily="34" charset="0"/>
                <a:ea typeface="+mn-ea"/>
                <a:cs typeface="+mn-cs"/>
              </a:rPr>
              <a:t> that you have created in module 1</a:t>
            </a:r>
          </a:p>
          <a:p>
            <a:pPr marL="0" indent="0">
              <a:buFontTx/>
              <a:buNone/>
            </a:pPr>
            <a:endParaRPr lang="en-US" sz="800" b="0" i="0" u="none" strike="noStrike" kern="1200" dirty="0">
              <a:solidFill>
                <a:schemeClr val="tx1"/>
              </a:solidFill>
              <a:effectLst/>
              <a:latin typeface="Segoe UI Light" pitchFamily="34" charset="0"/>
              <a:ea typeface="+mn-ea"/>
              <a:cs typeface="+mn-cs"/>
            </a:endParaRPr>
          </a:p>
          <a:p>
            <a:pPr marL="0" indent="0">
              <a:buFontTx/>
              <a:buNone/>
            </a:pPr>
            <a:r>
              <a:rPr lang="en-US" sz="800" b="1" i="0" u="none" strike="noStrike" kern="1200" dirty="0">
                <a:solidFill>
                  <a:schemeClr val="tx1"/>
                </a:solidFill>
                <a:effectLst/>
                <a:latin typeface="Segoe UI Light" pitchFamily="34" charset="0"/>
                <a:ea typeface="+mn-ea"/>
                <a:cs typeface="+mn-cs"/>
              </a:rPr>
              <a:t>Steps:</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To recover to a point in time using the Azure portal, open the page for your database and click </a:t>
            </a:r>
            <a:r>
              <a:rPr lang="en-US" sz="800" b="1" i="0" u="none" strike="noStrike" kern="1200" dirty="0">
                <a:solidFill>
                  <a:schemeClr val="tx1"/>
                </a:solidFill>
                <a:effectLst/>
                <a:latin typeface="Segoe UI Light" pitchFamily="34" charset="0"/>
                <a:ea typeface="+mn-ea"/>
                <a:cs typeface="+mn-cs"/>
              </a:rPr>
              <a:t>Restore</a:t>
            </a:r>
            <a:r>
              <a:rPr lang="en-US" sz="800" b="0" i="0" u="none" strike="noStrike" kern="1200" dirty="0">
                <a:solidFill>
                  <a:schemeClr val="tx1"/>
                </a:solidFill>
                <a:effectLst/>
                <a:latin typeface="Segoe UI Light" pitchFamily="34" charset="0"/>
                <a:ea typeface="+mn-ea"/>
                <a:cs typeface="+mn-cs"/>
              </a:rPr>
              <a:t> on the toolbar.</a:t>
            </a:r>
          </a:p>
          <a:p>
            <a:r>
              <a:rPr lang="en-US" sz="800" b="0" i="0" u="none" strike="noStrike" kern="1200" dirty="0">
                <a:solidFill>
                  <a:schemeClr val="tx1"/>
                </a:solidFill>
                <a:effectLst/>
                <a:latin typeface="Segoe UI Light" pitchFamily="34" charset="0"/>
                <a:ea typeface="+mn-ea"/>
                <a:cs typeface="+mn-cs"/>
              </a:rPr>
              <a:t>Show the new database name and rename if you want</a:t>
            </a:r>
          </a:p>
          <a:p>
            <a:r>
              <a:rPr lang="en-US" sz="800" b="0" i="0" u="none" strike="noStrike" kern="1200" dirty="0">
                <a:solidFill>
                  <a:schemeClr val="tx1"/>
                </a:solidFill>
                <a:effectLst/>
                <a:latin typeface="Segoe UI Light" pitchFamily="34" charset="0"/>
                <a:ea typeface="+mn-ea"/>
                <a:cs typeface="+mn-cs"/>
              </a:rPr>
              <a:t>Specify the Restore point</a:t>
            </a:r>
          </a:p>
          <a:p>
            <a:r>
              <a:rPr lang="en-US" sz="800" b="0" i="0" u="none" strike="noStrike" kern="1200" dirty="0">
                <a:solidFill>
                  <a:schemeClr val="tx1"/>
                </a:solidFill>
                <a:effectLst/>
                <a:latin typeface="Segoe UI Light" pitchFamily="34" charset="0"/>
                <a:ea typeface="+mn-ea"/>
                <a:cs typeface="+mn-cs"/>
              </a:rPr>
              <a:t>Specify the Target Server. For this demo, just use the same logical server</a:t>
            </a:r>
          </a:p>
          <a:p>
            <a:r>
              <a:rPr lang="en-US" sz="800" b="0" i="0" u="none" strike="noStrike" kern="1200" dirty="0">
                <a:solidFill>
                  <a:schemeClr val="tx1"/>
                </a:solidFill>
                <a:effectLst/>
                <a:latin typeface="Segoe UI Light" pitchFamily="34" charset="0"/>
                <a:ea typeface="+mn-ea"/>
                <a:cs typeface="+mn-cs"/>
              </a:rPr>
              <a:t>Specify the Pricing Tier</a:t>
            </a:r>
          </a:p>
          <a:p>
            <a:r>
              <a:rPr lang="en-US" sz="800" b="0" i="0" u="none" strike="noStrike" kern="1200" dirty="0">
                <a:solidFill>
                  <a:schemeClr val="tx1"/>
                </a:solidFill>
                <a:effectLst/>
                <a:latin typeface="Segoe UI Light" pitchFamily="34" charset="0"/>
                <a:ea typeface="+mn-ea"/>
                <a:cs typeface="+mn-cs"/>
              </a:rPr>
              <a:t>Click OK and wait until your database is restored.</a:t>
            </a:r>
          </a:p>
          <a:p>
            <a:endParaRPr lang="en-US" b="1" dirty="0"/>
          </a:p>
          <a:p>
            <a:pPr marL="0" indent="0">
              <a:buFont typeface="Arial" panose="020B0604020202020204" pitchFamily="34" charset="0"/>
              <a:buNone/>
            </a:pPr>
            <a:endParaRPr lang="en-US"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17788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kern="1200" dirty="0">
                <a:solidFill>
                  <a:schemeClr val="tx1"/>
                </a:solidFill>
                <a:effectLst/>
                <a:latin typeface="Segoe UI Light" pitchFamily="34" charset="0"/>
                <a:ea typeface="+mn-ea"/>
                <a:cs typeface="+mn-cs"/>
              </a:rPr>
              <a:t>Business continuity problem - Enabling the application to continuously operate during unplanned and planned disruptive events</a:t>
            </a:r>
          </a:p>
          <a:p>
            <a:endParaRPr lang="en-US" sz="800" b="0" i="0" kern="1200" dirty="0">
              <a:solidFill>
                <a:schemeClr val="tx1"/>
              </a:solidFill>
              <a:effectLst/>
              <a:latin typeface="Segoe UI Light" pitchFamily="34" charset="0"/>
              <a:ea typeface="+mn-ea"/>
              <a:cs typeface="+mn-cs"/>
            </a:endParaRPr>
          </a:p>
          <a:p>
            <a:r>
              <a:rPr lang="en-US" dirty="0"/>
              <a:t>Azure SQL Database provides out-of-the box high availability and fault tolerance, which goes a long way in ensuring business continuity and disaster recovery. Additionally, there are other configurable options that can be utilized to achieve high availability/disaster recovery across multiple region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25076151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dirty="0">
                <a:solidFill>
                  <a:srgbClr val="000000"/>
                </a:solidFill>
                <a:latin typeface="Consolas" panose="020B0609020204030204" pitchFamily="49" charset="0"/>
              </a:rPr>
              <a:t>M03L01Lab01</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4363733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5</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19/2022</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Question 1: </a:t>
            </a:r>
            <a:r>
              <a:rPr lang="en-US" sz="900" dirty="0">
                <a:solidFill>
                  <a:srgbClr val="FFFFFF"/>
                </a:solidFill>
              </a:rPr>
              <a:t>True or false: Daily and weekly backups of Azure SQL databases are automatically uploaded to geo-redundant Azure Storage</a:t>
            </a:r>
            <a:r>
              <a:rPr lang="en-US" sz="900" dirty="0">
                <a:solidFill>
                  <a:srgbClr val="FFFFFF"/>
                </a:solidFill>
                <a:latin typeface="+mn-lt"/>
              </a:rPr>
              <a:t>.</a:t>
            </a:r>
            <a:endParaRPr kumimoji="0" lang="EN-US" sz="900" b="0" i="0" u="none" strike="noStrike" kern="1200" cap="none" spc="0" normalizeH="0" baseline="0" noProof="0" dirty="0">
              <a:ln>
                <a:noFill/>
              </a:ln>
              <a:solidFill>
                <a:srgbClr val="FFFFFF"/>
              </a:solidFill>
              <a:effectLst/>
              <a:uLnTx/>
              <a:uFillTx/>
              <a:latin typeface="+mn-lt"/>
              <a:ea typeface="+mn-ea"/>
              <a:cs typeface="+mn-cs"/>
            </a:endParaRPr>
          </a:p>
          <a:p>
            <a:r>
              <a:rPr lang="en-US" dirty="0"/>
              <a:t>Answer 1 :</a:t>
            </a:r>
            <a:r>
              <a:rPr lang="en-US" baseline="0" dirty="0"/>
              <a:t> </a:t>
            </a:r>
            <a:r>
              <a:rPr lang="en-US" dirty="0"/>
              <a:t>True; Daily and weekly backups of Azure SQL databases are automatically uploaded to geo-redundant Azure Storage</a:t>
            </a:r>
          </a:p>
          <a:p>
            <a:endParaRPr lang="en-US" dirty="0"/>
          </a:p>
          <a:p>
            <a:pPr marL="0" lvl="0" indent="0">
              <a:buFont typeface="Arial" panose="020B0604020202020204" pitchFamily="34" charset="0"/>
              <a:buNone/>
            </a:pPr>
            <a:r>
              <a:rPr lang="en-US" dirty="0"/>
              <a:t>Question 2: </a:t>
            </a:r>
            <a:r>
              <a:rPr lang="en-US" sz="900" dirty="0">
                <a:solidFill>
                  <a:srgbClr val="FFFFFF"/>
                </a:solidFill>
              </a:rPr>
              <a:t>True or false: When performing a point-in-time restore, you can choose to overwrite the source database.</a:t>
            </a:r>
            <a:endParaRPr kumimoji="0" lang="en-US" sz="900" b="0" i="0" u="none" strike="noStrike" kern="1200" cap="none" spc="0" normalizeH="0" baseline="0" noProof="0" dirty="0">
              <a:ln>
                <a:noFill/>
              </a:ln>
              <a:solidFill>
                <a:srgbClr val="505050"/>
              </a:solidFill>
              <a:effectLst/>
              <a:uLnTx/>
              <a:uFillTx/>
              <a:latin typeface="+mn-lt"/>
              <a:ea typeface="+mn-ea"/>
              <a:cs typeface="+mn-cs"/>
            </a:endParaRPr>
          </a:p>
          <a:p>
            <a:r>
              <a:rPr lang="en-US" dirty="0"/>
              <a:t>Answer 2: False; When performing a point-in-time restore, you cannot choose to overwrite the source database.</a:t>
            </a:r>
          </a:p>
          <a:p>
            <a:endParaRPr lang="en-US" dirty="0"/>
          </a:p>
          <a:p>
            <a:endParaRPr lang="en-US" dirty="0"/>
          </a:p>
          <a:p>
            <a:pPr marL="217262" lvl="1" indent="0">
              <a:buNone/>
            </a:pPr>
            <a:endParaRPr lang="en-AU"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20919806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You can restore a SQL database on any server in any Azure region from the most recent geo-replicated full and differential backups. Geo-restore uses a geo-redundant backup as its source and can be used to recover a database even if the database or datacenter is inaccessible due to an outage. </a:t>
            </a:r>
          </a:p>
          <a:p>
            <a:r>
              <a:rPr lang="en-US" sz="800" b="0" i="0" u="none" strike="noStrike" kern="1200" dirty="0">
                <a:solidFill>
                  <a:schemeClr val="tx1"/>
                </a:solidFill>
                <a:effectLst/>
                <a:latin typeface="Segoe UI Light" pitchFamily="34" charset="0"/>
                <a:ea typeface="+mn-ea"/>
                <a:cs typeface="+mn-cs"/>
              </a:rPr>
              <a:t>Geo-restore is the default recovery option when your database is unavailable because of an incident in the region where the database is hosted. If a large-scale incident in a region results in unavailability of your database application, you can restore a database from the geo-replicated backups to a server in any other region. There is a delay between when a differential backup is taken and when it is geo-replicated to an Azure blob in a different region. This delay can be up to an hour, so, if a disaster occurs, there can be up to one hour data loss. The following illustration shows restore of the database from the last available backup in another region.</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Point-in-time restore on a geo-secondary is not currently supported. Point-in-time restore can be done only on a primary database.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Recovery from backups is the most basic of the disaster recovery solutions available in SQL Database with the longest Recovery Point Objective (RPO) and Estimate Recovery Time (ERT). For solutions using small size databases (e.g. Basic service tier or small size tenant databases in elastic pools), geo-restore is frequently a reasonable DR solution with an ERT of 12 hours. For solutions using large databases and require shorter recovery times, you should consider using </a:t>
            </a:r>
            <a:r>
              <a:rPr lang="en-US" sz="800" b="1" i="0" u="sng" kern="1200" dirty="0">
                <a:solidFill>
                  <a:schemeClr val="tx1"/>
                </a:solidFill>
                <a:effectLst/>
                <a:latin typeface="Segoe UI Light" pitchFamily="34" charset="0"/>
                <a:ea typeface="+mn-ea"/>
                <a:cs typeface="+mn-cs"/>
                <a:hlinkClick r:id="rId3"/>
              </a:rPr>
              <a:t>Failover groups and active geo-replication</a:t>
            </a:r>
            <a:r>
              <a:rPr lang="en-US" sz="800" b="0" i="0" u="none" strike="noStrike" kern="1200" dirty="0">
                <a:solidFill>
                  <a:schemeClr val="tx1"/>
                </a:solidFill>
                <a:effectLst/>
                <a:latin typeface="Segoe UI Light" pitchFamily="34" charset="0"/>
                <a:ea typeface="+mn-ea"/>
                <a:cs typeface="+mn-cs"/>
              </a:rPr>
              <a:t>. Active geo-replication offers a much lower RPO and ERT as it only requires you initiate a failover to a continuously replicated secondary. For more information on business continuity choices, see </a:t>
            </a:r>
            <a:r>
              <a:rPr lang="en-US" sz="800" b="1" i="0" u="sng" kern="1200" dirty="0">
                <a:solidFill>
                  <a:schemeClr val="tx1"/>
                </a:solidFill>
                <a:effectLst/>
                <a:latin typeface="Segoe UI Light" pitchFamily="34" charset="0"/>
                <a:ea typeface="+mn-ea"/>
                <a:cs typeface="+mn-cs"/>
                <a:hlinkClick r:id="rId4"/>
              </a:rPr>
              <a:t>Overview of business continuity</a:t>
            </a:r>
            <a:r>
              <a:rPr lang="en-US" sz="800" b="0" i="0" u="none" strike="noStrike" kern="1200" dirty="0">
                <a:solidFill>
                  <a:schemeClr val="tx1"/>
                </a:solidFill>
                <a:effectLst/>
                <a:latin typeface="Segoe UI Light" pitchFamily="34" charset="0"/>
                <a:ea typeface="+mn-ea"/>
                <a:cs typeface="+mn-cs"/>
              </a:rPr>
              <a:t>.</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26759378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Active geo-replication is designed as a business continuity solution that allows the application to perform quick disaster recovery in case of a data center scale outage. If geo-replication is enabled, the application can initiate failover to a secondary database in a different Azure region. Up to four secondaries are supported in the same or different regions, and the secondaries can also be used for read-only access queries. The failover must be initiated manually by the application or the user. After failover, the new primary has a different connection end point.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If you are using active geo-replication and for any reason your primary database fails, or simply needs to be taken offline, you can initiate failover to any of your secondary databases. When failover is activated to one of the secondary databases, all other secondaries are automatically linked to the new primary.</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ctive geo-replication leverages the </a:t>
            </a:r>
            <a:r>
              <a:rPr lang="en-US" sz="800" b="0" i="0" u="sng" kern="1200" dirty="0">
                <a:solidFill>
                  <a:schemeClr val="tx1"/>
                </a:solidFill>
                <a:effectLst/>
                <a:latin typeface="Segoe UI Light" pitchFamily="34" charset="0"/>
                <a:ea typeface="+mn-ea"/>
                <a:cs typeface="+mn-cs"/>
                <a:hlinkClick r:id="rId3"/>
              </a:rPr>
              <a:t>Always On</a:t>
            </a:r>
            <a:r>
              <a:rPr lang="en-US" sz="800" b="0" i="0" u="none" strike="noStrike" kern="1200" dirty="0">
                <a:solidFill>
                  <a:schemeClr val="tx1"/>
                </a:solidFill>
                <a:effectLst/>
                <a:latin typeface="Segoe UI Light" pitchFamily="34" charset="0"/>
                <a:ea typeface="+mn-ea"/>
                <a:cs typeface="+mn-cs"/>
              </a:rPr>
              <a:t> technology of SQL Server to asynchronously replicate committed transactions on the primary database to a secondary database using snapshot isolation. Auto-failover groups provide the group semantics on top of active geo-replication but the same asynchronous replication mechanism is used. While at any given point, the secondary database might be slightly behind the primary database, the secondary data is guaranteed to never have partial transactions. Cross-region redundancy enables applications to quickly recover from a permanent loss of an entire datacenter or parts of a datacenter caused by natural disasters, catastrophic human errors, or malicious acts. </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29260431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The active geo-replication feature provides the following essential capabilities:</a:t>
            </a:r>
          </a:p>
          <a:p>
            <a:r>
              <a:rPr lang="en-US" sz="800" b="1" i="0" u="none" strike="noStrike" kern="1200" dirty="0">
                <a:solidFill>
                  <a:schemeClr val="tx1"/>
                </a:solidFill>
                <a:effectLst/>
                <a:latin typeface="Segoe UI Light" pitchFamily="34" charset="0"/>
                <a:ea typeface="+mn-ea"/>
                <a:cs typeface="+mn-cs"/>
              </a:rPr>
              <a:t>Automatic Asynchronous Replication</a:t>
            </a:r>
            <a:r>
              <a:rPr lang="en-US" sz="800" b="0" i="0" u="none" strike="noStrike" kern="1200" dirty="0">
                <a:solidFill>
                  <a:schemeClr val="tx1"/>
                </a:solidFill>
                <a:effectLst/>
                <a:latin typeface="Segoe UI Light" pitchFamily="34" charset="0"/>
                <a:ea typeface="+mn-ea"/>
                <a:cs typeface="+mn-cs"/>
              </a:rPr>
              <a:t>: You can only create a secondary database by adding to an existing database. The secondary can be created in any Azure SQL Database server. Once created, the secondary database is populated with the data copied from the primary database. This process is known as seeding. After secondary database has been created and seeded, updates to the primary database are asynchronously replicated to the secondary database automatically. Asynchronous replication means that transactions are committed on the primary database before they are replicated to the secondary database. </a:t>
            </a:r>
          </a:p>
          <a:p>
            <a:r>
              <a:rPr lang="en-US" sz="800" b="1" i="0" u="none" strike="noStrike" kern="1200" dirty="0">
                <a:solidFill>
                  <a:schemeClr val="tx1"/>
                </a:solidFill>
                <a:effectLst/>
                <a:latin typeface="Segoe UI Light" pitchFamily="34" charset="0"/>
                <a:ea typeface="+mn-ea"/>
                <a:cs typeface="+mn-cs"/>
              </a:rPr>
              <a:t>Readable secondary databases</a:t>
            </a:r>
            <a:r>
              <a:rPr lang="en-US" sz="800" b="0" i="0" u="none" strike="noStrike" kern="1200" dirty="0">
                <a:solidFill>
                  <a:schemeClr val="tx1"/>
                </a:solidFill>
                <a:effectLst/>
                <a:latin typeface="Segoe UI Light" pitchFamily="34" charset="0"/>
                <a:ea typeface="+mn-ea"/>
                <a:cs typeface="+mn-cs"/>
              </a:rPr>
              <a:t>: An application can access a secondary database for read-only operations using the same or different security principals used for accessing the primary database. The secondary databases operate in snapshot isolation mode to ensure replication of the updates of the primary (log replay) is not delayed by queries executed on the secondary.</a:t>
            </a:r>
          </a:p>
          <a:p>
            <a:endParaRPr lang="en-US" dirty="0"/>
          </a:p>
          <a:p>
            <a:r>
              <a:rPr lang="en-US" sz="800" b="1" i="0" u="none" strike="noStrike" kern="1200" dirty="0">
                <a:solidFill>
                  <a:schemeClr val="tx1"/>
                </a:solidFill>
                <a:effectLst/>
                <a:latin typeface="Segoe UI Light" pitchFamily="34" charset="0"/>
                <a:ea typeface="+mn-ea"/>
                <a:cs typeface="+mn-cs"/>
              </a:rPr>
              <a:t>Multiple readable secondaries</a:t>
            </a:r>
            <a:r>
              <a:rPr lang="en-US" sz="800" b="0" i="0" u="none" strike="noStrike" kern="1200" dirty="0">
                <a:solidFill>
                  <a:schemeClr val="tx1"/>
                </a:solidFill>
                <a:effectLst/>
                <a:latin typeface="Segoe UI Light" pitchFamily="34" charset="0"/>
                <a:ea typeface="+mn-ea"/>
                <a:cs typeface="+mn-cs"/>
              </a:rPr>
              <a:t>: Two or more secondary databases increase redundancy and level of protection for the primary database and application. If multiple secondary databases exist, the application remains protected even if one of the secondary databases fails. If there is only one secondary database, and it fails, the application is exposed to higher risk until a new secondary database is created.</a:t>
            </a:r>
          </a:p>
          <a:p>
            <a:endParaRPr lang="en-US" sz="800" b="0" i="0" u="none" strike="noStrike" kern="1200" dirty="0">
              <a:solidFill>
                <a:schemeClr val="tx1"/>
              </a:solidFill>
              <a:effectLst/>
              <a:latin typeface="Segoe UI Light" pitchFamily="34" charset="0"/>
              <a:ea typeface="+mn-ea"/>
              <a:cs typeface="+mn-cs"/>
            </a:endParaRPr>
          </a:p>
          <a:p>
            <a:r>
              <a:rPr lang="en-US" sz="800" b="1" i="0" u="none" strike="noStrike" kern="1200" dirty="0">
                <a:solidFill>
                  <a:schemeClr val="tx1"/>
                </a:solidFill>
                <a:effectLst/>
                <a:latin typeface="Segoe UI Light" pitchFamily="34" charset="0"/>
                <a:ea typeface="+mn-ea"/>
                <a:cs typeface="+mn-cs"/>
              </a:rPr>
              <a:t>Configurable performance level of the secondary database</a:t>
            </a:r>
            <a:r>
              <a:rPr lang="en-US" sz="800" b="0" i="0" u="none" strike="noStrike" kern="1200" dirty="0">
                <a:solidFill>
                  <a:schemeClr val="tx1"/>
                </a:solidFill>
                <a:effectLst/>
                <a:latin typeface="Segoe UI Light" pitchFamily="34" charset="0"/>
                <a:ea typeface="+mn-ea"/>
                <a:cs typeface="+mn-cs"/>
              </a:rPr>
              <a:t>: Both primary and secondary databases are required to have the same service tier. A secondary database can be created with lower performance level (DTUs) than the primary. This option is not recommended for applications with high database write activity because the increased replication lag increases the risk of substantial data loss after a failover. In addition, after failover the application’s performance is impacted until the new primary is upgraded to a higher performance level. The log IO percentage chart on Azure portal provides a good way to estimate the minimal performance level of the secondary that is required to sustain the replication load. For example, if your Primary database is P6 (1000 DTU) and its log IO percent is 50% the secondary needs to be at least P4 (500 DTU). You can also retrieve the log IO data using </a:t>
            </a:r>
            <a:r>
              <a:rPr lang="en-US" sz="800" b="0" i="0" u="none" strike="noStrike" kern="1200" dirty="0" err="1">
                <a:solidFill>
                  <a:schemeClr val="tx1"/>
                </a:solidFill>
                <a:effectLst/>
                <a:latin typeface="Segoe UI Light" pitchFamily="34" charset="0"/>
                <a:ea typeface="+mn-ea"/>
                <a:cs typeface="+mn-cs"/>
                <a:hlinkClick r:id="rId3"/>
              </a:rPr>
              <a:t>sys.resource_stats</a:t>
            </a:r>
            <a:r>
              <a:rPr lang="en-US" sz="800" b="0" i="0" u="none" strike="noStrike" kern="1200" dirty="0">
                <a:solidFill>
                  <a:schemeClr val="tx1"/>
                </a:solidFill>
                <a:effectLst/>
                <a:latin typeface="Segoe UI Light" pitchFamily="34" charset="0"/>
                <a:ea typeface="+mn-ea"/>
                <a:cs typeface="+mn-cs"/>
              </a:rPr>
              <a:t> or </a:t>
            </a:r>
            <a:r>
              <a:rPr lang="en-US" sz="800" b="0" i="0" u="none" strike="noStrike" kern="1200" dirty="0" err="1">
                <a:solidFill>
                  <a:schemeClr val="tx1"/>
                </a:solidFill>
                <a:effectLst/>
                <a:latin typeface="Segoe UI Light" pitchFamily="34" charset="0"/>
                <a:ea typeface="+mn-ea"/>
                <a:cs typeface="+mn-cs"/>
                <a:hlinkClick r:id="rId4"/>
              </a:rPr>
              <a:t>sys.dm_db_resource_stats</a:t>
            </a:r>
            <a:r>
              <a:rPr lang="en-US" sz="800" b="0" i="0" u="none" strike="noStrike" kern="1200" dirty="0">
                <a:solidFill>
                  <a:schemeClr val="tx1"/>
                </a:solidFill>
                <a:effectLst/>
                <a:latin typeface="Segoe UI Light" pitchFamily="34" charset="0"/>
                <a:ea typeface="+mn-ea"/>
                <a:cs typeface="+mn-cs"/>
              </a:rPr>
              <a:t> database views. For more information on the SQL Database performance levels, see </a:t>
            </a:r>
            <a:r>
              <a:rPr lang="en-US" sz="800" b="0" i="0" u="none" strike="noStrike" kern="1200" dirty="0">
                <a:solidFill>
                  <a:schemeClr val="tx1"/>
                </a:solidFill>
                <a:effectLst/>
                <a:latin typeface="Segoe UI Light" pitchFamily="34" charset="0"/>
                <a:ea typeface="+mn-ea"/>
                <a:cs typeface="+mn-cs"/>
                <a:hlinkClick r:id="rId5"/>
              </a:rPr>
              <a:t>What are SQL Database Service Tiers</a:t>
            </a:r>
            <a:r>
              <a:rPr lang="en-US" sz="800" b="0" i="0" u="none" strike="noStrike" kern="1200" dirty="0">
                <a:solidFill>
                  <a:schemeClr val="tx1"/>
                </a:solidFill>
                <a:effectLst/>
                <a:latin typeface="Segoe UI Light" pitchFamily="34" charset="0"/>
                <a:ea typeface="+mn-ea"/>
                <a:cs typeface="+mn-cs"/>
              </a:rPr>
              <a:t>. </a:t>
            </a:r>
          </a:p>
          <a:p>
            <a:r>
              <a:rPr lang="en-US" sz="800" b="1" i="0" u="none" strike="noStrike" kern="1200" dirty="0">
                <a:solidFill>
                  <a:schemeClr val="tx1"/>
                </a:solidFill>
                <a:effectLst/>
                <a:latin typeface="Segoe UI Light" pitchFamily="34" charset="0"/>
                <a:ea typeface="+mn-ea"/>
                <a:cs typeface="+mn-cs"/>
              </a:rPr>
              <a:t>User-controlled failover and failback</a:t>
            </a:r>
            <a:r>
              <a:rPr lang="en-US" sz="800" b="0" i="0" u="none" strike="noStrike" kern="1200" dirty="0">
                <a:solidFill>
                  <a:schemeClr val="tx1"/>
                </a:solidFill>
                <a:effectLst/>
                <a:latin typeface="Segoe UI Light" pitchFamily="34" charset="0"/>
                <a:ea typeface="+mn-ea"/>
                <a:cs typeface="+mn-cs"/>
              </a:rPr>
              <a:t>: A secondary database can explicitly be switched to the primary role at any time by the application or the user. During a real outage the “unplanned” option should be used, which immediately promotes a secondary to be the primary. When the failed primary recovers and is available again, the system automatically marks the recovered primary as a secondary and bring it up-to-date with the new primary. Due to the asynchronous nature of replication, a small amount of data can be lost during unplanned failovers if a primary fails before it replicates the most recent changes to the secondary. When a primary with multiple secondaries fails over, the system automatically reconfigures the replication relationships and links the remaining secondaries to the newly promoted primary without requiring any user intervention. After the outage that caused the failover is mitigated, it may be desirable to return the application to the primary region. To do that, the failover command should be invoked with the “planned” option. </a:t>
            </a:r>
          </a:p>
          <a:p>
            <a:r>
              <a:rPr lang="en-US" sz="800" b="1" i="0" u="none" strike="noStrike" kern="1200" dirty="0">
                <a:solidFill>
                  <a:schemeClr val="tx1"/>
                </a:solidFill>
                <a:effectLst/>
                <a:latin typeface="Segoe UI Light" pitchFamily="34" charset="0"/>
                <a:ea typeface="+mn-ea"/>
                <a:cs typeface="+mn-cs"/>
              </a:rPr>
              <a:t>Keeping credentials and firewall rules in sync</a:t>
            </a:r>
            <a:r>
              <a:rPr lang="en-US" sz="800" b="0" i="0" u="none" strike="noStrike" kern="1200" dirty="0">
                <a:solidFill>
                  <a:schemeClr val="tx1"/>
                </a:solidFill>
                <a:effectLst/>
                <a:latin typeface="Segoe UI Light" pitchFamily="34" charset="0"/>
                <a:ea typeface="+mn-ea"/>
                <a:cs typeface="+mn-cs"/>
              </a:rPr>
              <a:t>: We recommend using </a:t>
            </a:r>
            <a:r>
              <a:rPr lang="en-US" sz="800" b="0" i="0" u="none" strike="noStrike" kern="1200" dirty="0">
                <a:solidFill>
                  <a:schemeClr val="tx1"/>
                </a:solidFill>
                <a:effectLst/>
                <a:latin typeface="Segoe UI Light" pitchFamily="34" charset="0"/>
                <a:ea typeface="+mn-ea"/>
                <a:cs typeface="+mn-cs"/>
                <a:hlinkClick r:id="rId6"/>
              </a:rPr>
              <a:t>database firewall rules</a:t>
            </a:r>
            <a:r>
              <a:rPr lang="en-US" sz="800" b="0" i="0" u="none" strike="noStrike" kern="1200" dirty="0">
                <a:solidFill>
                  <a:schemeClr val="tx1"/>
                </a:solidFill>
                <a:effectLst/>
                <a:latin typeface="Segoe UI Light" pitchFamily="34" charset="0"/>
                <a:ea typeface="+mn-ea"/>
                <a:cs typeface="+mn-cs"/>
              </a:rPr>
              <a:t> for geo-replicated databases so these rules can be replicated with the database to ensure all secondary databases have the same firewall rules as the primary. This approach eliminates the need for customers to manually configure and maintain firewall rules on servers hosting both the primary and secondary databases. Similarly, using </a:t>
            </a:r>
            <a:r>
              <a:rPr lang="en-US" sz="800" b="0" i="0" u="none" strike="noStrike" kern="1200" dirty="0">
                <a:solidFill>
                  <a:schemeClr val="tx1"/>
                </a:solidFill>
                <a:effectLst/>
                <a:latin typeface="Segoe UI Light" pitchFamily="34" charset="0"/>
                <a:ea typeface="+mn-ea"/>
                <a:cs typeface="+mn-cs"/>
                <a:hlinkClick r:id="rId7"/>
              </a:rPr>
              <a:t>contained database users</a:t>
            </a:r>
            <a:r>
              <a:rPr lang="en-US" sz="800" b="0" i="0" u="none" strike="noStrike" kern="1200" dirty="0">
                <a:solidFill>
                  <a:schemeClr val="tx1"/>
                </a:solidFill>
                <a:effectLst/>
                <a:latin typeface="Segoe UI Light" pitchFamily="34" charset="0"/>
                <a:ea typeface="+mn-ea"/>
                <a:cs typeface="+mn-cs"/>
              </a:rPr>
              <a:t> for data access ensures both primary and secondary databases always have the same user credentials so during a failover, there is no disruptions due to mismatches with logins and passwords. With the addition of </a:t>
            </a:r>
            <a:r>
              <a:rPr lang="en-US" sz="800" b="0" i="0" u="none" strike="noStrike" kern="1200" dirty="0">
                <a:solidFill>
                  <a:schemeClr val="tx1"/>
                </a:solidFill>
                <a:effectLst/>
                <a:latin typeface="Segoe UI Light" pitchFamily="34" charset="0"/>
                <a:ea typeface="+mn-ea"/>
                <a:cs typeface="+mn-cs"/>
                <a:hlinkClick r:id="rId8"/>
              </a:rPr>
              <a:t>Azure Active Directory</a:t>
            </a:r>
            <a:r>
              <a:rPr lang="en-US" sz="800" b="0" i="0" u="none" strike="noStrike" kern="1200" dirty="0">
                <a:solidFill>
                  <a:schemeClr val="tx1"/>
                </a:solidFill>
                <a:effectLst/>
                <a:latin typeface="Segoe UI Light" pitchFamily="34" charset="0"/>
                <a:ea typeface="+mn-ea"/>
                <a:cs typeface="+mn-cs"/>
              </a:rPr>
              <a:t>, customers can manage user access to both primary and secondary databases and eliminating the need for managing credentials in databases altogether.</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10611735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Auto-failover groups is an extension of active geo-replication. It is designed to manage the failover of multiple geo-replicated databases simultaneously using an application initiated failover or by delegating failover to be done by the SQL Database service based on a user defined criteria. The latter allows you to automatically recover multiple related databases in a secondary region after a catastrophic failure or other unplanned event that results in full or partial loss of the SQL Database service’s availability in the primary region. Additionally, you can use the readable secondary databases to offload read-only query workloads. Because auto-failover groups involve multiple databases, these databases must be configured on the primary server. Both primary and secondary servers for the databases in the failover group must be in the same subscription. Auto-failover groups support replication of all databases in the group to only one secondary server in a different region.</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If you are using auto-failover groups to manage database recovery and any outage that impacts one or several of the databases in the group results in automatic failover. You can configure the auto-failover policy that best meets your application needs, or you can opt out and use manual activation. In addition, auto-failover groups provide read-write and read-only listener end-points that remain unchanged during failovers. Whether you use manual or automatic failover activation, failover switches all secondary databases in the group to primary. After the database failover is completed, the DNS record is automatically updated to redirect the end-points to the new region.</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37595101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Auto-failover groups feature provides a powerful abstraction of active geo-replication by supporting group level replication and automatic failover. In addition, it removes the necessity to change the SQL connection string after failover by providing the additional listener end-points. </a:t>
            </a:r>
          </a:p>
          <a:p>
            <a:r>
              <a:rPr lang="en-US" sz="800" b="1" i="0" u="none" strike="noStrike" kern="1200" dirty="0">
                <a:solidFill>
                  <a:schemeClr val="tx1"/>
                </a:solidFill>
                <a:effectLst/>
                <a:latin typeface="Segoe UI Light" pitchFamily="34" charset="0"/>
                <a:ea typeface="+mn-ea"/>
                <a:cs typeface="+mn-cs"/>
              </a:rPr>
              <a:t>Failover group</a:t>
            </a:r>
            <a:r>
              <a:rPr lang="en-US" sz="800" b="0" i="0" u="none" strike="noStrike" kern="1200" dirty="0">
                <a:solidFill>
                  <a:schemeClr val="tx1"/>
                </a:solidFill>
                <a:effectLst/>
                <a:latin typeface="Segoe UI Light" pitchFamily="34" charset="0"/>
                <a:ea typeface="+mn-ea"/>
                <a:cs typeface="+mn-cs"/>
              </a:rPr>
              <a:t>: One or many failover groups can be created between two servers in different regions (primary and secondary servers). Each group can include one or several databases that are recovered as a unit in case all or some primary databases become unavailable due to an outage in the primary region. </a:t>
            </a:r>
          </a:p>
          <a:p>
            <a:r>
              <a:rPr lang="en-US" sz="800" b="1" i="0" u="none" strike="noStrike" kern="1200" dirty="0">
                <a:solidFill>
                  <a:schemeClr val="tx1"/>
                </a:solidFill>
                <a:effectLst/>
                <a:latin typeface="Segoe UI Light" pitchFamily="34" charset="0"/>
                <a:ea typeface="+mn-ea"/>
                <a:cs typeface="+mn-cs"/>
              </a:rPr>
              <a:t>Primary server</a:t>
            </a:r>
            <a:r>
              <a:rPr lang="en-US" sz="800" b="0" i="0" u="none" strike="noStrike" kern="1200" dirty="0">
                <a:solidFill>
                  <a:schemeClr val="tx1"/>
                </a:solidFill>
                <a:effectLst/>
                <a:latin typeface="Segoe UI Light" pitchFamily="34" charset="0"/>
                <a:ea typeface="+mn-ea"/>
                <a:cs typeface="+mn-cs"/>
              </a:rPr>
              <a:t>: A server that hosts the primary databases in the failover group.</a:t>
            </a:r>
          </a:p>
          <a:p>
            <a:r>
              <a:rPr lang="en-US" sz="800" b="1" i="0" u="none" strike="noStrike" kern="1200" dirty="0">
                <a:solidFill>
                  <a:schemeClr val="tx1"/>
                </a:solidFill>
                <a:effectLst/>
                <a:latin typeface="Segoe UI Light" pitchFamily="34" charset="0"/>
                <a:ea typeface="+mn-ea"/>
                <a:cs typeface="+mn-cs"/>
              </a:rPr>
              <a:t>Secondary server</a:t>
            </a:r>
            <a:r>
              <a:rPr lang="en-US" sz="800" b="0" i="0" u="none" strike="noStrike" kern="1200" dirty="0">
                <a:solidFill>
                  <a:schemeClr val="tx1"/>
                </a:solidFill>
                <a:effectLst/>
                <a:latin typeface="Segoe UI Light" pitchFamily="34" charset="0"/>
                <a:ea typeface="+mn-ea"/>
                <a:cs typeface="+mn-cs"/>
              </a:rPr>
              <a:t>: A server that hosts the secondary databases in the failover group. The secondary server cannot be in the same region as the primary server.</a:t>
            </a:r>
          </a:p>
          <a:p>
            <a:r>
              <a:rPr lang="en-US" sz="800" b="1" i="0" u="none" strike="noStrike" kern="1200" dirty="0">
                <a:solidFill>
                  <a:schemeClr val="tx1"/>
                </a:solidFill>
                <a:effectLst/>
                <a:latin typeface="Segoe UI Light" pitchFamily="34" charset="0"/>
                <a:ea typeface="+mn-ea"/>
                <a:cs typeface="+mn-cs"/>
              </a:rPr>
              <a:t>Adding databases to failover group</a:t>
            </a:r>
            <a:r>
              <a:rPr lang="en-US" sz="800" b="0" i="0" u="none" strike="noStrike" kern="1200" dirty="0">
                <a:solidFill>
                  <a:schemeClr val="tx1"/>
                </a:solidFill>
                <a:effectLst/>
                <a:latin typeface="Segoe UI Light" pitchFamily="34" charset="0"/>
                <a:ea typeface="+mn-ea"/>
                <a:cs typeface="+mn-cs"/>
              </a:rPr>
              <a:t>: You can put several databases within a server or within an elastic pool into the same failover group. If you add a standalone database to the group, it automatically creates a secondary database using the same edition and performance level. If the primary database is in an elastic pool, the secondary is automatically created in the elastic pool with the same name. If you add a database that already has a secondary database in the secondary server, that geo-replication is inherited by the group.</a:t>
            </a:r>
          </a:p>
          <a:p>
            <a:endParaRPr lang="en-US" dirty="0"/>
          </a:p>
          <a:p>
            <a:r>
              <a:rPr lang="en-US" sz="800" b="1" i="0" u="none" strike="noStrike" kern="1200" dirty="0">
                <a:solidFill>
                  <a:schemeClr val="tx1"/>
                </a:solidFill>
                <a:effectLst/>
                <a:latin typeface="Segoe UI Light" pitchFamily="34" charset="0"/>
                <a:ea typeface="+mn-ea"/>
                <a:cs typeface="+mn-cs"/>
              </a:rPr>
              <a:t>Failover group read-write listener</a:t>
            </a:r>
            <a:r>
              <a:rPr lang="en-US" sz="800" b="0" i="0" u="none" strike="noStrike" kern="1200" dirty="0">
                <a:solidFill>
                  <a:schemeClr val="tx1"/>
                </a:solidFill>
                <a:effectLst/>
                <a:latin typeface="Segoe UI Light" pitchFamily="34" charset="0"/>
                <a:ea typeface="+mn-ea"/>
                <a:cs typeface="+mn-cs"/>
              </a:rPr>
              <a:t>: A DNS CNAME record formed as </a:t>
            </a:r>
            <a:r>
              <a:rPr lang="en-US" sz="800" b="1" i="0" u="none" strike="noStrike" kern="1200" dirty="0">
                <a:solidFill>
                  <a:schemeClr val="tx1"/>
                </a:solidFill>
                <a:effectLst/>
                <a:latin typeface="Segoe UI Light" pitchFamily="34" charset="0"/>
                <a:ea typeface="+mn-ea"/>
                <a:cs typeface="+mn-cs"/>
              </a:rPr>
              <a:t>&lt;failover-group-name&gt;.database.windows.net</a:t>
            </a:r>
            <a:r>
              <a:rPr lang="en-US" sz="800" b="0" i="0" u="none" strike="noStrike" kern="1200" dirty="0">
                <a:solidFill>
                  <a:schemeClr val="tx1"/>
                </a:solidFill>
                <a:effectLst/>
                <a:latin typeface="Segoe UI Light" pitchFamily="34" charset="0"/>
                <a:ea typeface="+mn-ea"/>
                <a:cs typeface="+mn-cs"/>
              </a:rPr>
              <a:t> that points to the current primary server URL. It allows the read-write SQL applications to transparently reconnect to the primary database when the primary changes after failover. </a:t>
            </a:r>
          </a:p>
          <a:p>
            <a:r>
              <a:rPr lang="en-US" sz="800" b="1" i="0" u="none" strike="noStrike" kern="1200" dirty="0">
                <a:solidFill>
                  <a:schemeClr val="tx1"/>
                </a:solidFill>
                <a:effectLst/>
                <a:latin typeface="Segoe UI Light" pitchFamily="34" charset="0"/>
                <a:ea typeface="+mn-ea"/>
                <a:cs typeface="+mn-cs"/>
              </a:rPr>
              <a:t>Failover group read-only listener</a:t>
            </a:r>
            <a:r>
              <a:rPr lang="en-US" sz="800" b="0" i="0" u="none" strike="noStrike" kern="1200" dirty="0">
                <a:solidFill>
                  <a:schemeClr val="tx1"/>
                </a:solidFill>
                <a:effectLst/>
                <a:latin typeface="Segoe UI Light" pitchFamily="34" charset="0"/>
                <a:ea typeface="+mn-ea"/>
                <a:cs typeface="+mn-cs"/>
              </a:rPr>
              <a:t>: A DNS CNAME record formed as </a:t>
            </a:r>
            <a:r>
              <a:rPr lang="en-US" sz="800" b="1" i="0" u="none" strike="noStrike" kern="1200" dirty="0">
                <a:solidFill>
                  <a:schemeClr val="tx1"/>
                </a:solidFill>
                <a:effectLst/>
                <a:latin typeface="Segoe UI Light" pitchFamily="34" charset="0"/>
                <a:ea typeface="+mn-ea"/>
                <a:cs typeface="+mn-cs"/>
              </a:rPr>
              <a:t>&lt;failover-group-name&gt;.secondary.database.windows.net</a:t>
            </a:r>
            <a:r>
              <a:rPr lang="en-US" sz="800" b="0" i="0" u="none" strike="noStrike" kern="1200" dirty="0">
                <a:solidFill>
                  <a:schemeClr val="tx1"/>
                </a:solidFill>
                <a:effectLst/>
                <a:latin typeface="Segoe UI Light" pitchFamily="34" charset="0"/>
                <a:ea typeface="+mn-ea"/>
                <a:cs typeface="+mn-cs"/>
              </a:rPr>
              <a:t> that points to the secondary server’s URL. It allows the read-only SQL applications to transparently connect to the secondary database using the specified load-balancing rules. </a:t>
            </a:r>
          </a:p>
          <a:p>
            <a:r>
              <a:rPr lang="en-US" sz="800" b="1" i="0" u="none" strike="noStrike" kern="1200" dirty="0">
                <a:solidFill>
                  <a:schemeClr val="tx1"/>
                </a:solidFill>
                <a:effectLst/>
                <a:latin typeface="Segoe UI Light" pitchFamily="34" charset="0"/>
                <a:ea typeface="+mn-ea"/>
                <a:cs typeface="+mn-cs"/>
              </a:rPr>
              <a:t>Automatic failover policy</a:t>
            </a:r>
            <a:r>
              <a:rPr lang="en-US" sz="800" b="0" i="0" u="none" strike="noStrike" kern="1200" dirty="0">
                <a:solidFill>
                  <a:schemeClr val="tx1"/>
                </a:solidFill>
                <a:effectLst/>
                <a:latin typeface="Segoe UI Light" pitchFamily="34" charset="0"/>
                <a:ea typeface="+mn-ea"/>
                <a:cs typeface="+mn-cs"/>
              </a:rPr>
              <a:t>: By default, the failover group is configured with an automatic failover policy. The system triggers failover after the failure is detected and the grace period has expired. The system must verify that the outage cannot be mitigated by the built-in high availability infrastructure of the SQL Database service due the scale of the impact. If you want to control the failover workflow from the application, you can turn off automatic failover. </a:t>
            </a:r>
          </a:p>
          <a:p>
            <a:r>
              <a:rPr lang="en-US" sz="800" b="1" i="0" u="none" strike="noStrike" kern="1200" dirty="0">
                <a:solidFill>
                  <a:schemeClr val="tx1"/>
                </a:solidFill>
                <a:effectLst/>
                <a:latin typeface="Segoe UI Light" pitchFamily="34" charset="0"/>
                <a:ea typeface="+mn-ea"/>
                <a:cs typeface="+mn-cs"/>
              </a:rPr>
              <a:t>Read-only failover policy</a:t>
            </a:r>
            <a:r>
              <a:rPr lang="en-US" sz="800" b="0" i="0" u="none" strike="noStrike" kern="1200" dirty="0">
                <a:solidFill>
                  <a:schemeClr val="tx1"/>
                </a:solidFill>
                <a:effectLst/>
                <a:latin typeface="Segoe UI Light" pitchFamily="34" charset="0"/>
                <a:ea typeface="+mn-ea"/>
                <a:cs typeface="+mn-cs"/>
              </a:rPr>
              <a:t>: By default, the failover of the read-only listener is disabled. It ensures that the performance of the primary is not impacted when the secondary is offline. However, it also means the read-only sessions will not be able to connect until the secondary is recovered. If you cannot tolerate downtime for the </a:t>
            </a:r>
            <a:r>
              <a:rPr lang="en-US" sz="800" b="0" i="0" u="none" strike="noStrike" kern="1200" dirty="0" err="1">
                <a:solidFill>
                  <a:schemeClr val="tx1"/>
                </a:solidFill>
                <a:effectLst/>
                <a:latin typeface="Segoe UI Light" pitchFamily="34" charset="0"/>
                <a:ea typeface="+mn-ea"/>
                <a:cs typeface="+mn-cs"/>
              </a:rPr>
              <a:t>readonly</a:t>
            </a:r>
            <a:r>
              <a:rPr lang="en-US" sz="800" b="0" i="0" u="none" strike="noStrike" kern="1200" dirty="0">
                <a:solidFill>
                  <a:schemeClr val="tx1"/>
                </a:solidFill>
                <a:effectLst/>
                <a:latin typeface="Segoe UI Light" pitchFamily="34" charset="0"/>
                <a:ea typeface="+mn-ea"/>
                <a:cs typeface="+mn-cs"/>
              </a:rPr>
              <a:t> sessions and are OK to temporarily use the primary for both read-only and read-write traffic at the expense of the potential performance degradation of the primary, you can enable failover for the read-only listener. In that case the read-only traffic will be automatically redirected to the primary server if the secondary server is not available. </a:t>
            </a:r>
          </a:p>
          <a:p>
            <a:r>
              <a:rPr lang="en-US" sz="800" b="1" i="0" u="none" strike="noStrike" kern="1200" dirty="0">
                <a:solidFill>
                  <a:schemeClr val="tx1"/>
                </a:solidFill>
                <a:effectLst/>
                <a:latin typeface="Segoe UI Light" pitchFamily="34" charset="0"/>
                <a:ea typeface="+mn-ea"/>
                <a:cs typeface="+mn-cs"/>
              </a:rPr>
              <a:t>Manual failover</a:t>
            </a:r>
            <a:r>
              <a:rPr lang="en-US" sz="800" b="0" i="0" u="none" strike="noStrike" kern="1200" dirty="0">
                <a:solidFill>
                  <a:schemeClr val="tx1"/>
                </a:solidFill>
                <a:effectLst/>
                <a:latin typeface="Segoe UI Light" pitchFamily="34" charset="0"/>
                <a:ea typeface="+mn-ea"/>
                <a:cs typeface="+mn-cs"/>
              </a:rPr>
              <a:t>: You can initiate failover manually at any time regardless of the automatic failover configuration. If automatic failover policy is not configured, manual failover is required to recover databases in the failover group. You can initiate forced or friendly failover (with full data synchronization). The latter could be used to relocate the active server to the primary region. When failover is completed, the DNS records are automatically updated to ensure connectivity to the correct server.</a:t>
            </a:r>
          </a:p>
          <a:p>
            <a:r>
              <a:rPr lang="en-US" sz="800" b="1" i="0" u="none" strike="noStrike" kern="1200" dirty="0">
                <a:solidFill>
                  <a:schemeClr val="tx1"/>
                </a:solidFill>
                <a:effectLst/>
                <a:latin typeface="Segoe UI Light" pitchFamily="34" charset="0"/>
                <a:ea typeface="+mn-ea"/>
                <a:cs typeface="+mn-cs"/>
              </a:rPr>
              <a:t>Grace period with data loss</a:t>
            </a:r>
            <a:r>
              <a:rPr lang="en-US" sz="800" b="0" i="0" u="none" strike="noStrike" kern="1200" dirty="0">
                <a:solidFill>
                  <a:schemeClr val="tx1"/>
                </a:solidFill>
                <a:effectLst/>
                <a:latin typeface="Segoe UI Light" pitchFamily="34" charset="0"/>
                <a:ea typeface="+mn-ea"/>
                <a:cs typeface="+mn-cs"/>
              </a:rPr>
              <a:t>: Because the primary and secondary databases are synchronized using asynchronous replication, the failover may result in data loss. You can customize the automatic failover policy to reflect your application’s tolerance to data loss. By configuring </a:t>
            </a:r>
            <a:r>
              <a:rPr lang="en-US" sz="800" b="1" i="0" u="none" strike="noStrike" kern="1200" dirty="0" err="1">
                <a:solidFill>
                  <a:schemeClr val="tx1"/>
                </a:solidFill>
                <a:effectLst/>
                <a:latin typeface="Segoe UI Light" pitchFamily="34" charset="0"/>
                <a:ea typeface="+mn-ea"/>
                <a:cs typeface="+mn-cs"/>
              </a:rPr>
              <a:t>GracePeriodWithDataLossHours</a:t>
            </a:r>
            <a:r>
              <a:rPr lang="en-US" sz="800" b="0" i="0" u="none" strike="noStrike" kern="1200" dirty="0">
                <a:solidFill>
                  <a:schemeClr val="tx1"/>
                </a:solidFill>
                <a:effectLst/>
                <a:latin typeface="Segoe UI Light" pitchFamily="34" charset="0"/>
                <a:ea typeface="+mn-ea"/>
                <a:cs typeface="+mn-cs"/>
              </a:rPr>
              <a:t>, you can control how long the system waits before initiating the failover that is likely to result data loss. </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a:p>
        </p:txBody>
      </p:sp>
    </p:spTree>
    <p:extLst>
      <p:ext uri="{BB962C8B-B14F-4D97-AF65-F5344CB8AC3E}">
        <p14:creationId xmlns:p14="http://schemas.microsoft.com/office/powerpoint/2010/main" val="34707512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kern="1200" dirty="0">
                <a:solidFill>
                  <a:schemeClr val="tx1"/>
                </a:solidFill>
                <a:effectLst/>
                <a:latin typeface="Segoe UI Light" pitchFamily="34" charset="0"/>
                <a:ea typeface="+mn-ea"/>
                <a:cs typeface="+mn-cs"/>
              </a:rPr>
              <a:t>Accelerated Database Recovery (ADR)</a:t>
            </a:r>
            <a:r>
              <a:rPr lang="en-US" sz="800" b="0" i="0" kern="1200" dirty="0">
                <a:solidFill>
                  <a:schemeClr val="tx1"/>
                </a:solidFill>
                <a:effectLst/>
                <a:latin typeface="Segoe UI Light" pitchFamily="34" charset="0"/>
                <a:ea typeface="+mn-ea"/>
                <a:cs typeface="+mn-cs"/>
              </a:rPr>
              <a:t> is a new SQL database engine feature that greatly improves database availability, especially in the presence of long running transactions, by redesigning the SQL database engine recovery process. ADR is currently available for single databases and pooled databases in Azure SQL Database, and databases in Azure SQL Data Warehouse (currently in public preview). The primary benefits of ADR are:</a:t>
            </a:r>
          </a:p>
          <a:p>
            <a:r>
              <a:rPr lang="en-US" sz="800" b="1" i="0" kern="1200" dirty="0">
                <a:solidFill>
                  <a:schemeClr val="tx1"/>
                </a:solidFill>
                <a:effectLst/>
                <a:latin typeface="Segoe UI Light" pitchFamily="34" charset="0"/>
                <a:ea typeface="+mn-ea"/>
                <a:cs typeface="+mn-cs"/>
              </a:rPr>
              <a:t>Fast and consistent database recovery</a:t>
            </a:r>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With ADR, long running transactions do not impact the overall recovery time, enabling fast and consistent database recovery irrespective of the number of active transactions in the system or their sizes.</a:t>
            </a:r>
          </a:p>
          <a:p>
            <a:r>
              <a:rPr lang="en-US" sz="800" b="1" i="0" kern="1200" dirty="0">
                <a:solidFill>
                  <a:schemeClr val="tx1"/>
                </a:solidFill>
                <a:effectLst/>
                <a:latin typeface="Segoe UI Light" pitchFamily="34" charset="0"/>
                <a:ea typeface="+mn-ea"/>
                <a:cs typeface="+mn-cs"/>
              </a:rPr>
              <a:t>Instantaneous transaction rollback</a:t>
            </a:r>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With ADR, transaction rollback is instantaneous, irrespective of the time that the transaction has been active or the number of updates that has performed.</a:t>
            </a:r>
          </a:p>
          <a:p>
            <a:r>
              <a:rPr lang="en-US" sz="800" b="1" i="0" kern="1200" dirty="0">
                <a:solidFill>
                  <a:schemeClr val="tx1"/>
                </a:solidFill>
                <a:effectLst/>
                <a:latin typeface="Segoe UI Light" pitchFamily="34" charset="0"/>
                <a:ea typeface="+mn-ea"/>
                <a:cs typeface="+mn-cs"/>
              </a:rPr>
              <a:t>Aggressive log truncation</a:t>
            </a:r>
            <a:endParaRPr lang="en-US" sz="800" b="0" i="0" kern="1200" dirty="0">
              <a:solidFill>
                <a:schemeClr val="tx1"/>
              </a:solidFill>
              <a:effectLst/>
              <a:latin typeface="Segoe UI Light" pitchFamily="34" charset="0"/>
              <a:ea typeface="+mn-ea"/>
              <a:cs typeface="+mn-cs"/>
            </a:endParaRPr>
          </a:p>
          <a:p>
            <a:r>
              <a:rPr lang="en-US" sz="800" b="0" i="0" kern="1200" dirty="0">
                <a:solidFill>
                  <a:schemeClr val="tx1"/>
                </a:solidFill>
                <a:effectLst/>
                <a:latin typeface="Segoe UI Light" pitchFamily="34" charset="0"/>
                <a:ea typeface="+mn-ea"/>
                <a:cs typeface="+mn-cs"/>
              </a:rPr>
              <a:t>With ADR, the transaction log is aggressively truncated, even in the presence of active long running transactions, which prevents it from growing out of control.</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a:p>
        </p:txBody>
      </p:sp>
    </p:spTree>
    <p:extLst>
      <p:ext uri="{BB962C8B-B14F-4D97-AF65-F5344CB8AC3E}">
        <p14:creationId xmlns:p14="http://schemas.microsoft.com/office/powerpoint/2010/main" val="27817184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hlinkClick r:id="rId3"/>
              </a:rPr>
              <a:t>https://docs.microsoft.com/en-us/azure/sql-database/sql-database-high-availability</a:t>
            </a:r>
            <a:endParaRPr lang="en-US" sz="1600" dirty="0"/>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Standard availability refers to 99.99% SLA that is applied in Standard/Basic/General Purpose tiers. Availability is achieved by separation of compute and storage layers. In the standard availability model we have two layers:</a:t>
            </a:r>
          </a:p>
          <a:p>
            <a:r>
              <a:rPr lang="en-US" sz="800" b="0" i="0" u="none" strike="noStrike" kern="1200" dirty="0">
                <a:solidFill>
                  <a:schemeClr val="tx1"/>
                </a:solidFill>
                <a:effectLst/>
                <a:latin typeface="Segoe UI Light" pitchFamily="34" charset="0"/>
                <a:ea typeface="+mn-ea"/>
                <a:cs typeface="+mn-cs"/>
              </a:rPr>
              <a:t>A stateless compute layer that is running the sqlserver.exe process and contains only transient and cached data (for example – plan cache, buffer pool, column store pool). This stateless SQL Server node is operated by Azure Service Fabric that initializes process, controls health of the node, and performs failover to another place if necessary.</a:t>
            </a:r>
          </a:p>
          <a:p>
            <a:r>
              <a:rPr lang="en-US" sz="800" b="0" i="0" u="none" strike="noStrike" kern="1200" dirty="0">
                <a:solidFill>
                  <a:schemeClr val="tx1"/>
                </a:solidFill>
                <a:effectLst/>
                <a:latin typeface="Segoe UI Light" pitchFamily="34" charset="0"/>
                <a:ea typeface="+mn-ea"/>
                <a:cs typeface="+mn-cs"/>
              </a:rPr>
              <a:t>A stateful data layer with database files (.</a:t>
            </a:r>
            <a:r>
              <a:rPr lang="en-US" sz="800" b="0" i="0" u="none" strike="noStrike" kern="1200" dirty="0" err="1">
                <a:solidFill>
                  <a:schemeClr val="tx1"/>
                </a:solidFill>
                <a:effectLst/>
                <a:latin typeface="Segoe UI Light" pitchFamily="34" charset="0"/>
                <a:ea typeface="+mn-ea"/>
                <a:cs typeface="+mn-cs"/>
              </a:rPr>
              <a:t>mdf</a:t>
            </a:r>
            <a:r>
              <a:rPr lang="en-US" sz="800" b="0" i="0" u="none" strike="noStrike" kern="1200" dirty="0">
                <a:solidFill>
                  <a:schemeClr val="tx1"/>
                </a:solidFill>
                <a:effectLst/>
                <a:latin typeface="Segoe UI Light" pitchFamily="34" charset="0"/>
                <a:ea typeface="+mn-ea"/>
                <a:cs typeface="+mn-cs"/>
              </a:rPr>
              <a:t>/.</a:t>
            </a:r>
            <a:r>
              <a:rPr lang="en-US" sz="800" b="0" i="0" u="none" strike="noStrike" kern="1200" dirty="0" err="1">
                <a:solidFill>
                  <a:schemeClr val="tx1"/>
                </a:solidFill>
                <a:effectLst/>
                <a:latin typeface="Segoe UI Light" pitchFamily="34" charset="0"/>
                <a:ea typeface="+mn-ea"/>
                <a:cs typeface="+mn-cs"/>
              </a:rPr>
              <a:t>ldf</a:t>
            </a:r>
            <a:r>
              <a:rPr lang="en-US" sz="800" b="0" i="0" u="none" strike="noStrike" kern="1200" dirty="0">
                <a:solidFill>
                  <a:schemeClr val="tx1"/>
                </a:solidFill>
                <a:effectLst/>
                <a:latin typeface="Segoe UI Light" pitchFamily="34" charset="0"/>
                <a:ea typeface="+mn-ea"/>
                <a:cs typeface="+mn-cs"/>
              </a:rPr>
              <a:t>) that are stored in Azure Premium Storage Disks. Azure Storage guarantees that there will be no data loss of any record that is placed in any database file. Azure Storage has built-in data availability/redundancy that ensures that every record in log file or page in data file will be preserved even if SQL Server process crashes.</a:t>
            </a:r>
          </a:p>
          <a:p>
            <a:r>
              <a:rPr lang="en-US" sz="800" b="0" i="0" u="none" strike="noStrike" kern="1200" dirty="0">
                <a:solidFill>
                  <a:schemeClr val="tx1"/>
                </a:solidFill>
                <a:effectLst/>
                <a:latin typeface="Segoe UI Light" pitchFamily="34" charset="0"/>
                <a:ea typeface="+mn-ea"/>
                <a:cs typeface="+mn-cs"/>
              </a:rPr>
              <a:t>Whenever database engine or operating system is upgraded, or if some critical issue is detected in </a:t>
            </a:r>
            <a:r>
              <a:rPr lang="en-US" sz="800" b="0" i="0" u="none" strike="noStrike" kern="1200" dirty="0" err="1">
                <a:solidFill>
                  <a:schemeClr val="tx1"/>
                </a:solidFill>
                <a:effectLst/>
                <a:latin typeface="Segoe UI Light" pitchFamily="34" charset="0"/>
                <a:ea typeface="+mn-ea"/>
                <a:cs typeface="+mn-cs"/>
              </a:rPr>
              <a:t>Sql</a:t>
            </a:r>
            <a:r>
              <a:rPr lang="en-US" sz="800" b="0" i="0" u="none" strike="noStrike" kern="1200" dirty="0">
                <a:solidFill>
                  <a:schemeClr val="tx1"/>
                </a:solidFill>
                <a:effectLst/>
                <a:latin typeface="Segoe UI Light" pitchFamily="34" charset="0"/>
                <a:ea typeface="+mn-ea"/>
                <a:cs typeface="+mn-cs"/>
              </a:rPr>
              <a:t> Server process, Azure Service Fabric will move the stateless SQL Server process to another stateless compute node. Data in Azure Storage layer is not affected, and data/log files are attached to newly initialized SQL Server process. Expected failover time can be measured in seconds. This process guarantees 99.99% availability, but it might have some performance impacts on heavy workload that are running due to transition time and the fact the new SQL Server node starts with cold cache.</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93122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base/sql-database-accelerated-database-recovery</a:t>
            </a:r>
            <a:endParaRPr lang="en-US" dirty="0"/>
          </a:p>
          <a:p>
            <a:endParaRPr lang="en-US" b="0" dirty="0"/>
          </a:p>
          <a:p>
            <a:r>
              <a:rPr lang="en-US" b="0" dirty="0"/>
              <a:t>ADR provides versioning for the transaction log and allows for almost instantaneous recovery.  ADR has a direct impact on failovers to bring databases up quickly despite long running transactions.</a:t>
            </a:r>
          </a:p>
          <a:p>
            <a:endParaRPr lang="en-US" b="1" dirty="0"/>
          </a:p>
          <a:p>
            <a:r>
              <a:rPr lang="en-US" b="1" dirty="0"/>
              <a:t>Who should consider Accelerated Database Recovery</a:t>
            </a:r>
          </a:p>
          <a:p>
            <a:r>
              <a:rPr lang="en-US" dirty="0"/>
              <a:t>The following types of customers should consider enabling ADR:</a:t>
            </a:r>
          </a:p>
          <a:p>
            <a:r>
              <a:rPr lang="en-US" dirty="0"/>
              <a:t>Customers that have workloads with long running transactions.</a:t>
            </a:r>
          </a:p>
          <a:p>
            <a:r>
              <a:rPr lang="en-US" dirty="0"/>
              <a:t>Customers that have seen cases where active transactions are causing the transaction log to grow significantly.</a:t>
            </a:r>
          </a:p>
          <a:p>
            <a:r>
              <a:rPr lang="en-US" dirty="0"/>
              <a:t>Customers that have experienced long periods of database unavailability due to SQL Server long running recovery (such as unexpected SQL Server restart or manual transaction rollback).</a:t>
            </a:r>
          </a:p>
          <a:p>
            <a:endParaRPr lang="en-US" b="0" dirty="0"/>
          </a:p>
          <a:p>
            <a:r>
              <a:rPr lang="en-US" b="1" dirty="0"/>
              <a:t>Analysis phase</a:t>
            </a:r>
            <a:endParaRPr lang="en-US" dirty="0"/>
          </a:p>
          <a:p>
            <a:r>
              <a:rPr lang="en-US" dirty="0"/>
              <a:t>Forward scan of the transaction log from the beginning of the last successful checkpoint (or the oldest dirty page LSN) until the end, to determine the state of each transaction at the time SQL Server stopped.</a:t>
            </a:r>
          </a:p>
          <a:p>
            <a:r>
              <a:rPr lang="en-US" b="1" dirty="0"/>
              <a:t>Redo phase</a:t>
            </a:r>
            <a:endParaRPr lang="en-US" dirty="0"/>
          </a:p>
          <a:p>
            <a:r>
              <a:rPr lang="en-US" dirty="0"/>
              <a:t>Forward scan of the transaction log from the oldest uncommitted transaction until the end, to bring the database to the state it was at the time of the crash by redoing all committed operations.</a:t>
            </a:r>
          </a:p>
          <a:p>
            <a:r>
              <a:rPr lang="en-US" b="1" dirty="0"/>
              <a:t>Undo phase</a:t>
            </a:r>
            <a:endParaRPr lang="en-US" dirty="0"/>
          </a:p>
          <a:p>
            <a:r>
              <a:rPr lang="en-US" dirty="0"/>
              <a:t>For each transaction that was active as of the time of the crash, traverses the log backwards, undoing the operations that this transaction performed.</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a:p>
        </p:txBody>
      </p:sp>
    </p:spTree>
    <p:extLst>
      <p:ext uri="{BB962C8B-B14F-4D97-AF65-F5344CB8AC3E}">
        <p14:creationId xmlns:p14="http://schemas.microsoft.com/office/powerpoint/2010/main" val="17172250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nalysis phase</a:t>
            </a:r>
            <a:endParaRPr lang="en-US" dirty="0"/>
          </a:p>
          <a:p>
            <a:r>
              <a:rPr lang="en-US" dirty="0"/>
              <a:t>The process remains the same as today with the addition of reconstructing </a:t>
            </a:r>
            <a:r>
              <a:rPr lang="en-US" dirty="0" err="1"/>
              <a:t>sLog</a:t>
            </a:r>
            <a:r>
              <a:rPr lang="en-US" dirty="0"/>
              <a:t> and copying log records for non-versioned operations.</a:t>
            </a:r>
          </a:p>
          <a:p>
            <a:r>
              <a:rPr lang="en-US" b="1" dirty="0"/>
              <a:t>Redo</a:t>
            </a:r>
            <a:r>
              <a:rPr lang="en-US" dirty="0"/>
              <a:t> phase</a:t>
            </a:r>
          </a:p>
          <a:p>
            <a:r>
              <a:rPr lang="en-US" dirty="0"/>
              <a:t>Broken into two phases (P)</a:t>
            </a:r>
          </a:p>
          <a:p>
            <a:pPr lvl="1"/>
            <a:r>
              <a:rPr lang="en-US" dirty="0"/>
              <a:t>Phase 1</a:t>
            </a:r>
          </a:p>
          <a:p>
            <a:pPr lvl="1"/>
            <a:r>
              <a:rPr lang="en-US" dirty="0"/>
              <a:t>Redo from </a:t>
            </a:r>
            <a:r>
              <a:rPr lang="en-US" dirty="0" err="1"/>
              <a:t>sLog</a:t>
            </a:r>
            <a:r>
              <a:rPr lang="en-US" dirty="0"/>
              <a:t> (oldest uncommitted transaction up to last checkpoint). Redo is a fast operation as it only needs to process a few records from the </a:t>
            </a:r>
            <a:r>
              <a:rPr lang="en-US" dirty="0" err="1"/>
              <a:t>sLog</a:t>
            </a:r>
            <a:r>
              <a:rPr lang="en-US" dirty="0"/>
              <a:t>.</a:t>
            </a:r>
          </a:p>
          <a:p>
            <a:pPr lvl="1"/>
            <a:r>
              <a:rPr lang="en-US" dirty="0"/>
              <a:t>Phase 2</a:t>
            </a:r>
          </a:p>
          <a:p>
            <a:pPr lvl="1"/>
            <a:r>
              <a:rPr lang="en-US" dirty="0"/>
              <a:t>Redo from Transaction Log starts from last checkpoint (instead of oldest uncommitted transaction)</a:t>
            </a:r>
          </a:p>
          <a:p>
            <a:r>
              <a:rPr lang="en-US" b="1" dirty="0"/>
              <a:t>Undo phase</a:t>
            </a:r>
            <a:endParaRPr lang="en-US" dirty="0"/>
          </a:p>
          <a:p>
            <a:r>
              <a:rPr lang="en-US" dirty="0"/>
              <a:t>The Undo phase with ADR completes almost instantaneously by using </a:t>
            </a:r>
            <a:r>
              <a:rPr lang="en-US" dirty="0" err="1"/>
              <a:t>sLog</a:t>
            </a:r>
            <a:r>
              <a:rPr lang="en-US" dirty="0"/>
              <a:t> to undo non-versioned operations and Persisted Version Store (PVS) with Logical Revert to perform row level version-based Undo.</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31365165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a:buFont typeface="Arial" panose="020B0604020202020204" pitchFamily="34" charset="0"/>
              <a:buNone/>
            </a:pPr>
            <a:r>
              <a:rPr lang="en-US" sz="1800" dirty="0">
                <a:solidFill>
                  <a:srgbClr val="000000"/>
                </a:solidFill>
                <a:latin typeface="Consolas" panose="020B0609020204030204" pitchFamily="49" charset="0"/>
              </a:rPr>
              <a:t>M03L02Demo01</a:t>
            </a:r>
          </a:p>
          <a:p>
            <a:pPr>
              <a:buFont typeface="Arial" panose="020B0604020202020204" pitchFamily="34" charset="0"/>
              <a:buNone/>
            </a:pPr>
            <a:endParaRPr lang="en-US" b="1" dirty="0"/>
          </a:p>
          <a:p>
            <a:pPr>
              <a:buFont typeface="Arial" panose="020B0604020202020204" pitchFamily="34" charset="0"/>
              <a:buNone/>
            </a:pPr>
            <a:r>
              <a:rPr lang="en-US" b="1" dirty="0"/>
              <a:t>Demo requirements</a:t>
            </a:r>
          </a:p>
          <a:p>
            <a:pPr>
              <a:buFont typeface="Arial" panose="020B0604020202020204" pitchFamily="34" charset="0"/>
              <a:buNone/>
            </a:pPr>
            <a:r>
              <a:rPr lang="en-US" b="0" dirty="0"/>
              <a:t>Make sure that the </a:t>
            </a:r>
            <a:r>
              <a:rPr lang="en-US" b="0" dirty="0" err="1"/>
              <a:t>salesdb</a:t>
            </a:r>
            <a:r>
              <a:rPr lang="en-US" b="0" dirty="0"/>
              <a:t> is available which was created during module 1</a:t>
            </a:r>
          </a:p>
          <a:p>
            <a:pPr>
              <a:buFont typeface="Arial" panose="020B0604020202020204" pitchFamily="34" charset="0"/>
              <a:buNone/>
            </a:pPr>
            <a:endParaRPr lang="en-US" b="0" dirty="0"/>
          </a:p>
          <a:p>
            <a:pPr>
              <a:buFont typeface="Arial" panose="020B0604020202020204" pitchFamily="34" charset="0"/>
              <a:buNone/>
            </a:pPr>
            <a:r>
              <a:rPr lang="en-US" b="1" dirty="0"/>
              <a:t>Demo steps:</a:t>
            </a:r>
            <a:endParaRPr lang="en-US" b="0" dirty="0"/>
          </a:p>
          <a:p>
            <a:pPr marL="228600" indent="-228600">
              <a:buFont typeface="Arial" panose="020B0604020202020204" pitchFamily="34" charset="0"/>
              <a:buAutoNum type="arabicPeriod"/>
            </a:pPr>
            <a:r>
              <a:rPr lang="en-US" b="0" dirty="0"/>
              <a:t>Open the Azure Portal and go to your database </a:t>
            </a:r>
            <a:r>
              <a:rPr lang="en-US" b="0" dirty="0" err="1"/>
              <a:t>salesdb</a:t>
            </a:r>
            <a:endParaRPr lang="en-US" b="0" dirty="0"/>
          </a:p>
          <a:p>
            <a:pPr marL="228600" indent="-228600">
              <a:buFont typeface="Arial" panose="020B0604020202020204" pitchFamily="34" charset="0"/>
              <a:buAutoNum type="arabicPeriod"/>
            </a:pPr>
            <a:r>
              <a:rPr lang="en-US" b="0" dirty="0"/>
              <a:t>Click Geo-Replication. You can see your primary region which is the region where your current database is created. You will see all available target regions</a:t>
            </a:r>
          </a:p>
          <a:p>
            <a:pPr marL="228600" indent="-228600">
              <a:buFont typeface="Arial" panose="020B0604020202020204" pitchFamily="34" charset="0"/>
              <a:buAutoNum type="arabicPeriod"/>
            </a:pPr>
            <a:r>
              <a:rPr lang="en-US" b="0" dirty="0"/>
              <a:t>Select a Target Region</a:t>
            </a:r>
          </a:p>
          <a:p>
            <a:pPr marL="228600" indent="-228600">
              <a:buFont typeface="Arial" panose="020B0604020202020204" pitchFamily="34" charset="0"/>
              <a:buAutoNum type="arabicPeriod"/>
            </a:pPr>
            <a:r>
              <a:rPr lang="en-US" b="0" dirty="0"/>
              <a:t>In the “Create secondary” ribbon, click Target Server</a:t>
            </a:r>
          </a:p>
          <a:p>
            <a:pPr marL="228600" indent="-228600">
              <a:buFont typeface="Arial" panose="020B0604020202020204" pitchFamily="34" charset="0"/>
              <a:buAutoNum type="arabicPeriod"/>
            </a:pPr>
            <a:r>
              <a:rPr lang="en-US" b="0" dirty="0"/>
              <a:t>Create a new server</a:t>
            </a:r>
          </a:p>
          <a:p>
            <a:pPr marL="445862" lvl="1" indent="-228600">
              <a:buFont typeface="Arial" panose="020B0604020202020204" pitchFamily="34" charset="0"/>
              <a:buAutoNum type="arabicPeriod"/>
            </a:pPr>
            <a:r>
              <a:rPr lang="en-US" b="0" dirty="0"/>
              <a:t>Specify the server name</a:t>
            </a:r>
          </a:p>
          <a:p>
            <a:pPr marL="445862" lvl="1" indent="-228600">
              <a:buFont typeface="Arial" panose="020B0604020202020204" pitchFamily="34" charset="0"/>
              <a:buAutoNum type="arabicPeriod"/>
            </a:pPr>
            <a:r>
              <a:rPr lang="en-US" b="0" dirty="0"/>
              <a:t>Server admin login</a:t>
            </a:r>
          </a:p>
          <a:p>
            <a:pPr marL="445862" lvl="1" indent="-228600">
              <a:buFont typeface="Arial" panose="020B0604020202020204" pitchFamily="34" charset="0"/>
              <a:buAutoNum type="arabicPeriod"/>
            </a:pPr>
            <a:r>
              <a:rPr lang="en-US" b="0" dirty="0" err="1"/>
              <a:t>Passsword</a:t>
            </a:r>
            <a:endParaRPr lang="en-US" b="0" dirty="0"/>
          </a:p>
          <a:p>
            <a:pPr marL="228600" lvl="0" indent="-228600">
              <a:buFont typeface="Arial" panose="020B0604020202020204" pitchFamily="34" charset="0"/>
              <a:buAutoNum type="arabicPeriod"/>
            </a:pPr>
            <a:r>
              <a:rPr lang="en-US" b="0" dirty="0"/>
              <a:t>Do not specify elastic database pools</a:t>
            </a:r>
          </a:p>
          <a:p>
            <a:pPr marL="228600" lvl="0" indent="-228600">
              <a:buFont typeface="Arial" panose="020B0604020202020204" pitchFamily="34" charset="0"/>
              <a:buAutoNum type="arabicPeriod"/>
            </a:pPr>
            <a:r>
              <a:rPr lang="en-US" b="0" dirty="0"/>
              <a:t>Keep the suggested pricing tier</a:t>
            </a:r>
          </a:p>
          <a:p>
            <a:pPr marL="228600" lvl="0" indent="-228600">
              <a:buFont typeface="Arial" panose="020B0604020202020204" pitchFamily="34" charset="0"/>
              <a:buAutoNum type="arabicPeriod"/>
            </a:pPr>
            <a:r>
              <a:rPr lang="en-US" b="0" dirty="0"/>
              <a:t>Click OK and wait unit the synchronization is OK. The dashed blue line should become a full blue line</a:t>
            </a:r>
          </a:p>
          <a:p>
            <a:pPr marL="228600" lvl="0" indent="-228600">
              <a:buFont typeface="Arial" panose="020B0604020202020204" pitchFamily="34" charset="0"/>
              <a:buAutoNum type="arabicPeriod"/>
            </a:pPr>
            <a:r>
              <a:rPr lang="en-US" b="0" dirty="0"/>
              <a:t>During the synchronization, open SSMS and connect to your primary server and execute the following statement to follow the synchronization process</a:t>
            </a:r>
          </a:p>
          <a:p>
            <a:pPr marL="0" lvl="0" indent="0">
              <a:buFont typeface="Arial" panose="020B0604020202020204" pitchFamily="34" charset="0"/>
              <a:buNone/>
            </a:pPr>
            <a:r>
              <a:rPr lang="en-US" b="0" dirty="0"/>
              <a:t>	select * from </a:t>
            </a:r>
            <a:r>
              <a:rPr lang="en-US" b="0" dirty="0" err="1"/>
              <a:t>sys.dm_operation_status</a:t>
            </a:r>
            <a:endParaRPr lang="en-US" b="0" dirty="0"/>
          </a:p>
          <a:p>
            <a:pPr marL="0" lvl="0" indent="0">
              <a:buFont typeface="Arial" panose="020B0604020202020204" pitchFamily="34" charset="0"/>
              <a:buNone/>
            </a:pPr>
            <a:r>
              <a:rPr lang="en-US" b="0" dirty="0"/>
              <a:t>10. Once the synchronization is finished, you still have to configure the firewall rules on the target server. Add the Client IP address in the firewall rules of the secondary server</a:t>
            </a:r>
          </a:p>
          <a:p>
            <a:pPr marL="0" lvl="0" indent="0">
              <a:buFont typeface="Arial" panose="020B0604020202020204" pitchFamily="34" charset="0"/>
              <a:buNone/>
            </a:pPr>
            <a:r>
              <a:rPr lang="en-US" b="0" dirty="0"/>
              <a:t>11. Connect with SSMS to the secondary database and make a select statement on one of the tables to demonstrate that the secondary is readable.</a:t>
            </a:r>
          </a:p>
          <a:p>
            <a:pPr marL="0" lvl="0" indent="0">
              <a:buFont typeface="Arial" panose="020B0604020202020204" pitchFamily="34" charset="0"/>
              <a:buNone/>
            </a:pPr>
            <a:r>
              <a:rPr lang="en-US" b="0" dirty="0"/>
              <a:t>12. Also explain that a force failover is possible. Do not failover because the students will have to do this during the labs.</a:t>
            </a:r>
          </a:p>
          <a:p>
            <a:pPr marL="0" lvl="0" indent="0">
              <a:buFont typeface="Arial" panose="020B0604020202020204" pitchFamily="34" charset="0"/>
              <a:buNone/>
            </a:pPr>
            <a:endParaRPr lang="en-US" b="0" dirty="0"/>
          </a:p>
          <a:p>
            <a:pPr marL="0" indent="0">
              <a:buFont typeface="Arial" panose="020B0604020202020204" pitchFamily="34" charset="0"/>
              <a:buNone/>
            </a:pPr>
            <a:endParaRPr lang="en-US"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dirty="0">
                <a:solidFill>
                  <a:srgbClr val="000000"/>
                </a:solidFill>
                <a:latin typeface="Consolas" panose="020B0609020204030204" pitchFamily="49" charset="0"/>
              </a:rPr>
              <a:t>M03L02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Question 1: </a:t>
            </a:r>
            <a:r>
              <a:rPr lang="en-US" sz="900" dirty="0">
                <a:solidFill>
                  <a:srgbClr val="FFFFFF"/>
                </a:solidFill>
              </a:rPr>
              <a:t>True or false:  Can you configure both Synchronous and Asynchronous Replication for the replicas in Geo Replication</a:t>
            </a:r>
            <a:r>
              <a:rPr kumimoji="0" lang="en-US" sz="900" b="0" i="0" u="none" strike="noStrike" kern="1200" cap="none" spc="0" normalizeH="0" baseline="0" noProof="0" dirty="0">
                <a:ln>
                  <a:noFill/>
                </a:ln>
                <a:solidFill>
                  <a:srgbClr val="FFFFFF"/>
                </a:solidFill>
                <a:effectLst/>
                <a:uLnTx/>
                <a:uFillTx/>
                <a:latin typeface="+mn-lt"/>
                <a:ea typeface="+mn-ea"/>
                <a:cs typeface="+mn-cs"/>
              </a:rPr>
              <a:t>?</a:t>
            </a:r>
            <a:endParaRPr kumimoji="0" lang="EN-US" sz="900" b="0" i="0" u="none" strike="noStrike" kern="1200" cap="none" spc="0" normalizeH="0" baseline="0" noProof="0" dirty="0">
              <a:ln>
                <a:noFill/>
              </a:ln>
              <a:solidFill>
                <a:srgbClr val="FFFFFF"/>
              </a:solidFill>
              <a:effectLst/>
              <a:uLnTx/>
              <a:uFillTx/>
              <a:latin typeface="+mn-lt"/>
              <a:ea typeface="+mn-ea"/>
              <a:cs typeface="+mn-cs"/>
            </a:endParaRPr>
          </a:p>
          <a:p>
            <a:r>
              <a:rPr lang="en-US" dirty="0"/>
              <a:t>Answer 1 :</a:t>
            </a:r>
            <a:r>
              <a:rPr lang="en-US" baseline="0" dirty="0"/>
              <a:t> False</a:t>
            </a:r>
            <a:r>
              <a:rPr lang="en-US" dirty="0"/>
              <a:t> - Active Geo-Replication asynchronously replicates committed transactions from a database to up to four copies . No provision</a:t>
            </a:r>
            <a:r>
              <a:rPr lang="en-US" baseline="0" dirty="0"/>
              <a:t> to configure it as synchronous,</a:t>
            </a:r>
            <a:endParaRPr lang="en-US" dirty="0"/>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Question 2: </a:t>
            </a:r>
            <a:r>
              <a:rPr lang="en-US" sz="900" dirty="0">
                <a:solidFill>
                  <a:srgbClr val="FFFFFF"/>
                </a:solidFill>
              </a:rPr>
              <a:t>True or false: Both primary and secondary databases are required to have the same service tier?</a:t>
            </a:r>
            <a:endParaRPr kumimoji="0" lang="en-US" sz="900" b="0" i="0" u="none" strike="noStrike" kern="1200" cap="none" spc="0" normalizeH="0" baseline="0" noProof="0" dirty="0">
              <a:ln>
                <a:noFill/>
              </a:ln>
              <a:solidFill>
                <a:srgbClr val="505050"/>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swer 2: True</a:t>
            </a:r>
            <a:r>
              <a:rPr lang="en-US" baseline="0" dirty="0"/>
              <a:t> - </a:t>
            </a:r>
            <a:r>
              <a:rPr lang="en-US" dirty="0"/>
              <a:t>Both primary and secondary databases are required to have the same service tier. The performance level of the database can be changed within the service tie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Question 3: </a:t>
            </a:r>
            <a:r>
              <a:rPr lang="en-US" sz="900" dirty="0">
                <a:solidFill>
                  <a:srgbClr val="FFFFFF"/>
                </a:solidFill>
              </a:rPr>
              <a:t>What is the Grace period with data loss on the Failover Group?</a:t>
            </a:r>
            <a:endParaRPr kumimoji="0" lang="en-US" sz="900" b="0" i="0" u="none" strike="noStrike" kern="1200" cap="none" spc="0" normalizeH="0" baseline="0" noProof="0" dirty="0">
              <a:ln>
                <a:noFill/>
              </a:ln>
              <a:solidFill>
                <a:srgbClr val="505050"/>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nswer 3: Because the primary and secondary databases are synchronized using asynchronous replication, the failover may result in data loss. You can customize the automatic failover policy to reflect your application’s tolerance to data loss. By configuring </a:t>
            </a:r>
            <a:r>
              <a:rPr lang="en-US" dirty="0" err="1"/>
              <a:t>GracePeriodWithDataLossHours</a:t>
            </a:r>
            <a:r>
              <a:rPr lang="en-US" dirty="0"/>
              <a:t>, you can control how long the system waits before initiating the failover that is likely to result data loss. </a:t>
            </a:r>
          </a:p>
          <a:p>
            <a:endParaRPr lang="en-US" dirty="0"/>
          </a:p>
          <a:p>
            <a:endParaRPr lang="en-US" dirty="0"/>
          </a:p>
          <a:p>
            <a:pPr marL="217262" lvl="1" indent="0">
              <a:buNone/>
            </a:pPr>
            <a:endParaRPr lang="en-AU"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a:p>
        </p:txBody>
      </p:sp>
    </p:spTree>
    <p:extLst>
      <p:ext uri="{BB962C8B-B14F-4D97-AF65-F5344CB8AC3E}">
        <p14:creationId xmlns:p14="http://schemas.microsoft.com/office/powerpoint/2010/main" val="10019165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a:p>
        </p:txBody>
      </p:sp>
    </p:spTree>
    <p:extLst>
      <p:ext uri="{BB962C8B-B14F-4D97-AF65-F5344CB8AC3E}">
        <p14:creationId xmlns:p14="http://schemas.microsoft.com/office/powerpoint/2010/main" val="142263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Premium availability is enabled in Premium tier of Azure SQL Database and it is designed for intensive workloads that cannot tolerate any performance impact due to the ongoing maintenance operations.</a:t>
            </a:r>
          </a:p>
          <a:p>
            <a:r>
              <a:rPr lang="en-US" sz="800" b="0" i="0" u="none" strike="noStrike" kern="1200" dirty="0">
                <a:solidFill>
                  <a:schemeClr val="tx1"/>
                </a:solidFill>
                <a:effectLst/>
                <a:latin typeface="Segoe UI Light" pitchFamily="34" charset="0"/>
                <a:ea typeface="+mn-ea"/>
                <a:cs typeface="+mn-cs"/>
              </a:rPr>
              <a:t>In the premium model, Azure SQL database integrates compute and storage on the single node. Both the SQL Server Database Engine process and underlying </a:t>
            </a:r>
            <a:r>
              <a:rPr lang="en-US" sz="800" b="0" i="0" u="none" strike="noStrike" kern="1200" dirty="0" err="1">
                <a:solidFill>
                  <a:schemeClr val="tx1"/>
                </a:solidFill>
                <a:effectLst/>
                <a:latin typeface="Segoe UI Light" pitchFamily="34" charset="0"/>
                <a:ea typeface="+mn-ea"/>
                <a:cs typeface="+mn-cs"/>
              </a:rPr>
              <a:t>mdf</a:t>
            </a:r>
            <a:r>
              <a:rPr lang="en-US" sz="800" b="0" i="0" u="none" strike="noStrike" kern="1200" dirty="0">
                <a:solidFill>
                  <a:schemeClr val="tx1"/>
                </a:solidFill>
                <a:effectLst/>
                <a:latin typeface="Segoe UI Light" pitchFamily="34" charset="0"/>
                <a:ea typeface="+mn-ea"/>
                <a:cs typeface="+mn-cs"/>
              </a:rPr>
              <a:t>/</a:t>
            </a:r>
            <a:r>
              <a:rPr lang="en-US" sz="800" b="0" i="0" u="none" strike="noStrike" kern="1200" dirty="0" err="1">
                <a:solidFill>
                  <a:schemeClr val="tx1"/>
                </a:solidFill>
                <a:effectLst/>
                <a:latin typeface="Segoe UI Light" pitchFamily="34" charset="0"/>
                <a:ea typeface="+mn-ea"/>
                <a:cs typeface="+mn-cs"/>
              </a:rPr>
              <a:t>ldf</a:t>
            </a:r>
            <a:r>
              <a:rPr lang="en-US" sz="800" b="0" i="0" u="none" strike="noStrike" kern="1200" dirty="0">
                <a:solidFill>
                  <a:schemeClr val="tx1"/>
                </a:solidFill>
                <a:effectLst/>
                <a:latin typeface="Segoe UI Light" pitchFamily="34" charset="0"/>
                <a:ea typeface="+mn-ea"/>
                <a:cs typeface="+mn-cs"/>
              </a:rPr>
              <a:t> files are placed on the same node with locally attached SSD storage providing low latency to your workload.</a:t>
            </a:r>
          </a:p>
          <a:p>
            <a:r>
              <a:rPr lang="en-US" sz="800" b="0" i="0" u="none" strike="noStrike" kern="1200" dirty="0">
                <a:solidFill>
                  <a:schemeClr val="tx1"/>
                </a:solidFill>
                <a:effectLst/>
                <a:latin typeface="Segoe UI Light" pitchFamily="34" charset="0"/>
                <a:ea typeface="+mn-ea"/>
                <a:cs typeface="+mn-cs"/>
              </a:rPr>
              <a:t>High availability is implemented using standard </a:t>
            </a:r>
            <a:r>
              <a:rPr lang="en-US" sz="800" b="0" i="0" u="sng" strike="noStrike" kern="1200" dirty="0">
                <a:solidFill>
                  <a:schemeClr val="tx1"/>
                </a:solidFill>
                <a:effectLst/>
                <a:latin typeface="Segoe UI Light" pitchFamily="34" charset="0"/>
                <a:ea typeface="+mn-ea"/>
                <a:cs typeface="+mn-cs"/>
                <a:hlinkClick r:id="rId3"/>
              </a:rPr>
              <a:t>Always On Availability Groups</a:t>
            </a:r>
            <a:r>
              <a:rPr lang="en-US" sz="800" b="0" i="0" u="none" strike="noStrike" kern="1200" dirty="0">
                <a:solidFill>
                  <a:schemeClr val="tx1"/>
                </a:solidFill>
                <a:effectLst/>
                <a:latin typeface="Segoe UI Light" pitchFamily="34" charset="0"/>
                <a:ea typeface="+mn-ea"/>
                <a:cs typeface="+mn-cs"/>
              </a:rPr>
              <a:t>. Every database is a cluster of database nodes with one primary database that is accessible for customer workload, and a few secondary processes containing copies of data. The primary node constantly pushes the changes to secondary nodes in order to ensure that the data is available on secondary replicas if the primary node crashes for any reason. Failover is handled by the SQL Server Database Engine – one secondary replica becomes the primary node and a new secondary replica is created to ensure enough nodes in the cluster. The workload is automatically redirected to the new primary node. Failover time is measured in milliseconds and the new primary instance is immediately ready to continue serving requests.</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743488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kern="1200" dirty="0">
                <a:solidFill>
                  <a:schemeClr val="tx1"/>
                </a:solidFill>
                <a:effectLst/>
                <a:latin typeface="Segoe UI Light" pitchFamily="34" charset="0"/>
                <a:ea typeface="+mn-ea"/>
                <a:cs typeface="+mn-cs"/>
              </a:rPr>
              <a:t>For high availability, do I need to provision additional compute replicas</a:t>
            </a:r>
          </a:p>
          <a:p>
            <a:r>
              <a:rPr lang="en-US" sz="800" b="0" i="0" kern="1200" dirty="0">
                <a:solidFill>
                  <a:schemeClr val="tx1"/>
                </a:solidFill>
                <a:effectLst/>
                <a:latin typeface="Segoe UI Light" pitchFamily="34" charset="0"/>
                <a:ea typeface="+mn-ea"/>
                <a:cs typeface="+mn-cs"/>
              </a:rPr>
              <a:t>In Hyperscale databases, data resiliency is provided at the storage level. You only need one replica to provide resiliency. When the compute replica is down, a new replica is created automatically with no data loss.</a:t>
            </a:r>
          </a:p>
          <a:p>
            <a:r>
              <a:rPr lang="en-US" sz="800" b="0" i="0" kern="1200" dirty="0">
                <a:solidFill>
                  <a:schemeClr val="tx1"/>
                </a:solidFill>
                <a:effectLst/>
                <a:latin typeface="Segoe UI Light" pitchFamily="34" charset="0"/>
                <a:ea typeface="+mn-ea"/>
                <a:cs typeface="+mn-cs"/>
              </a:rPr>
              <a:t>However, if there’s only one replica, it may take some time to build the local cache in the new replica after failover. During the cache rebuild phase, the database fetches data directly from the page servers, resulting in higher storage latency and degraded query performance.</a:t>
            </a:r>
          </a:p>
          <a:p>
            <a:r>
              <a:rPr lang="en-US" sz="800" b="0" i="0" kern="1200" dirty="0">
                <a:solidFill>
                  <a:schemeClr val="tx1"/>
                </a:solidFill>
                <a:effectLst/>
                <a:latin typeface="Segoe UI Light" pitchFamily="34" charset="0"/>
                <a:ea typeface="+mn-ea"/>
                <a:cs typeface="+mn-cs"/>
              </a:rPr>
              <a:t>For mission-critical apps that require high availability with minimal failover impact, you should provision at least 2 compute replicas including the primary compute replica. This is the default configuration. That way there is a hot-standby replica available that serves as a failover targe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502365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By default, the quorum-set replicas for the local storage configurations are created in the same datacenter. With the introduction of </a:t>
            </a:r>
            <a:r>
              <a:rPr lang="en-US" sz="800" b="0" i="0" u="sng" strike="noStrike" kern="1200" dirty="0">
                <a:solidFill>
                  <a:schemeClr val="tx1"/>
                </a:solidFill>
                <a:effectLst/>
                <a:latin typeface="Segoe UI Light" pitchFamily="34" charset="0"/>
                <a:ea typeface="+mn-ea"/>
                <a:cs typeface="+mn-cs"/>
                <a:hlinkClick r:id="rId3"/>
              </a:rPr>
              <a:t>Azure Availability Zones</a:t>
            </a:r>
            <a:r>
              <a:rPr lang="en-US" sz="800" b="0" i="0" u="none" strike="noStrike" kern="1200" dirty="0">
                <a:solidFill>
                  <a:schemeClr val="tx1"/>
                </a:solidFill>
                <a:effectLst/>
                <a:latin typeface="Segoe UI Light" pitchFamily="34" charset="0"/>
                <a:ea typeface="+mn-ea"/>
                <a:cs typeface="+mn-cs"/>
              </a:rPr>
              <a:t>, you have the ability to place the different replicas in the quorum-sets to different availability zones in the same region. To eliminate a single point of failure, the control ring is also duplicated across multiple zones as three gateway rings (GW). The routing to a specific gateway ring is controlled by </a:t>
            </a:r>
            <a:r>
              <a:rPr lang="en-US" sz="800" b="0" i="0" u="sng" strike="noStrike" kern="1200" dirty="0">
                <a:solidFill>
                  <a:schemeClr val="tx1"/>
                </a:solidFill>
                <a:effectLst/>
                <a:latin typeface="Segoe UI Light" pitchFamily="34" charset="0"/>
                <a:ea typeface="+mn-ea"/>
                <a:cs typeface="+mn-cs"/>
                <a:hlinkClick r:id="rId4"/>
              </a:rPr>
              <a:t>Azure Traffic Manager</a:t>
            </a:r>
            <a:r>
              <a:rPr lang="en-US" sz="800" b="0" i="0" u="none" strike="noStrike" kern="1200" dirty="0">
                <a:solidFill>
                  <a:schemeClr val="tx1"/>
                </a:solidFill>
                <a:effectLst/>
                <a:latin typeface="Segoe UI Light" pitchFamily="34" charset="0"/>
                <a:ea typeface="+mn-ea"/>
                <a:cs typeface="+mn-cs"/>
              </a:rPr>
              <a:t> (ATM). Because the zone redundant configuration does not create additional database redundancy, the use of Availability Zones in the Premium or Business Critical service tiers is available at no extra cost. By selecting a zone redundant database, you can make your Premium or Business Critical databases resilient to a much larger set of failures, including catastrophic datacenter outages, without any changes of the application logic. You can also convert any existing Premium or Business Critical databases or pools to the zone redundant configuration.</a:t>
            </a:r>
          </a:p>
          <a:p>
            <a:r>
              <a:rPr lang="en-US" sz="800" b="0" i="0" u="none" strike="noStrike" kern="1200" dirty="0">
                <a:solidFill>
                  <a:schemeClr val="tx1"/>
                </a:solidFill>
                <a:effectLst/>
                <a:latin typeface="Segoe UI Light" pitchFamily="34" charset="0"/>
                <a:ea typeface="+mn-ea"/>
                <a:cs typeface="+mn-cs"/>
              </a:rPr>
              <a:t>Because the zone redundant quorum-set has replicas in different datacenters with some distance between them, the increased network latency may increase the commit time and thus impact the performance of some OLTP workloads. You can always return to the single-zone configuration by disabling the zone redundancy setting. This process is a size of data operation and is similar to the regular service level objective (SLO) update. At the end of the process, the database or pool is migrated from a zone redundant ring to a single zone ring or vice versa.</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4111114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r>
              <a:rPr lang="en-US" sz="800" b="0" i="0" u="none" strike="noStrike" kern="1200" dirty="0">
                <a:solidFill>
                  <a:schemeClr val="tx1"/>
                </a:solidFill>
                <a:effectLst/>
                <a:latin typeface="Segoe UI Light" pitchFamily="34" charset="0"/>
                <a:ea typeface="+mn-ea"/>
                <a:cs typeface="+mn-cs"/>
              </a:rPr>
              <a:t>SQL Database supports self-service for point-in-time restore (PITR) by automatically creating full backup, differential backups, and transaction log backups. Full database backups are created weekly, differential database backups are generally created every 12 hours, and transaction log backups are generally created every 5 - 10 minutes, with the frequency based on the performance level and amount of database activity. The first full backup is scheduled immediately after a database is created. It usually completes within 30 minutes, but it can take longer when the database is of a significant size. For example, the initial backup can take longer on a restored database or a database copy. After the first full backup, all further backups are scheduled automatically and managed silently in the background. The exact timing of all database backups is determined by the SQL Database service as it balances the overall system workload.</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181545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Azure SQL Database service provides automatic backup capabilities for all databases. The retention of these backups is dependent on the service tier the database is running in. For example, for a database running in the basic service tier, the backups are retained for seven days, while for standard and premium service tiers, the retention is </a:t>
            </a:r>
            <a:r>
              <a:rPr lang="en-US" baseline="0" dirty="0"/>
              <a:t>35</a:t>
            </a:r>
            <a:r>
              <a:rPr lang="en-US" dirty="0"/>
              <a:t> days. The database can be restored to any point in time within the retention period from the backups. These backups are stored locally and on a geo-redundant storage account with read access to the geo-copy.</a:t>
            </a: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54319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0" i="0" u="none" strike="noStrike" kern="1200" dirty="0">
                <a:solidFill>
                  <a:schemeClr val="tx1"/>
                </a:solidFill>
                <a:effectLst/>
                <a:latin typeface="Segoe UI Light" pitchFamily="34" charset="0"/>
                <a:ea typeface="+mn-ea"/>
                <a:cs typeface="+mn-cs"/>
              </a:rPr>
              <a:t>You can change the default retention using REST API or PowerShell. The supported values are: 7, 14, 21, 28 or 35 days. The examples illustrate how to change PITR retention to 28 days. </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40840010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hyperlink" Target="https://docs.microsoft.com/en-us/azure/sql-database/sql-database-automated-backups#how-long-are-backups-kept" TargetMode="External"/><Relationship Id="rId7" Type="http://schemas.openxmlformats.org/officeDocument/2006/relationships/diagramColors" Target="../diagrams/colors6.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xml"/><Relationship Id="rId1" Type="http://schemas.openxmlformats.org/officeDocument/2006/relationships/tags" Target="../tags/tag7.xml"/><Relationship Id="rId4" Type="http://schemas.openxmlformats.org/officeDocument/2006/relationships/image" Target="../media/image9.bin"/></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9.bin"/><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1.png"/><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2.jfif"/><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customXml" Target="../../customXml/item5.xml"/><Relationship Id="rId7" Type="http://schemas.openxmlformats.org/officeDocument/2006/relationships/image" Target="../media/image4.png"/><Relationship Id="rId2" Type="http://schemas.openxmlformats.org/officeDocument/2006/relationships/customXml" Target="../../customXml/item6.xml"/><Relationship Id="rId1" Type="http://schemas.openxmlformats.org/officeDocument/2006/relationships/tags" Target="../tags/tag14.xml"/><Relationship Id="rId6" Type="http://schemas.openxmlformats.org/officeDocument/2006/relationships/notesSlide" Target="../notesSlides/notesSlide23.xml"/><Relationship Id="rId5" Type="http://schemas.openxmlformats.org/officeDocument/2006/relationships/slideLayout" Target="../slideLayouts/slideLayout9.xml"/><Relationship Id="rId4" Type="http://schemas.openxmlformats.org/officeDocument/2006/relationships/tags" Target="../tags/tag15.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9.bin"/><Relationship Id="rId4" Type="http://schemas.openxmlformats.org/officeDocument/2006/relationships/notesSlide" Target="../notesSlides/notesSlide3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1.png"/><Relationship Id="rId4"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2.jfif"/><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36.xml"/><Relationship Id="rId1" Type="http://schemas.openxmlformats.org/officeDocument/2006/relationships/slideLayout" Target="../slideLayouts/slideLayout36.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4.png"/><Relationship Id="rId2" Type="http://schemas.openxmlformats.org/officeDocument/2006/relationships/customXml" Target="../../customXml/item9.xml"/><Relationship Id="rId1" Type="http://schemas.openxmlformats.org/officeDocument/2006/relationships/tags" Target="../tags/tag5.xml"/><Relationship Id="rId6" Type="http://schemas.openxmlformats.org/officeDocument/2006/relationships/notesSlide" Target="../notesSlides/notesSlide1.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Azure SQL Database Business Continuity</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3</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grpSp>
        <p:nvGrpSpPr>
          <p:cNvPr id="7" name="Group 6" descr="Azure SQL Database">
            <a:extLst>
              <a:ext uri="{FF2B5EF4-FFF2-40B4-BE49-F238E27FC236}">
                <a16:creationId xmlns:a16="http://schemas.microsoft.com/office/drawing/2014/main" id="{B638D320-553A-4988-B4DE-AF1FB6AC9B17}"/>
              </a:ext>
            </a:extLst>
          </p:cNvPr>
          <p:cNvGrpSpPr/>
          <p:nvPr/>
        </p:nvGrpSpPr>
        <p:grpSpPr>
          <a:xfrm>
            <a:off x="8637150" y="2546372"/>
            <a:ext cx="727319" cy="990490"/>
            <a:chOff x="6538960" y="5922128"/>
            <a:chExt cx="174418" cy="231818"/>
          </a:xfrm>
        </p:grpSpPr>
        <p:sp>
          <p:nvSpPr>
            <p:cNvPr id="8" name="Freeform: Shape 7">
              <a:extLst>
                <a:ext uri="{FF2B5EF4-FFF2-40B4-BE49-F238E27FC236}">
                  <a16:creationId xmlns:a16="http://schemas.microsoft.com/office/drawing/2014/main" id="{F89251BD-A5E9-4648-B425-AB5235154B6C}"/>
                </a:ext>
              </a:extLst>
            </p:cNvPr>
            <p:cNvSpPr/>
            <p:nvPr/>
          </p:nvSpPr>
          <p:spPr>
            <a:xfrm>
              <a:off x="6538960" y="5954027"/>
              <a:ext cx="87199" cy="199919"/>
            </a:xfrm>
            <a:custGeom>
              <a:avLst/>
              <a:gdLst>
                <a:gd name="connsiteX0" fmla="*/ 0 w 87199"/>
                <a:gd name="connsiteY0" fmla="*/ 0 h 199919"/>
                <a:gd name="connsiteX1" fmla="*/ 0 w 87199"/>
                <a:gd name="connsiteY1" fmla="*/ 168018 h 199919"/>
                <a:gd name="connsiteX2" fmla="*/ 87200 w 87199"/>
                <a:gd name="connsiteY2" fmla="*/ 199919 h 199919"/>
                <a:gd name="connsiteX3" fmla="*/ 87200 w 87199"/>
                <a:gd name="connsiteY3" fmla="*/ 0 h 199919"/>
                <a:gd name="connsiteX4" fmla="*/ 0 w 87199"/>
                <a:gd name="connsiteY4" fmla="*/ 0 h 19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99" h="199919">
                  <a:moveTo>
                    <a:pt x="0" y="0"/>
                  </a:moveTo>
                  <a:lnTo>
                    <a:pt x="0" y="168018"/>
                  </a:lnTo>
                  <a:cubicBezTo>
                    <a:pt x="0" y="185032"/>
                    <a:pt x="39346" y="199919"/>
                    <a:pt x="87200" y="199919"/>
                  </a:cubicBezTo>
                  <a:lnTo>
                    <a:pt x="87200" y="0"/>
                  </a:lnTo>
                  <a:lnTo>
                    <a:pt x="0" y="0"/>
                  </a:lnTo>
                  <a:close/>
                </a:path>
              </a:pathLst>
            </a:custGeom>
            <a:solidFill>
              <a:srgbClr val="3999C6"/>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AFD8465C-49ED-4366-A086-F3A033BAFEE7}"/>
                </a:ext>
              </a:extLst>
            </p:cNvPr>
            <p:cNvSpPr/>
            <p:nvPr/>
          </p:nvSpPr>
          <p:spPr>
            <a:xfrm>
              <a:off x="6625116" y="5954027"/>
              <a:ext cx="88262" cy="199919"/>
            </a:xfrm>
            <a:custGeom>
              <a:avLst/>
              <a:gdLst>
                <a:gd name="connsiteX0" fmla="*/ 0 w 88262"/>
                <a:gd name="connsiteY0" fmla="*/ 199919 h 199919"/>
                <a:gd name="connsiteX1" fmla="*/ 1063 w 88262"/>
                <a:gd name="connsiteY1" fmla="*/ 199919 h 199919"/>
                <a:gd name="connsiteX2" fmla="*/ 88262 w 88262"/>
                <a:gd name="connsiteY2" fmla="*/ 168018 h 199919"/>
                <a:gd name="connsiteX3" fmla="*/ 88262 w 88262"/>
                <a:gd name="connsiteY3" fmla="*/ 0 h 199919"/>
                <a:gd name="connsiteX4" fmla="*/ 0 w 88262"/>
                <a:gd name="connsiteY4" fmla="*/ 0 h 199919"/>
                <a:gd name="connsiteX5" fmla="*/ 0 w 88262"/>
                <a:gd name="connsiteY5" fmla="*/ 199919 h 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2" h="199919">
                  <a:moveTo>
                    <a:pt x="0" y="199919"/>
                  </a:moveTo>
                  <a:lnTo>
                    <a:pt x="1063" y="199919"/>
                  </a:lnTo>
                  <a:cubicBezTo>
                    <a:pt x="48917" y="199919"/>
                    <a:pt x="88262" y="185032"/>
                    <a:pt x="88262" y="168018"/>
                  </a:cubicBezTo>
                  <a:lnTo>
                    <a:pt x="88262" y="0"/>
                  </a:lnTo>
                  <a:lnTo>
                    <a:pt x="0" y="0"/>
                  </a:lnTo>
                  <a:lnTo>
                    <a:pt x="0" y="199919"/>
                  </a:lnTo>
                  <a:close/>
                </a:path>
              </a:pathLst>
            </a:custGeom>
            <a:solidFill>
              <a:srgbClr val="5A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23BBFACD-7D71-4AF5-A013-B0B87DE57E2F}"/>
                </a:ext>
              </a:extLst>
            </p:cNvPr>
            <p:cNvSpPr/>
            <p:nvPr/>
          </p:nvSpPr>
          <p:spPr>
            <a:xfrm>
              <a:off x="6538960" y="5922128"/>
              <a:ext cx="174398" cy="63804"/>
            </a:xfrm>
            <a:custGeom>
              <a:avLst/>
              <a:gdLst>
                <a:gd name="connsiteX0" fmla="*/ 174398 w 174398"/>
                <a:gd name="connsiteY0" fmla="*/ 31902 h 63804"/>
                <a:gd name="connsiteX1" fmla="*/ 87200 w 174398"/>
                <a:gd name="connsiteY1" fmla="*/ 63805 h 63804"/>
                <a:gd name="connsiteX2" fmla="*/ 0 w 174398"/>
                <a:gd name="connsiteY2" fmla="*/ 31902 h 63804"/>
                <a:gd name="connsiteX3" fmla="*/ 87200 w 174398"/>
                <a:gd name="connsiteY3" fmla="*/ 0 h 63804"/>
                <a:gd name="connsiteX4" fmla="*/ 174398 w 174398"/>
                <a:gd name="connsiteY4" fmla="*/ 31902 h 6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8" h="63804">
                  <a:moveTo>
                    <a:pt x="174398" y="31902"/>
                  </a:moveTo>
                  <a:cubicBezTo>
                    <a:pt x="174398" y="48917"/>
                    <a:pt x="135053" y="63805"/>
                    <a:pt x="87200" y="63805"/>
                  </a:cubicBezTo>
                  <a:cubicBezTo>
                    <a:pt x="39346" y="63805"/>
                    <a:pt x="0" y="48917"/>
                    <a:pt x="0" y="31902"/>
                  </a:cubicBezTo>
                  <a:cubicBezTo>
                    <a:pt x="0" y="14888"/>
                    <a:pt x="39346" y="0"/>
                    <a:pt x="87200" y="0"/>
                  </a:cubicBezTo>
                  <a:cubicBezTo>
                    <a:pt x="135053" y="0"/>
                    <a:pt x="174398" y="13825"/>
                    <a:pt x="174398" y="31902"/>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88362F3D-BD7E-4DDD-A7F3-C44DF5B8AFCE}"/>
                </a:ext>
              </a:extLst>
            </p:cNvPr>
            <p:cNvSpPr/>
            <p:nvPr/>
          </p:nvSpPr>
          <p:spPr>
            <a:xfrm>
              <a:off x="6557052" y="5930628"/>
              <a:ext cx="138242" cy="42536"/>
            </a:xfrm>
            <a:custGeom>
              <a:avLst/>
              <a:gdLst>
                <a:gd name="connsiteX0" fmla="*/ 138243 w 138242"/>
                <a:gd name="connsiteY0" fmla="*/ 21268 h 42536"/>
                <a:gd name="connsiteX1" fmla="*/ 69122 w 138242"/>
                <a:gd name="connsiteY1" fmla="*/ 42536 h 42536"/>
                <a:gd name="connsiteX2" fmla="*/ 0 w 138242"/>
                <a:gd name="connsiteY2" fmla="*/ 21268 h 42536"/>
                <a:gd name="connsiteX3" fmla="*/ 69122 w 138242"/>
                <a:gd name="connsiteY3" fmla="*/ 0 h 42536"/>
                <a:gd name="connsiteX4" fmla="*/ 138243 w 138242"/>
                <a:gd name="connsiteY4" fmla="*/ 21268 h 4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42" h="42536">
                  <a:moveTo>
                    <a:pt x="138243" y="21268"/>
                  </a:moveTo>
                  <a:cubicBezTo>
                    <a:pt x="138243" y="32966"/>
                    <a:pt x="107404" y="42536"/>
                    <a:pt x="69122" y="42536"/>
                  </a:cubicBezTo>
                  <a:cubicBezTo>
                    <a:pt x="30839" y="42536"/>
                    <a:pt x="0" y="32966"/>
                    <a:pt x="0" y="21268"/>
                  </a:cubicBezTo>
                  <a:cubicBezTo>
                    <a:pt x="0" y="9570"/>
                    <a:pt x="30839" y="0"/>
                    <a:pt x="69122" y="0"/>
                  </a:cubicBezTo>
                  <a:cubicBezTo>
                    <a:pt x="107404" y="0"/>
                    <a:pt x="138243" y="9570"/>
                    <a:pt x="138243" y="21268"/>
                  </a:cubicBezTo>
                  <a:close/>
                </a:path>
              </a:pathLst>
            </a:custGeom>
            <a:solidFill>
              <a:srgbClr val="7FBB42"/>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4D084A50-1E18-4F8B-AF34-00DD4857A736}"/>
                </a:ext>
              </a:extLst>
            </p:cNvPr>
            <p:cNvSpPr/>
            <p:nvPr/>
          </p:nvSpPr>
          <p:spPr>
            <a:xfrm>
              <a:off x="6558110" y="5930628"/>
              <a:ext cx="138242" cy="34028"/>
            </a:xfrm>
            <a:custGeom>
              <a:avLst/>
              <a:gdLst>
                <a:gd name="connsiteX0" fmla="*/ 123355 w 138242"/>
                <a:gd name="connsiteY0" fmla="*/ 34029 h 34028"/>
                <a:gd name="connsiteX1" fmla="*/ 138243 w 138242"/>
                <a:gd name="connsiteY1" fmla="*/ 21268 h 34028"/>
                <a:gd name="connsiteX2" fmla="*/ 69121 w 138242"/>
                <a:gd name="connsiteY2" fmla="*/ 0 h 34028"/>
                <a:gd name="connsiteX3" fmla="*/ 0 w 138242"/>
                <a:gd name="connsiteY3" fmla="*/ 20205 h 34028"/>
                <a:gd name="connsiteX4" fmla="*/ 13825 w 138242"/>
                <a:gd name="connsiteY4" fmla="*/ 32966 h 34028"/>
                <a:gd name="connsiteX5" fmla="*/ 69121 w 138242"/>
                <a:gd name="connsiteY5" fmla="*/ 24458 h 34028"/>
                <a:gd name="connsiteX6" fmla="*/ 123355 w 138242"/>
                <a:gd name="connsiteY6" fmla="*/ 34029 h 3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42" h="34028">
                  <a:moveTo>
                    <a:pt x="123355" y="34029"/>
                  </a:moveTo>
                  <a:cubicBezTo>
                    <a:pt x="131862" y="30839"/>
                    <a:pt x="138243" y="25522"/>
                    <a:pt x="138243" y="21268"/>
                  </a:cubicBezTo>
                  <a:cubicBezTo>
                    <a:pt x="138243" y="9570"/>
                    <a:pt x="107404" y="0"/>
                    <a:pt x="69121" y="0"/>
                  </a:cubicBezTo>
                  <a:cubicBezTo>
                    <a:pt x="30839" y="0"/>
                    <a:pt x="0" y="8508"/>
                    <a:pt x="0" y="20205"/>
                  </a:cubicBezTo>
                  <a:cubicBezTo>
                    <a:pt x="0" y="25522"/>
                    <a:pt x="5317" y="29775"/>
                    <a:pt x="13825" y="32966"/>
                  </a:cubicBezTo>
                  <a:cubicBezTo>
                    <a:pt x="26585" y="27648"/>
                    <a:pt x="46790" y="24458"/>
                    <a:pt x="69121" y="24458"/>
                  </a:cubicBezTo>
                  <a:cubicBezTo>
                    <a:pt x="90389" y="25522"/>
                    <a:pt x="110595" y="28712"/>
                    <a:pt x="123355" y="34029"/>
                  </a:cubicBezTo>
                  <a:close/>
                </a:path>
              </a:pathLst>
            </a:custGeom>
            <a:solidFill>
              <a:srgbClr val="B8D433"/>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F5213BF7-1AF6-407B-B020-4F8FACAD034A}"/>
                </a:ext>
              </a:extLst>
            </p:cNvPr>
            <p:cNvSpPr/>
            <p:nvPr/>
          </p:nvSpPr>
          <p:spPr>
            <a:xfrm>
              <a:off x="6560225" y="6021032"/>
              <a:ext cx="37219" cy="55297"/>
            </a:xfrm>
            <a:custGeom>
              <a:avLst/>
              <a:gdLst>
                <a:gd name="connsiteX0" fmla="*/ 0 w 37219"/>
                <a:gd name="connsiteY0" fmla="*/ 53171 h 55297"/>
                <a:gd name="connsiteX1" fmla="*/ 0 w 37219"/>
                <a:gd name="connsiteY1" fmla="*/ 41474 h 55297"/>
                <a:gd name="connsiteX2" fmla="*/ 6380 w 37219"/>
                <a:gd name="connsiteY2" fmla="*/ 45727 h 55297"/>
                <a:gd name="connsiteX3" fmla="*/ 13825 w 37219"/>
                <a:gd name="connsiteY3" fmla="*/ 46791 h 55297"/>
                <a:gd name="connsiteX4" fmla="*/ 18078 w 37219"/>
                <a:gd name="connsiteY4" fmla="*/ 45727 h 55297"/>
                <a:gd name="connsiteX5" fmla="*/ 21269 w 37219"/>
                <a:gd name="connsiteY5" fmla="*/ 44663 h 55297"/>
                <a:gd name="connsiteX6" fmla="*/ 22332 w 37219"/>
                <a:gd name="connsiteY6" fmla="*/ 42536 h 55297"/>
                <a:gd name="connsiteX7" fmla="*/ 23396 w 37219"/>
                <a:gd name="connsiteY7" fmla="*/ 40410 h 55297"/>
                <a:gd name="connsiteX8" fmla="*/ 22332 w 37219"/>
                <a:gd name="connsiteY8" fmla="*/ 37219 h 55297"/>
                <a:gd name="connsiteX9" fmla="*/ 20205 w 37219"/>
                <a:gd name="connsiteY9" fmla="*/ 35093 h 55297"/>
                <a:gd name="connsiteX10" fmla="*/ 17015 w 37219"/>
                <a:gd name="connsiteY10" fmla="*/ 32966 h 55297"/>
                <a:gd name="connsiteX11" fmla="*/ 12761 w 37219"/>
                <a:gd name="connsiteY11" fmla="*/ 30839 h 55297"/>
                <a:gd name="connsiteX12" fmla="*/ 3191 w 37219"/>
                <a:gd name="connsiteY12" fmla="*/ 24458 h 55297"/>
                <a:gd name="connsiteX13" fmla="*/ 0 w 37219"/>
                <a:gd name="connsiteY13" fmla="*/ 15952 h 55297"/>
                <a:gd name="connsiteX14" fmla="*/ 1064 w 37219"/>
                <a:gd name="connsiteY14" fmla="*/ 9571 h 55297"/>
                <a:gd name="connsiteX15" fmla="*/ 5318 w 37219"/>
                <a:gd name="connsiteY15" fmla="*/ 4254 h 55297"/>
                <a:gd name="connsiteX16" fmla="*/ 11698 w 37219"/>
                <a:gd name="connsiteY16" fmla="*/ 1064 h 55297"/>
                <a:gd name="connsiteX17" fmla="*/ 20205 w 37219"/>
                <a:gd name="connsiteY17" fmla="*/ 0 h 55297"/>
                <a:gd name="connsiteX18" fmla="*/ 27649 w 37219"/>
                <a:gd name="connsiteY18" fmla="*/ 1064 h 55297"/>
                <a:gd name="connsiteX19" fmla="*/ 34030 w 37219"/>
                <a:gd name="connsiteY19" fmla="*/ 2127 h 55297"/>
                <a:gd name="connsiteX20" fmla="*/ 34030 w 37219"/>
                <a:gd name="connsiteY20" fmla="*/ 12761 h 55297"/>
                <a:gd name="connsiteX21" fmla="*/ 30839 w 37219"/>
                <a:gd name="connsiteY21" fmla="*/ 11697 h 55297"/>
                <a:gd name="connsiteX22" fmla="*/ 27649 w 37219"/>
                <a:gd name="connsiteY22" fmla="*/ 10635 h 55297"/>
                <a:gd name="connsiteX23" fmla="*/ 24458 w 37219"/>
                <a:gd name="connsiteY23" fmla="*/ 9571 h 55297"/>
                <a:gd name="connsiteX24" fmla="*/ 21269 w 37219"/>
                <a:gd name="connsiteY24" fmla="*/ 9571 h 55297"/>
                <a:gd name="connsiteX25" fmla="*/ 18078 w 37219"/>
                <a:gd name="connsiteY25" fmla="*/ 9571 h 55297"/>
                <a:gd name="connsiteX26" fmla="*/ 15952 w 37219"/>
                <a:gd name="connsiteY26" fmla="*/ 10635 h 55297"/>
                <a:gd name="connsiteX27" fmla="*/ 13825 w 37219"/>
                <a:gd name="connsiteY27" fmla="*/ 11697 h 55297"/>
                <a:gd name="connsiteX28" fmla="*/ 12761 w 37219"/>
                <a:gd name="connsiteY28" fmla="*/ 13825 h 55297"/>
                <a:gd name="connsiteX29" fmla="*/ 13825 w 37219"/>
                <a:gd name="connsiteY29" fmla="*/ 15952 h 55297"/>
                <a:gd name="connsiteX30" fmla="*/ 15952 w 37219"/>
                <a:gd name="connsiteY30" fmla="*/ 18078 h 55297"/>
                <a:gd name="connsiteX31" fmla="*/ 19141 w 37219"/>
                <a:gd name="connsiteY31" fmla="*/ 20205 h 55297"/>
                <a:gd name="connsiteX32" fmla="*/ 23396 w 37219"/>
                <a:gd name="connsiteY32" fmla="*/ 22332 h 55297"/>
                <a:gd name="connsiteX33" fmla="*/ 28713 w 37219"/>
                <a:gd name="connsiteY33" fmla="*/ 25522 h 55297"/>
                <a:gd name="connsiteX34" fmla="*/ 32966 w 37219"/>
                <a:gd name="connsiteY34" fmla="*/ 28713 h 55297"/>
                <a:gd name="connsiteX35" fmla="*/ 36156 w 37219"/>
                <a:gd name="connsiteY35" fmla="*/ 32966 h 55297"/>
                <a:gd name="connsiteX36" fmla="*/ 37219 w 37219"/>
                <a:gd name="connsiteY36" fmla="*/ 38283 h 55297"/>
                <a:gd name="connsiteX37" fmla="*/ 36156 w 37219"/>
                <a:gd name="connsiteY37" fmla="*/ 45727 h 55297"/>
                <a:gd name="connsiteX38" fmla="*/ 31902 w 37219"/>
                <a:gd name="connsiteY38" fmla="*/ 51044 h 55297"/>
                <a:gd name="connsiteX39" fmla="*/ 24458 w 37219"/>
                <a:gd name="connsiteY39" fmla="*/ 54234 h 55297"/>
                <a:gd name="connsiteX40" fmla="*/ 17015 w 37219"/>
                <a:gd name="connsiteY40" fmla="*/ 55297 h 55297"/>
                <a:gd name="connsiteX41" fmla="*/ 8508 w 37219"/>
                <a:gd name="connsiteY41" fmla="*/ 54234 h 55297"/>
                <a:gd name="connsiteX42" fmla="*/ 0 w 37219"/>
                <a:gd name="connsiteY42" fmla="*/ 53171 h 5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7219" h="55297">
                  <a:moveTo>
                    <a:pt x="0" y="53171"/>
                  </a:moveTo>
                  <a:lnTo>
                    <a:pt x="0" y="41474"/>
                  </a:lnTo>
                  <a:cubicBezTo>
                    <a:pt x="2127" y="43600"/>
                    <a:pt x="4254" y="44663"/>
                    <a:pt x="6380" y="45727"/>
                  </a:cubicBezTo>
                  <a:cubicBezTo>
                    <a:pt x="9571" y="46791"/>
                    <a:pt x="11697" y="46791"/>
                    <a:pt x="13825" y="46791"/>
                  </a:cubicBezTo>
                  <a:cubicBezTo>
                    <a:pt x="14888" y="46791"/>
                    <a:pt x="15952" y="46791"/>
                    <a:pt x="18078" y="45727"/>
                  </a:cubicBezTo>
                  <a:cubicBezTo>
                    <a:pt x="19141" y="45727"/>
                    <a:pt x="20205" y="44663"/>
                    <a:pt x="21269" y="44663"/>
                  </a:cubicBezTo>
                  <a:cubicBezTo>
                    <a:pt x="22332" y="43600"/>
                    <a:pt x="22332" y="43600"/>
                    <a:pt x="22332" y="42536"/>
                  </a:cubicBezTo>
                  <a:cubicBezTo>
                    <a:pt x="22332" y="41474"/>
                    <a:pt x="23396" y="41474"/>
                    <a:pt x="23396" y="40410"/>
                  </a:cubicBezTo>
                  <a:cubicBezTo>
                    <a:pt x="23396" y="39346"/>
                    <a:pt x="23396" y="38283"/>
                    <a:pt x="22332" y="37219"/>
                  </a:cubicBezTo>
                  <a:cubicBezTo>
                    <a:pt x="21269" y="36156"/>
                    <a:pt x="21269" y="36156"/>
                    <a:pt x="20205" y="35093"/>
                  </a:cubicBezTo>
                  <a:cubicBezTo>
                    <a:pt x="19141" y="34030"/>
                    <a:pt x="18078" y="34030"/>
                    <a:pt x="17015" y="32966"/>
                  </a:cubicBezTo>
                  <a:cubicBezTo>
                    <a:pt x="15952" y="31902"/>
                    <a:pt x="14888" y="31902"/>
                    <a:pt x="12761" y="30839"/>
                  </a:cubicBezTo>
                  <a:cubicBezTo>
                    <a:pt x="8508" y="28713"/>
                    <a:pt x="5318" y="26586"/>
                    <a:pt x="3191" y="24458"/>
                  </a:cubicBezTo>
                  <a:cubicBezTo>
                    <a:pt x="1064" y="21269"/>
                    <a:pt x="0" y="19141"/>
                    <a:pt x="0" y="15952"/>
                  </a:cubicBezTo>
                  <a:cubicBezTo>
                    <a:pt x="0" y="12761"/>
                    <a:pt x="1064" y="10635"/>
                    <a:pt x="1064" y="9571"/>
                  </a:cubicBezTo>
                  <a:cubicBezTo>
                    <a:pt x="2127" y="7444"/>
                    <a:pt x="4254" y="6380"/>
                    <a:pt x="5318" y="4254"/>
                  </a:cubicBezTo>
                  <a:cubicBezTo>
                    <a:pt x="7444" y="3191"/>
                    <a:pt x="9571" y="2127"/>
                    <a:pt x="11698" y="1064"/>
                  </a:cubicBezTo>
                  <a:cubicBezTo>
                    <a:pt x="14888" y="0"/>
                    <a:pt x="17015" y="0"/>
                    <a:pt x="20205" y="0"/>
                  </a:cubicBezTo>
                  <a:cubicBezTo>
                    <a:pt x="23396" y="0"/>
                    <a:pt x="25522" y="0"/>
                    <a:pt x="27649" y="1064"/>
                  </a:cubicBezTo>
                  <a:cubicBezTo>
                    <a:pt x="29776" y="1064"/>
                    <a:pt x="31902" y="2127"/>
                    <a:pt x="34030" y="2127"/>
                  </a:cubicBezTo>
                  <a:lnTo>
                    <a:pt x="34030" y="12761"/>
                  </a:lnTo>
                  <a:cubicBezTo>
                    <a:pt x="32966" y="11697"/>
                    <a:pt x="31902" y="11697"/>
                    <a:pt x="30839" y="11697"/>
                  </a:cubicBezTo>
                  <a:cubicBezTo>
                    <a:pt x="29776" y="10635"/>
                    <a:pt x="28713" y="10635"/>
                    <a:pt x="27649" y="10635"/>
                  </a:cubicBezTo>
                  <a:cubicBezTo>
                    <a:pt x="26586" y="10635"/>
                    <a:pt x="25522" y="9571"/>
                    <a:pt x="24458" y="9571"/>
                  </a:cubicBezTo>
                  <a:cubicBezTo>
                    <a:pt x="23396" y="9571"/>
                    <a:pt x="22332" y="9571"/>
                    <a:pt x="21269" y="9571"/>
                  </a:cubicBezTo>
                  <a:cubicBezTo>
                    <a:pt x="20205" y="9571"/>
                    <a:pt x="18078" y="9571"/>
                    <a:pt x="18078" y="9571"/>
                  </a:cubicBezTo>
                  <a:cubicBezTo>
                    <a:pt x="17015" y="9571"/>
                    <a:pt x="15952" y="10635"/>
                    <a:pt x="15952" y="10635"/>
                  </a:cubicBezTo>
                  <a:cubicBezTo>
                    <a:pt x="14888" y="11697"/>
                    <a:pt x="14888" y="11697"/>
                    <a:pt x="13825" y="11697"/>
                  </a:cubicBezTo>
                  <a:cubicBezTo>
                    <a:pt x="12761" y="12761"/>
                    <a:pt x="12761" y="12761"/>
                    <a:pt x="12761" y="13825"/>
                  </a:cubicBezTo>
                  <a:cubicBezTo>
                    <a:pt x="12761" y="14888"/>
                    <a:pt x="12761" y="14888"/>
                    <a:pt x="13825" y="15952"/>
                  </a:cubicBezTo>
                  <a:cubicBezTo>
                    <a:pt x="14888" y="17015"/>
                    <a:pt x="14888" y="17015"/>
                    <a:pt x="15952" y="18078"/>
                  </a:cubicBezTo>
                  <a:cubicBezTo>
                    <a:pt x="17015" y="19141"/>
                    <a:pt x="18078" y="19141"/>
                    <a:pt x="19141" y="20205"/>
                  </a:cubicBezTo>
                  <a:cubicBezTo>
                    <a:pt x="20205" y="21269"/>
                    <a:pt x="22332" y="21269"/>
                    <a:pt x="23396" y="22332"/>
                  </a:cubicBezTo>
                  <a:cubicBezTo>
                    <a:pt x="25522" y="23396"/>
                    <a:pt x="27649" y="24458"/>
                    <a:pt x="28713" y="25522"/>
                  </a:cubicBezTo>
                  <a:cubicBezTo>
                    <a:pt x="30839" y="26586"/>
                    <a:pt x="31902" y="27649"/>
                    <a:pt x="32966" y="28713"/>
                  </a:cubicBezTo>
                  <a:cubicBezTo>
                    <a:pt x="34030" y="29775"/>
                    <a:pt x="35093" y="31902"/>
                    <a:pt x="36156" y="32966"/>
                  </a:cubicBezTo>
                  <a:cubicBezTo>
                    <a:pt x="37219" y="34030"/>
                    <a:pt x="37219" y="36156"/>
                    <a:pt x="37219" y="38283"/>
                  </a:cubicBezTo>
                  <a:cubicBezTo>
                    <a:pt x="37219" y="41474"/>
                    <a:pt x="36156" y="43600"/>
                    <a:pt x="36156" y="45727"/>
                  </a:cubicBezTo>
                  <a:cubicBezTo>
                    <a:pt x="35093" y="47853"/>
                    <a:pt x="32966" y="48917"/>
                    <a:pt x="31902" y="51044"/>
                  </a:cubicBezTo>
                  <a:cubicBezTo>
                    <a:pt x="29776" y="52107"/>
                    <a:pt x="27649" y="53171"/>
                    <a:pt x="24458" y="54234"/>
                  </a:cubicBezTo>
                  <a:cubicBezTo>
                    <a:pt x="21269" y="55297"/>
                    <a:pt x="20205" y="55297"/>
                    <a:pt x="17015" y="55297"/>
                  </a:cubicBezTo>
                  <a:cubicBezTo>
                    <a:pt x="14888" y="55297"/>
                    <a:pt x="11697" y="55297"/>
                    <a:pt x="8508" y="54234"/>
                  </a:cubicBezTo>
                  <a:cubicBezTo>
                    <a:pt x="4254" y="55297"/>
                    <a:pt x="2127" y="54234"/>
                    <a:pt x="0" y="53171"/>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46F37D58-DDE7-4DBB-8795-B519B5AE7CA6}"/>
                </a:ext>
              </a:extLst>
            </p:cNvPr>
            <p:cNvSpPr/>
            <p:nvPr/>
          </p:nvSpPr>
          <p:spPr>
            <a:xfrm>
              <a:off x="6601698" y="6023148"/>
              <a:ext cx="56360" cy="62741"/>
            </a:xfrm>
            <a:custGeom>
              <a:avLst/>
              <a:gdLst>
                <a:gd name="connsiteX0" fmla="*/ 25522 w 56360"/>
                <a:gd name="connsiteY0" fmla="*/ 54234 h 62741"/>
                <a:gd name="connsiteX1" fmla="*/ 7444 w 56360"/>
                <a:gd name="connsiteY1" fmla="*/ 46790 h 62741"/>
                <a:gd name="connsiteX2" fmla="*/ 0 w 56360"/>
                <a:gd name="connsiteY2" fmla="*/ 27648 h 62741"/>
                <a:gd name="connsiteX3" fmla="*/ 7444 w 56360"/>
                <a:gd name="connsiteY3" fmla="*/ 7444 h 62741"/>
                <a:gd name="connsiteX4" fmla="*/ 26586 w 56360"/>
                <a:gd name="connsiteY4" fmla="*/ 0 h 62741"/>
                <a:gd name="connsiteX5" fmla="*/ 44663 w 56360"/>
                <a:gd name="connsiteY5" fmla="*/ 7444 h 62741"/>
                <a:gd name="connsiteX6" fmla="*/ 52107 w 56360"/>
                <a:gd name="connsiteY6" fmla="*/ 27648 h 62741"/>
                <a:gd name="connsiteX7" fmla="*/ 44663 w 56360"/>
                <a:gd name="connsiteY7" fmla="*/ 47853 h 62741"/>
                <a:gd name="connsiteX8" fmla="*/ 43600 w 56360"/>
                <a:gd name="connsiteY8" fmla="*/ 48917 h 62741"/>
                <a:gd name="connsiteX9" fmla="*/ 42536 w 56360"/>
                <a:gd name="connsiteY9" fmla="*/ 49980 h 62741"/>
                <a:gd name="connsiteX10" fmla="*/ 56361 w 56360"/>
                <a:gd name="connsiteY10" fmla="*/ 62741 h 62741"/>
                <a:gd name="connsiteX11" fmla="*/ 39346 w 56360"/>
                <a:gd name="connsiteY11" fmla="*/ 62741 h 62741"/>
                <a:gd name="connsiteX12" fmla="*/ 32966 w 56360"/>
                <a:gd name="connsiteY12" fmla="*/ 55297 h 62741"/>
                <a:gd name="connsiteX13" fmla="*/ 25522 w 56360"/>
                <a:gd name="connsiteY13" fmla="*/ 54234 h 62741"/>
                <a:gd name="connsiteX14" fmla="*/ 26586 w 56360"/>
                <a:gd name="connsiteY14" fmla="*/ 9570 h 62741"/>
                <a:gd name="connsiteX15" fmla="*/ 15952 w 56360"/>
                <a:gd name="connsiteY15" fmla="*/ 13825 h 62741"/>
                <a:gd name="connsiteX16" fmla="*/ 12761 w 56360"/>
                <a:gd name="connsiteY16" fmla="*/ 26586 h 62741"/>
                <a:gd name="connsiteX17" fmla="*/ 15952 w 56360"/>
                <a:gd name="connsiteY17" fmla="*/ 39346 h 62741"/>
                <a:gd name="connsiteX18" fmla="*/ 25522 w 56360"/>
                <a:gd name="connsiteY18" fmla="*/ 43600 h 62741"/>
                <a:gd name="connsiteX19" fmla="*/ 35093 w 56360"/>
                <a:gd name="connsiteY19" fmla="*/ 39346 h 62741"/>
                <a:gd name="connsiteX20" fmla="*/ 38283 w 56360"/>
                <a:gd name="connsiteY20" fmla="*/ 26586 h 62741"/>
                <a:gd name="connsiteX21" fmla="*/ 35093 w 56360"/>
                <a:gd name="connsiteY21" fmla="*/ 13825 h 62741"/>
                <a:gd name="connsiteX22" fmla="*/ 26586 w 56360"/>
                <a:gd name="connsiteY22" fmla="*/ 9570 h 6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60" h="62741">
                  <a:moveTo>
                    <a:pt x="25522" y="54234"/>
                  </a:moveTo>
                  <a:cubicBezTo>
                    <a:pt x="18079" y="54234"/>
                    <a:pt x="11698" y="51044"/>
                    <a:pt x="7444" y="46790"/>
                  </a:cubicBezTo>
                  <a:cubicBezTo>
                    <a:pt x="2127" y="42536"/>
                    <a:pt x="0" y="35092"/>
                    <a:pt x="0" y="27648"/>
                  </a:cubicBezTo>
                  <a:cubicBezTo>
                    <a:pt x="0" y="19141"/>
                    <a:pt x="2127" y="12761"/>
                    <a:pt x="7444" y="7444"/>
                  </a:cubicBezTo>
                  <a:cubicBezTo>
                    <a:pt x="11698" y="2127"/>
                    <a:pt x="18079" y="0"/>
                    <a:pt x="26586" y="0"/>
                  </a:cubicBezTo>
                  <a:cubicBezTo>
                    <a:pt x="34030" y="0"/>
                    <a:pt x="40410" y="2127"/>
                    <a:pt x="44663" y="7444"/>
                  </a:cubicBezTo>
                  <a:cubicBezTo>
                    <a:pt x="49980" y="12761"/>
                    <a:pt x="52107" y="19141"/>
                    <a:pt x="52107" y="27648"/>
                  </a:cubicBezTo>
                  <a:cubicBezTo>
                    <a:pt x="52107" y="36156"/>
                    <a:pt x="49980" y="42536"/>
                    <a:pt x="44663" y="47853"/>
                  </a:cubicBezTo>
                  <a:cubicBezTo>
                    <a:pt x="44663" y="47853"/>
                    <a:pt x="44663" y="47853"/>
                    <a:pt x="43600" y="48917"/>
                  </a:cubicBezTo>
                  <a:cubicBezTo>
                    <a:pt x="43600" y="48917"/>
                    <a:pt x="43600" y="48917"/>
                    <a:pt x="42536" y="49980"/>
                  </a:cubicBezTo>
                  <a:lnTo>
                    <a:pt x="56361" y="62741"/>
                  </a:lnTo>
                  <a:lnTo>
                    <a:pt x="39346" y="62741"/>
                  </a:lnTo>
                  <a:lnTo>
                    <a:pt x="32966" y="55297"/>
                  </a:lnTo>
                  <a:cubicBezTo>
                    <a:pt x="30839" y="54234"/>
                    <a:pt x="28713" y="54234"/>
                    <a:pt x="25522" y="54234"/>
                  </a:cubicBezTo>
                  <a:close/>
                  <a:moveTo>
                    <a:pt x="26586" y="9570"/>
                  </a:moveTo>
                  <a:cubicBezTo>
                    <a:pt x="22332" y="9570"/>
                    <a:pt x="19141" y="10634"/>
                    <a:pt x="15952" y="13825"/>
                  </a:cubicBezTo>
                  <a:cubicBezTo>
                    <a:pt x="12761" y="17014"/>
                    <a:pt x="12761" y="21268"/>
                    <a:pt x="12761" y="26586"/>
                  </a:cubicBezTo>
                  <a:cubicBezTo>
                    <a:pt x="12761" y="31902"/>
                    <a:pt x="13825" y="36156"/>
                    <a:pt x="15952" y="39346"/>
                  </a:cubicBezTo>
                  <a:cubicBezTo>
                    <a:pt x="19141" y="42536"/>
                    <a:pt x="21269" y="43600"/>
                    <a:pt x="25522" y="43600"/>
                  </a:cubicBezTo>
                  <a:cubicBezTo>
                    <a:pt x="29776" y="43600"/>
                    <a:pt x="32966" y="42536"/>
                    <a:pt x="35093" y="39346"/>
                  </a:cubicBezTo>
                  <a:cubicBezTo>
                    <a:pt x="37219" y="36156"/>
                    <a:pt x="38283" y="31902"/>
                    <a:pt x="38283" y="26586"/>
                  </a:cubicBezTo>
                  <a:cubicBezTo>
                    <a:pt x="38283" y="21268"/>
                    <a:pt x="37219" y="17014"/>
                    <a:pt x="35093" y="13825"/>
                  </a:cubicBezTo>
                  <a:cubicBezTo>
                    <a:pt x="34030" y="10634"/>
                    <a:pt x="30839" y="9570"/>
                    <a:pt x="26586" y="957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D7A1CAFB-82D6-4693-92A3-4C1F9440B760}"/>
                </a:ext>
              </a:extLst>
            </p:cNvPr>
            <p:cNvSpPr/>
            <p:nvPr/>
          </p:nvSpPr>
          <p:spPr>
            <a:xfrm>
              <a:off x="6662320" y="6023148"/>
              <a:ext cx="31902" cy="53170"/>
            </a:xfrm>
            <a:custGeom>
              <a:avLst/>
              <a:gdLst>
                <a:gd name="connsiteX0" fmla="*/ 31902 w 31902"/>
                <a:gd name="connsiteY0" fmla="*/ 53170 h 53170"/>
                <a:gd name="connsiteX1" fmla="*/ 0 w 31902"/>
                <a:gd name="connsiteY1" fmla="*/ 53170 h 53170"/>
                <a:gd name="connsiteX2" fmla="*/ 0 w 31902"/>
                <a:gd name="connsiteY2" fmla="*/ 0 h 53170"/>
                <a:gd name="connsiteX3" fmla="*/ 11697 w 31902"/>
                <a:gd name="connsiteY3" fmla="*/ 0 h 53170"/>
                <a:gd name="connsiteX4" fmla="*/ 11697 w 31902"/>
                <a:gd name="connsiteY4" fmla="*/ 43600 h 53170"/>
                <a:gd name="connsiteX5" fmla="*/ 31902 w 31902"/>
                <a:gd name="connsiteY5" fmla="*/ 43600 h 53170"/>
                <a:gd name="connsiteX6" fmla="*/ 31902 w 31902"/>
                <a:gd name="connsiteY6" fmla="*/ 53170 h 5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2" h="53170">
                  <a:moveTo>
                    <a:pt x="31902" y="53170"/>
                  </a:moveTo>
                  <a:lnTo>
                    <a:pt x="0" y="53170"/>
                  </a:lnTo>
                  <a:lnTo>
                    <a:pt x="0" y="0"/>
                  </a:lnTo>
                  <a:lnTo>
                    <a:pt x="11697" y="0"/>
                  </a:lnTo>
                  <a:lnTo>
                    <a:pt x="11697" y="43600"/>
                  </a:lnTo>
                  <a:lnTo>
                    <a:pt x="31902" y="43600"/>
                  </a:lnTo>
                  <a:lnTo>
                    <a:pt x="31902" y="53170"/>
                  </a:ln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6" name="Freeform 60" descr="Azure SQL Database">
            <a:extLst>
              <a:ext uri="{FF2B5EF4-FFF2-40B4-BE49-F238E27FC236}">
                <a16:creationId xmlns:a16="http://schemas.microsoft.com/office/drawing/2014/main" id="{A857C872-9D60-406E-BD06-932357971D23}"/>
              </a:ext>
            </a:extLst>
          </p:cNvPr>
          <p:cNvSpPr>
            <a:spLocks noChangeAspect="1"/>
          </p:cNvSpPr>
          <p:nvPr/>
        </p:nvSpPr>
        <p:spPr bwMode="auto">
          <a:xfrm>
            <a:off x="9061252" y="3212152"/>
            <a:ext cx="761121" cy="482023"/>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222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p:txBody>
          <a:bodyPr/>
          <a:lstStyle/>
          <a:p>
            <a:r>
              <a:rPr lang="en-US" dirty="0"/>
              <a:t>Zone redundant configuration</a:t>
            </a:r>
          </a:p>
        </p:txBody>
      </p:sp>
      <p:graphicFrame>
        <p:nvGraphicFramePr>
          <p:cNvPr id="2" name="Content Placeholder 1">
            <a:extLst>
              <a:ext uri="{FF2B5EF4-FFF2-40B4-BE49-F238E27FC236}">
                <a16:creationId xmlns:a16="http://schemas.microsoft.com/office/drawing/2014/main" id="{379A31AE-F22F-4235-8226-276E242C2A3B}"/>
              </a:ext>
            </a:extLst>
          </p:cNvPr>
          <p:cNvGraphicFramePr>
            <a:graphicFrameLocks noGrp="1"/>
          </p:cNvGraphicFramePr>
          <p:nvPr>
            <p:ph sz="quarter" idx="13"/>
            <p:extLst>
              <p:ext uri="{D42A27DB-BD31-4B8C-83A1-F6EECF244321}">
                <p14:modId xmlns:p14="http://schemas.microsoft.com/office/powerpoint/2010/main" val="192445789"/>
              </p:ext>
            </p:extLst>
          </p:nvPr>
        </p:nvGraphicFramePr>
        <p:xfrm>
          <a:off x="655639" y="1408113"/>
          <a:ext cx="67357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A4EAD1F4-1EB8-45BF-992F-7F8DF18ECCE4}"/>
              </a:ext>
            </a:extLst>
          </p:cNvPr>
          <p:cNvPicPr>
            <a:picLocks noChangeAspect="1"/>
          </p:cNvPicPr>
          <p:nvPr/>
        </p:nvPicPr>
        <p:blipFill>
          <a:blip r:embed="rId8"/>
          <a:stretch>
            <a:fillRect/>
          </a:stretch>
        </p:blipFill>
        <p:spPr>
          <a:xfrm>
            <a:off x="7641555" y="1676400"/>
            <a:ext cx="3895725" cy="4429125"/>
          </a:xfrm>
          <a:prstGeom prst="rect">
            <a:avLst/>
          </a:prstGeom>
        </p:spPr>
      </p:pic>
    </p:spTree>
    <p:extLst>
      <p:ext uri="{BB962C8B-B14F-4D97-AF65-F5344CB8AC3E}">
        <p14:creationId xmlns:p14="http://schemas.microsoft.com/office/powerpoint/2010/main" val="1584017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p:txBody>
          <a:bodyPr/>
          <a:lstStyle/>
          <a:p>
            <a:r>
              <a:rPr lang="en-US" dirty="0"/>
              <a:t>Automatic Backups</a:t>
            </a:r>
          </a:p>
        </p:txBody>
      </p:sp>
      <p:graphicFrame>
        <p:nvGraphicFramePr>
          <p:cNvPr id="4" name="Content Placeholder 3">
            <a:extLst>
              <a:ext uri="{FF2B5EF4-FFF2-40B4-BE49-F238E27FC236}">
                <a16:creationId xmlns:a16="http://schemas.microsoft.com/office/drawing/2014/main" id="{81E203B4-8B06-4228-B371-2015C728D433}"/>
              </a:ext>
            </a:extLst>
          </p:cNvPr>
          <p:cNvGraphicFramePr>
            <a:graphicFrameLocks noGrp="1"/>
          </p:cNvGraphicFramePr>
          <p:nvPr>
            <p:ph sz="quarter" idx="13"/>
            <p:extLst>
              <p:ext uri="{D42A27DB-BD31-4B8C-83A1-F6EECF244321}">
                <p14:modId xmlns:p14="http://schemas.microsoft.com/office/powerpoint/2010/main" val="358331555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1463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655638" y="320040"/>
            <a:ext cx="10880725" cy="461665"/>
          </a:xfrm>
        </p:spPr>
        <p:txBody>
          <a:bodyPr/>
          <a:lstStyle/>
          <a:p>
            <a:r>
              <a:rPr lang="en-US" dirty="0"/>
              <a:t>Azure SQL Database Backup Retention Periods</a:t>
            </a:r>
          </a:p>
        </p:txBody>
      </p:sp>
      <p:sp>
        <p:nvSpPr>
          <p:cNvPr id="7" name="TextBox 6">
            <a:extLst>
              <a:ext uri="{FF2B5EF4-FFF2-40B4-BE49-F238E27FC236}">
                <a16:creationId xmlns:a16="http://schemas.microsoft.com/office/drawing/2014/main" id="{B2C77D08-DB22-48BD-92B3-237A393DFA94}"/>
              </a:ext>
            </a:extLst>
          </p:cNvPr>
          <p:cNvSpPr txBox="1"/>
          <p:nvPr/>
        </p:nvSpPr>
        <p:spPr>
          <a:xfrm>
            <a:off x="500740" y="5792260"/>
            <a:ext cx="11035622" cy="871008"/>
          </a:xfrm>
          <a:prstGeom prst="rect">
            <a:avLst/>
          </a:prstGeom>
          <a:noFill/>
        </p:spPr>
        <p:txBody>
          <a:bodyPr wrap="square" lIns="182880" tIns="146304" rIns="182880" bIns="146304" rtlCol="0">
            <a:spAutoFit/>
          </a:bodyPr>
          <a:lstStyle/>
          <a:p>
            <a:pPr defTabSz="932742">
              <a:lnSpc>
                <a:spcPct val="90000"/>
              </a:lnSpc>
              <a:spcAft>
                <a:spcPts val="600"/>
              </a:spcAft>
            </a:pPr>
            <a:r>
              <a:rPr lang="en-US" dirty="0">
                <a:solidFill>
                  <a:srgbClr val="505050">
                    <a:lumMod val="50000"/>
                  </a:srgbClr>
                </a:solidFill>
                <a:latin typeface="Segoe UI Light"/>
              </a:rPr>
              <a:t>The point-in-time  backups are geo-redundant and protected by Azure Storage cross-regional replication.</a:t>
            </a:r>
          </a:p>
          <a:p>
            <a:pPr defTabSz="932742">
              <a:lnSpc>
                <a:spcPct val="90000"/>
              </a:lnSpc>
              <a:spcAft>
                <a:spcPts val="600"/>
              </a:spcAft>
            </a:pPr>
            <a:r>
              <a:rPr lang="en-US" dirty="0">
                <a:gradFill>
                  <a:gsLst>
                    <a:gs pos="2917">
                      <a:srgbClr val="505050"/>
                    </a:gs>
                    <a:gs pos="30000">
                      <a:srgbClr val="505050"/>
                    </a:gs>
                  </a:gsLst>
                  <a:lin ang="5400000" scaled="0"/>
                </a:gradFill>
                <a:latin typeface="Segoe UI Light"/>
                <a:hlinkClick r:id="rId3"/>
              </a:rPr>
              <a:t>How long are backups kept</a:t>
            </a:r>
            <a:r>
              <a:rPr lang="en-US" dirty="0">
                <a:gradFill>
                  <a:gsLst>
                    <a:gs pos="2917">
                      <a:srgbClr val="505050"/>
                    </a:gs>
                    <a:gs pos="30000">
                      <a:srgbClr val="505050"/>
                    </a:gs>
                  </a:gsLst>
                  <a:lin ang="5400000" scaled="0"/>
                </a:gradFill>
                <a:latin typeface="Segoe UI Light"/>
              </a:rPr>
              <a:t>.</a:t>
            </a:r>
          </a:p>
        </p:txBody>
      </p:sp>
      <p:sp>
        <p:nvSpPr>
          <p:cNvPr id="9" name="Rectangle 8">
            <a:extLst>
              <a:ext uri="{FF2B5EF4-FFF2-40B4-BE49-F238E27FC236}">
                <a16:creationId xmlns:a16="http://schemas.microsoft.com/office/drawing/2014/main" id="{B9D9FA9C-5301-495B-90E4-6E5288DDBB9A}"/>
              </a:ext>
            </a:extLst>
          </p:cNvPr>
          <p:cNvSpPr/>
          <p:nvPr/>
        </p:nvSpPr>
        <p:spPr>
          <a:xfrm>
            <a:off x="533400" y="1371600"/>
            <a:ext cx="10694672" cy="369332"/>
          </a:xfrm>
          <a:prstGeom prst="rect">
            <a:avLst/>
          </a:prstGeom>
        </p:spPr>
        <p:txBody>
          <a:bodyPr wrap="square">
            <a:spAutoFit/>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aphicFrame>
        <p:nvGraphicFramePr>
          <p:cNvPr id="10" name="Diagram 9">
            <a:extLst>
              <a:ext uri="{FF2B5EF4-FFF2-40B4-BE49-F238E27FC236}">
                <a16:creationId xmlns:a16="http://schemas.microsoft.com/office/drawing/2014/main" id="{39CC9AA5-3B6D-45E2-B80F-55A95E3BC088}"/>
              </a:ext>
            </a:extLst>
          </p:cNvPr>
          <p:cNvGraphicFramePr/>
          <p:nvPr>
            <p:extLst>
              <p:ext uri="{D42A27DB-BD31-4B8C-83A1-F6EECF244321}">
                <p14:modId xmlns:p14="http://schemas.microsoft.com/office/powerpoint/2010/main" val="270907273"/>
              </p:ext>
            </p:extLst>
          </p:nvPr>
        </p:nvGraphicFramePr>
        <p:xfrm>
          <a:off x="629118" y="1525364"/>
          <a:ext cx="10606125" cy="40499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0372942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655638" y="320040"/>
            <a:ext cx="10880725" cy="461665"/>
          </a:xfrm>
        </p:spPr>
        <p:txBody>
          <a:bodyPr/>
          <a:lstStyle/>
          <a:p>
            <a:r>
              <a:rPr lang="en-US" dirty="0"/>
              <a:t>How to change backup retention period</a:t>
            </a:r>
          </a:p>
        </p:txBody>
      </p:sp>
      <p:graphicFrame>
        <p:nvGraphicFramePr>
          <p:cNvPr id="2" name="Content Placeholder 1">
            <a:extLst>
              <a:ext uri="{FF2B5EF4-FFF2-40B4-BE49-F238E27FC236}">
                <a16:creationId xmlns:a16="http://schemas.microsoft.com/office/drawing/2014/main" id="{4E5B9921-BA6F-425F-9456-DEB6BE36FC01}"/>
              </a:ext>
            </a:extLst>
          </p:cNvPr>
          <p:cNvGraphicFramePr>
            <a:graphicFrameLocks noGrp="1"/>
          </p:cNvGraphicFramePr>
          <p:nvPr>
            <p:ph sz="quarter" idx="13"/>
            <p:extLst>
              <p:ext uri="{D42A27DB-BD31-4B8C-83A1-F6EECF244321}">
                <p14:modId xmlns:p14="http://schemas.microsoft.com/office/powerpoint/2010/main" val="3422863056"/>
              </p:ext>
            </p:extLst>
          </p:nvPr>
        </p:nvGraphicFramePr>
        <p:xfrm>
          <a:off x="655638" y="1408114"/>
          <a:ext cx="10880726" cy="1639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6ADD3C1B-6481-4E37-A456-6601AFDB735B}"/>
              </a:ext>
            </a:extLst>
          </p:cNvPr>
          <p:cNvGraphicFramePr/>
          <p:nvPr>
            <p:extLst>
              <p:ext uri="{D42A27DB-BD31-4B8C-83A1-F6EECF244321}">
                <p14:modId xmlns:p14="http://schemas.microsoft.com/office/powerpoint/2010/main" val="1578299024"/>
              </p:ext>
            </p:extLst>
          </p:nvPr>
        </p:nvGraphicFramePr>
        <p:xfrm>
          <a:off x="3450436" y="6019800"/>
          <a:ext cx="5291128" cy="5113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Rectangle 2">
            <a:extLst>
              <a:ext uri="{FF2B5EF4-FFF2-40B4-BE49-F238E27FC236}">
                <a16:creationId xmlns:a16="http://schemas.microsoft.com/office/drawing/2014/main" id="{6C6CD44D-22C5-4619-AC78-E34BCF47718A}"/>
              </a:ext>
            </a:extLst>
          </p:cNvPr>
          <p:cNvSpPr/>
          <p:nvPr/>
        </p:nvSpPr>
        <p:spPr>
          <a:xfrm>
            <a:off x="655636" y="3200400"/>
            <a:ext cx="10880725" cy="1200329"/>
          </a:xfrm>
          <a:prstGeom prst="rect">
            <a:avLst/>
          </a:prstGeom>
          <a:ln>
            <a:solidFill>
              <a:schemeClr val="accent1"/>
            </a:solidFill>
          </a:ln>
          <a:effectLst/>
        </p:spPr>
        <p:txBody>
          <a:bodyPr wrap="square">
            <a:noAutofit/>
          </a:bodyPr>
          <a:lstStyle/>
          <a:p>
            <a:pPr defTabSz="932742"/>
            <a:r>
              <a:rPr lang="en-US" sz="2400" dirty="0">
                <a:solidFill>
                  <a:srgbClr val="0072C6"/>
                </a:solidFill>
                <a:latin typeface="Segoe UI Light" panose="020B0502040204020203" pitchFamily="34" charset="0"/>
                <a:cs typeface="Segoe UI Light" panose="020B0502040204020203" pitchFamily="34" charset="0"/>
              </a:rPr>
              <a:t>PowerShell</a:t>
            </a:r>
          </a:p>
          <a:p>
            <a:pPr marL="466371" lvl="1" defTabSz="932742"/>
            <a:r>
              <a:rPr lang="en-US" sz="1600" dirty="0">
                <a:solidFill>
                  <a:srgbClr val="505050"/>
                </a:solidFill>
                <a:latin typeface="Segoe UI Light" panose="020B0502040204020203" pitchFamily="34" charset="0"/>
                <a:cs typeface="Segoe UI Light" panose="020B0502040204020203" pitchFamily="34" charset="0"/>
              </a:rPr>
              <a:t>Set-</a:t>
            </a:r>
            <a:r>
              <a:rPr lang="en-US" sz="1600" dirty="0" err="1">
                <a:solidFill>
                  <a:srgbClr val="505050"/>
                </a:solidFill>
                <a:latin typeface="Segoe UI Light" panose="020B0502040204020203" pitchFamily="34" charset="0"/>
                <a:cs typeface="Segoe UI Light" panose="020B0502040204020203" pitchFamily="34" charset="0"/>
              </a:rPr>
              <a:t>AzSqlDatabaseBackupShortTermRetentionPolicy</a:t>
            </a:r>
            <a:r>
              <a:rPr lang="en-US" sz="1600" dirty="0">
                <a:solidFill>
                  <a:srgbClr val="505050"/>
                </a:solidFill>
                <a:latin typeface="Segoe UI Light" panose="020B0502040204020203" pitchFamily="34" charset="0"/>
                <a:cs typeface="Segoe UI Light" panose="020B0502040204020203" pitchFamily="34" charset="0"/>
              </a:rPr>
              <a:t> -</a:t>
            </a:r>
            <a:r>
              <a:rPr lang="en-US" sz="1600" dirty="0" err="1">
                <a:solidFill>
                  <a:srgbClr val="505050"/>
                </a:solidFill>
                <a:latin typeface="Segoe UI Light" panose="020B0502040204020203" pitchFamily="34" charset="0"/>
                <a:cs typeface="Segoe UI Light" panose="020B0502040204020203" pitchFamily="34" charset="0"/>
              </a:rPr>
              <a:t>ResourceGroupName</a:t>
            </a:r>
            <a:r>
              <a:rPr lang="en-US" sz="1600" dirty="0">
                <a:solidFill>
                  <a:srgbClr val="505050"/>
                </a:solidFill>
                <a:latin typeface="Segoe UI Light" panose="020B0502040204020203" pitchFamily="34" charset="0"/>
                <a:cs typeface="Segoe UI Light" panose="020B0502040204020203" pitchFamily="34" charset="0"/>
              </a:rPr>
              <a:t> </a:t>
            </a:r>
            <a:r>
              <a:rPr lang="en-US" sz="1600" dirty="0" err="1">
                <a:solidFill>
                  <a:srgbClr val="505050"/>
                </a:solidFill>
                <a:latin typeface="Segoe UI Light" panose="020B0502040204020203" pitchFamily="34" charset="0"/>
                <a:cs typeface="Segoe UI Light" panose="020B0502040204020203" pitchFamily="34" charset="0"/>
              </a:rPr>
              <a:t>resourceGroup</a:t>
            </a:r>
            <a:r>
              <a:rPr lang="en-US" sz="1600" dirty="0">
                <a:solidFill>
                  <a:srgbClr val="505050"/>
                </a:solidFill>
                <a:latin typeface="Segoe UI Light" panose="020B0502040204020203" pitchFamily="34" charset="0"/>
                <a:cs typeface="Segoe UI Light" panose="020B0502040204020203" pitchFamily="34" charset="0"/>
              </a:rPr>
              <a:t> -</a:t>
            </a:r>
            <a:r>
              <a:rPr lang="en-US" sz="1600" dirty="0" err="1">
                <a:solidFill>
                  <a:srgbClr val="505050"/>
                </a:solidFill>
                <a:latin typeface="Segoe UI Light" panose="020B0502040204020203" pitchFamily="34" charset="0"/>
                <a:cs typeface="Segoe UI Light" panose="020B0502040204020203" pitchFamily="34" charset="0"/>
              </a:rPr>
              <a:t>ServerName</a:t>
            </a:r>
            <a:r>
              <a:rPr lang="en-US" sz="1600" dirty="0">
                <a:solidFill>
                  <a:srgbClr val="505050"/>
                </a:solidFill>
                <a:latin typeface="Segoe UI Light" panose="020B0502040204020203" pitchFamily="34" charset="0"/>
                <a:cs typeface="Segoe UI Light" panose="020B0502040204020203" pitchFamily="34" charset="0"/>
              </a:rPr>
              <a:t> </a:t>
            </a:r>
            <a:r>
              <a:rPr lang="en-US" sz="1600" dirty="0" err="1">
                <a:solidFill>
                  <a:srgbClr val="505050"/>
                </a:solidFill>
                <a:latin typeface="Segoe UI Light" panose="020B0502040204020203" pitchFamily="34" charset="0"/>
                <a:cs typeface="Segoe UI Light" panose="020B0502040204020203" pitchFamily="34" charset="0"/>
              </a:rPr>
              <a:t>testserver</a:t>
            </a:r>
            <a:r>
              <a:rPr lang="en-US" sz="1600" dirty="0">
                <a:solidFill>
                  <a:srgbClr val="505050"/>
                </a:solidFill>
                <a:latin typeface="Segoe UI Light" panose="020B0502040204020203" pitchFamily="34" charset="0"/>
                <a:cs typeface="Segoe UI Light" panose="020B0502040204020203" pitchFamily="34" charset="0"/>
              </a:rPr>
              <a:t> -</a:t>
            </a:r>
            <a:r>
              <a:rPr lang="en-US" sz="1600" dirty="0" err="1">
                <a:solidFill>
                  <a:srgbClr val="505050"/>
                </a:solidFill>
                <a:latin typeface="Segoe UI Light" panose="020B0502040204020203" pitchFamily="34" charset="0"/>
                <a:cs typeface="Segoe UI Light" panose="020B0502040204020203" pitchFamily="34" charset="0"/>
              </a:rPr>
              <a:t>DatabaseName</a:t>
            </a:r>
            <a:r>
              <a:rPr lang="en-US" sz="1600" dirty="0">
                <a:solidFill>
                  <a:srgbClr val="505050"/>
                </a:solidFill>
                <a:latin typeface="Segoe UI Light" panose="020B0502040204020203" pitchFamily="34" charset="0"/>
                <a:cs typeface="Segoe UI Light" panose="020B0502040204020203" pitchFamily="34" charset="0"/>
              </a:rPr>
              <a:t> </a:t>
            </a:r>
            <a:r>
              <a:rPr lang="en-US" sz="1600" dirty="0" err="1">
                <a:solidFill>
                  <a:srgbClr val="505050"/>
                </a:solidFill>
                <a:latin typeface="Segoe UI Light" panose="020B0502040204020203" pitchFamily="34" charset="0"/>
                <a:cs typeface="Segoe UI Light" panose="020B0502040204020203" pitchFamily="34" charset="0"/>
              </a:rPr>
              <a:t>testDatabase</a:t>
            </a:r>
            <a:r>
              <a:rPr lang="en-US" sz="1600" dirty="0">
                <a:solidFill>
                  <a:srgbClr val="505050"/>
                </a:solidFill>
                <a:latin typeface="Segoe UI Light" panose="020B0502040204020203" pitchFamily="34" charset="0"/>
                <a:cs typeface="Segoe UI Light" panose="020B0502040204020203" pitchFamily="34" charset="0"/>
              </a:rPr>
              <a:t> -</a:t>
            </a:r>
            <a:r>
              <a:rPr lang="en-US" sz="1600" dirty="0" err="1">
                <a:solidFill>
                  <a:srgbClr val="505050"/>
                </a:solidFill>
                <a:latin typeface="Segoe UI Light" panose="020B0502040204020203" pitchFamily="34" charset="0"/>
                <a:cs typeface="Segoe UI Light" panose="020B0502040204020203" pitchFamily="34" charset="0"/>
              </a:rPr>
              <a:t>RetentionDays</a:t>
            </a:r>
            <a:r>
              <a:rPr lang="en-US" sz="1600" dirty="0">
                <a:solidFill>
                  <a:srgbClr val="505050"/>
                </a:solidFill>
                <a:latin typeface="Segoe UI Light" panose="020B0502040204020203" pitchFamily="34" charset="0"/>
                <a:cs typeface="Segoe UI Light" panose="020B0502040204020203" pitchFamily="34" charset="0"/>
              </a:rPr>
              <a:t> 28</a:t>
            </a:r>
          </a:p>
        </p:txBody>
      </p:sp>
      <p:sp>
        <p:nvSpPr>
          <p:cNvPr id="9" name="Rectangle 8">
            <a:extLst>
              <a:ext uri="{FF2B5EF4-FFF2-40B4-BE49-F238E27FC236}">
                <a16:creationId xmlns:a16="http://schemas.microsoft.com/office/drawing/2014/main" id="{FC49B0D9-6977-497B-B24B-9EFECE79C5EB}"/>
              </a:ext>
            </a:extLst>
          </p:cNvPr>
          <p:cNvSpPr/>
          <p:nvPr/>
        </p:nvSpPr>
        <p:spPr>
          <a:xfrm>
            <a:off x="655636" y="4590871"/>
            <a:ext cx="10880725" cy="1200329"/>
          </a:xfrm>
          <a:prstGeom prst="rect">
            <a:avLst/>
          </a:prstGeom>
          <a:ln>
            <a:solidFill>
              <a:schemeClr val="accent1"/>
            </a:solidFill>
          </a:ln>
          <a:effectLst/>
        </p:spPr>
        <p:txBody>
          <a:bodyPr wrap="square">
            <a:noAutofit/>
          </a:bodyPr>
          <a:lstStyle/>
          <a:p>
            <a:pPr defTabSz="932742"/>
            <a:r>
              <a:rPr lang="en-US" sz="2400" dirty="0">
                <a:solidFill>
                  <a:srgbClr val="0072C6"/>
                </a:solidFill>
                <a:latin typeface="Segoe UI Light" panose="020B0502040204020203" pitchFamily="34" charset="0"/>
                <a:cs typeface="Segoe UI Light" panose="020B0502040204020203" pitchFamily="34" charset="0"/>
              </a:rPr>
              <a:t>REST</a:t>
            </a:r>
          </a:p>
          <a:p>
            <a:pPr marL="466371" lvl="1" defTabSz="932742"/>
            <a:r>
              <a:rPr lang="en-US" sz="1600" dirty="0">
                <a:solidFill>
                  <a:srgbClr val="505050"/>
                </a:solidFill>
                <a:latin typeface="Segoe UI Light" panose="020B0502040204020203" pitchFamily="34" charset="0"/>
                <a:cs typeface="Segoe UI Light" panose="020B0502040204020203" pitchFamily="34" charset="0"/>
              </a:rPr>
              <a:t>PUT https://management.azure.com/subscriptions/00000000-1111-2222-3333-444444444444/resourceGroups/resourceGroup/providers/Microsoft.Sql/servers/testserver/databases/testDatabase/backupShortTermRetentionPolicies/default?api-version=2017-10-01-preview</a:t>
            </a:r>
          </a:p>
        </p:txBody>
      </p:sp>
    </p:spTree>
    <p:extLst>
      <p:ext uri="{BB962C8B-B14F-4D97-AF65-F5344CB8AC3E}">
        <p14:creationId xmlns:p14="http://schemas.microsoft.com/office/powerpoint/2010/main" val="4157876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p:txBody>
          <a:bodyPr/>
          <a:lstStyle/>
          <a:p>
            <a:r>
              <a:rPr lang="en-US" dirty="0"/>
              <a:t>Extending the Retention Period</a:t>
            </a:r>
          </a:p>
        </p:txBody>
      </p:sp>
      <p:graphicFrame>
        <p:nvGraphicFramePr>
          <p:cNvPr id="2" name="Content Placeholder 1">
            <a:extLst>
              <a:ext uri="{FF2B5EF4-FFF2-40B4-BE49-F238E27FC236}">
                <a16:creationId xmlns:a16="http://schemas.microsoft.com/office/drawing/2014/main" id="{D13A9BFA-6359-4899-8FF4-A0A768E3D020}"/>
              </a:ext>
            </a:extLst>
          </p:cNvPr>
          <p:cNvGraphicFramePr>
            <a:graphicFrameLocks noGrp="1"/>
          </p:cNvGraphicFramePr>
          <p:nvPr>
            <p:ph sz="quarter" idx="13"/>
            <p:extLst>
              <p:ext uri="{D42A27DB-BD31-4B8C-83A1-F6EECF244321}">
                <p14:modId xmlns:p14="http://schemas.microsoft.com/office/powerpoint/2010/main" val="2689662496"/>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462221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a:xfrm>
            <a:off x="655638" y="320040"/>
            <a:ext cx="10880725" cy="461665"/>
          </a:xfrm>
        </p:spPr>
        <p:txBody>
          <a:bodyPr/>
          <a:lstStyle/>
          <a:p>
            <a:r>
              <a:rPr lang="en-US" dirty="0"/>
              <a:t>How SQL Database long-term retention works</a:t>
            </a:r>
          </a:p>
        </p:txBody>
      </p:sp>
      <p:graphicFrame>
        <p:nvGraphicFramePr>
          <p:cNvPr id="7" name="Diagram 6">
            <a:extLst>
              <a:ext uri="{FF2B5EF4-FFF2-40B4-BE49-F238E27FC236}">
                <a16:creationId xmlns:a16="http://schemas.microsoft.com/office/drawing/2014/main" id="{A2B836F0-4298-4DF0-8696-7D4E92C7FB66}"/>
              </a:ext>
            </a:extLst>
          </p:cNvPr>
          <p:cNvGraphicFramePr/>
          <p:nvPr>
            <p:extLst>
              <p:ext uri="{D42A27DB-BD31-4B8C-83A1-F6EECF244321}">
                <p14:modId xmlns:p14="http://schemas.microsoft.com/office/powerpoint/2010/main" val="1439331497"/>
              </p:ext>
            </p:extLst>
          </p:nvPr>
        </p:nvGraphicFramePr>
        <p:xfrm>
          <a:off x="655636" y="1362823"/>
          <a:ext cx="5925880"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36E1474B-DC93-4B9D-92C8-A4213A4F503B}"/>
              </a:ext>
            </a:extLst>
          </p:cNvPr>
          <p:cNvSpPr/>
          <p:nvPr/>
        </p:nvSpPr>
        <p:spPr>
          <a:xfrm>
            <a:off x="6781800" y="2232115"/>
            <a:ext cx="4826330" cy="3231654"/>
          </a:xfrm>
          <a:prstGeom prst="rect">
            <a:avLst/>
          </a:prstGeom>
        </p:spPr>
        <p:txBody>
          <a:bodyPr wrap="square">
            <a:spAutoFit/>
          </a:bodyPr>
          <a:lstStyle/>
          <a:p>
            <a:pPr defTabSz="932742"/>
            <a:r>
              <a:rPr lang="en-US" sz="2600" dirty="0">
                <a:solidFill>
                  <a:srgbClr val="0072C6"/>
                </a:solidFill>
                <a:latin typeface="Segoe UI Light" panose="020B0502040204020203" pitchFamily="34" charset="0"/>
                <a:cs typeface="Segoe UI Light" panose="020B0502040204020203" pitchFamily="34" charset="0"/>
              </a:rPr>
              <a:t>W=0, M=0, Y=5, </a:t>
            </a:r>
            <a:r>
              <a:rPr lang="en-US" sz="2600" dirty="0" err="1">
                <a:solidFill>
                  <a:srgbClr val="0072C6"/>
                </a:solidFill>
                <a:latin typeface="Segoe UI Light" panose="020B0502040204020203" pitchFamily="34" charset="0"/>
                <a:cs typeface="Segoe UI Light" panose="020B0502040204020203" pitchFamily="34" charset="0"/>
              </a:rPr>
              <a:t>WeekOfYear</a:t>
            </a:r>
            <a:r>
              <a:rPr lang="en-US" sz="2600" dirty="0">
                <a:solidFill>
                  <a:srgbClr val="0072C6"/>
                </a:solidFill>
                <a:latin typeface="Segoe UI Light" panose="020B0502040204020203" pitchFamily="34" charset="0"/>
                <a:cs typeface="Segoe UI Light" panose="020B0502040204020203" pitchFamily="34" charset="0"/>
              </a:rPr>
              <a:t>=3</a:t>
            </a:r>
          </a:p>
          <a:p>
            <a:pPr marL="466371" lvl="1" defTabSz="932742"/>
            <a:r>
              <a:rPr lang="en-US" dirty="0">
                <a:solidFill>
                  <a:srgbClr val="505050"/>
                </a:solidFill>
                <a:latin typeface="Segoe UI Light" panose="020B0502040204020203" pitchFamily="34" charset="0"/>
                <a:cs typeface="Segoe UI Light" panose="020B0502040204020203" pitchFamily="34" charset="0"/>
              </a:rPr>
              <a:t>The 3rd full backup of each year will be kept for 5 years.</a:t>
            </a:r>
            <a:endParaRPr lang="en-US" sz="2600" dirty="0">
              <a:solidFill>
                <a:srgbClr val="0072C6"/>
              </a:solidFill>
              <a:latin typeface="Segoe UI Light" panose="020B0502040204020203" pitchFamily="34" charset="0"/>
              <a:cs typeface="Segoe UI Light" panose="020B0502040204020203" pitchFamily="34" charset="0"/>
            </a:endParaRPr>
          </a:p>
          <a:p>
            <a:pPr defTabSz="932742"/>
            <a:r>
              <a:rPr lang="en-US" sz="2600" dirty="0">
                <a:solidFill>
                  <a:srgbClr val="0072C6"/>
                </a:solidFill>
                <a:latin typeface="Segoe UI Light" panose="020B0502040204020203" pitchFamily="34" charset="0"/>
                <a:cs typeface="Segoe UI Light" panose="020B0502040204020203" pitchFamily="34" charset="0"/>
              </a:rPr>
              <a:t>W=0, M=3, Y=0</a:t>
            </a:r>
          </a:p>
          <a:p>
            <a:pPr marL="466371" lvl="1" defTabSz="932742"/>
            <a:r>
              <a:rPr lang="en-US" dirty="0">
                <a:solidFill>
                  <a:srgbClr val="505050"/>
                </a:solidFill>
                <a:latin typeface="Segoe UI Light" panose="020B0502040204020203" pitchFamily="34" charset="0"/>
                <a:cs typeface="Segoe UI Light" panose="020B0502040204020203" pitchFamily="34" charset="0"/>
              </a:rPr>
              <a:t>The first full backup of each month will be kept for 3 months.</a:t>
            </a:r>
          </a:p>
          <a:p>
            <a:pPr defTabSz="932742"/>
            <a:r>
              <a:rPr lang="en-US" sz="2600" dirty="0">
                <a:solidFill>
                  <a:srgbClr val="0072C6"/>
                </a:solidFill>
                <a:latin typeface="Segoe UI Light" panose="020B0502040204020203" pitchFamily="34" charset="0"/>
                <a:cs typeface="Segoe UI Light" panose="020B0502040204020203" pitchFamily="34" charset="0"/>
              </a:rPr>
              <a:t>W=12, M=0, Y=0</a:t>
            </a:r>
          </a:p>
          <a:p>
            <a:pPr marL="466371" lvl="1" defTabSz="932742"/>
            <a:r>
              <a:rPr lang="en-US" dirty="0">
                <a:solidFill>
                  <a:srgbClr val="505050"/>
                </a:solidFill>
                <a:latin typeface="Segoe UI Light" panose="020B0502040204020203" pitchFamily="34" charset="0"/>
                <a:cs typeface="Segoe UI Light" panose="020B0502040204020203" pitchFamily="34" charset="0"/>
              </a:rPr>
              <a:t>Each weekly full backup will be kept for 12 weeks.</a:t>
            </a:r>
          </a:p>
          <a:p>
            <a:pPr marL="466371" lvl="1" defTabSz="932742"/>
            <a:endParaRPr lang="en-US" dirty="0">
              <a:solidFill>
                <a:srgbClr val="50505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91036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p:txBody>
          <a:bodyPr/>
          <a:lstStyle/>
          <a:p>
            <a:r>
              <a:rPr lang="en-US" dirty="0"/>
              <a:t>Hyperscale Backup &amp; Restore</a:t>
            </a:r>
          </a:p>
        </p:txBody>
      </p:sp>
      <p:cxnSp>
        <p:nvCxnSpPr>
          <p:cNvPr id="64" name="Straight Arrow Connector 63">
            <a:extLst>
              <a:ext uri="{FF2B5EF4-FFF2-40B4-BE49-F238E27FC236}">
                <a16:creationId xmlns:a16="http://schemas.microsoft.com/office/drawing/2014/main" id="{C95B2096-F69B-4490-A876-452311C6D687}"/>
              </a:ext>
            </a:extLst>
          </p:cNvPr>
          <p:cNvCxnSpPr>
            <a:cxnSpLocks/>
            <a:endCxn id="91" idx="0"/>
          </p:cNvCxnSpPr>
          <p:nvPr/>
        </p:nvCxnSpPr>
        <p:spPr>
          <a:xfrm flipV="1">
            <a:off x="5685278" y="5454214"/>
            <a:ext cx="0" cy="507925"/>
          </a:xfrm>
          <a:prstGeom prst="straightConnector1">
            <a:avLst/>
          </a:prstGeom>
          <a:noFill/>
          <a:ln w="9525" cap="flat" cmpd="sng" algn="ctr">
            <a:solidFill>
              <a:srgbClr val="0070C0"/>
            </a:solidFill>
            <a:prstDash val="solid"/>
            <a:tailEnd type="triangle"/>
          </a:ln>
          <a:effectLst/>
        </p:spPr>
      </p:cxnSp>
      <p:cxnSp>
        <p:nvCxnSpPr>
          <p:cNvPr id="65" name="Straight Arrow Connector 64">
            <a:extLst>
              <a:ext uri="{FF2B5EF4-FFF2-40B4-BE49-F238E27FC236}">
                <a16:creationId xmlns:a16="http://schemas.microsoft.com/office/drawing/2014/main" id="{CCB84055-3A58-4EB7-9EEE-AD6143CF820C}"/>
              </a:ext>
            </a:extLst>
          </p:cNvPr>
          <p:cNvCxnSpPr>
            <a:cxnSpLocks/>
          </p:cNvCxnSpPr>
          <p:nvPr/>
        </p:nvCxnSpPr>
        <p:spPr>
          <a:xfrm flipV="1">
            <a:off x="6453059" y="5454217"/>
            <a:ext cx="0" cy="507922"/>
          </a:xfrm>
          <a:prstGeom prst="straightConnector1">
            <a:avLst/>
          </a:prstGeom>
          <a:noFill/>
          <a:ln w="9525" cap="flat" cmpd="sng" algn="ctr">
            <a:solidFill>
              <a:srgbClr val="0070C0"/>
            </a:solidFill>
            <a:prstDash val="solid"/>
            <a:tailEnd type="triangle"/>
          </a:ln>
          <a:effectLst/>
        </p:spPr>
      </p:cxnSp>
      <p:cxnSp>
        <p:nvCxnSpPr>
          <p:cNvPr id="66" name="Straight Arrow Connector 65">
            <a:extLst>
              <a:ext uri="{FF2B5EF4-FFF2-40B4-BE49-F238E27FC236}">
                <a16:creationId xmlns:a16="http://schemas.microsoft.com/office/drawing/2014/main" id="{D7BC0A8B-38FE-4C3C-A69A-C4FD872A1952}"/>
              </a:ext>
            </a:extLst>
          </p:cNvPr>
          <p:cNvCxnSpPr>
            <a:cxnSpLocks/>
          </p:cNvCxnSpPr>
          <p:nvPr/>
        </p:nvCxnSpPr>
        <p:spPr>
          <a:xfrm flipV="1">
            <a:off x="7220842" y="5454216"/>
            <a:ext cx="0" cy="499289"/>
          </a:xfrm>
          <a:prstGeom prst="straightConnector1">
            <a:avLst/>
          </a:prstGeom>
          <a:noFill/>
          <a:ln w="9525" cap="flat" cmpd="sng" algn="ctr">
            <a:solidFill>
              <a:srgbClr val="0070C0"/>
            </a:solidFill>
            <a:prstDash val="solid"/>
            <a:tailEnd type="triangle"/>
          </a:ln>
          <a:effectLst/>
        </p:spPr>
      </p:cxnSp>
      <p:sp>
        <p:nvSpPr>
          <p:cNvPr id="67" name="Rectangle 66">
            <a:extLst>
              <a:ext uri="{FF2B5EF4-FFF2-40B4-BE49-F238E27FC236}">
                <a16:creationId xmlns:a16="http://schemas.microsoft.com/office/drawing/2014/main" id="{C40E23CE-BE95-4686-8827-681238548FA2}"/>
              </a:ext>
            </a:extLst>
          </p:cNvPr>
          <p:cNvSpPr/>
          <p:nvPr/>
        </p:nvSpPr>
        <p:spPr>
          <a:xfrm>
            <a:off x="7993898" y="2081805"/>
            <a:ext cx="2520094" cy="293595"/>
          </a:xfrm>
          <a:prstGeom prst="rect">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496" b="0" i="0" u="none" strike="noStrike" kern="0" cap="none" spc="0" normalizeH="0" baseline="0" noProof="0">
              <a:ln>
                <a:noFill/>
              </a:ln>
              <a:solidFill>
                <a:srgbClr val="1A1A1A"/>
              </a:solidFill>
              <a:effectLst/>
              <a:uLnTx/>
              <a:uFillTx/>
              <a:latin typeface="Segoe UI"/>
              <a:ea typeface="+mn-ea"/>
              <a:cs typeface="+mn-cs"/>
            </a:endParaRPr>
          </a:p>
        </p:txBody>
      </p:sp>
      <p:sp>
        <p:nvSpPr>
          <p:cNvPr id="68" name="Rectangle 67">
            <a:extLst>
              <a:ext uri="{FF2B5EF4-FFF2-40B4-BE49-F238E27FC236}">
                <a16:creationId xmlns:a16="http://schemas.microsoft.com/office/drawing/2014/main" id="{0C7889E0-144D-4E83-9100-E3D977E69965}"/>
              </a:ext>
            </a:extLst>
          </p:cNvPr>
          <p:cNvSpPr/>
          <p:nvPr/>
        </p:nvSpPr>
        <p:spPr>
          <a:xfrm>
            <a:off x="7993898" y="1219200"/>
            <a:ext cx="2520094" cy="293583"/>
          </a:xfrm>
          <a:prstGeom prst="rect">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5A5FB8B6-5B20-4F6A-8396-990E5348D573}"/>
              </a:ext>
            </a:extLst>
          </p:cNvPr>
          <p:cNvSpPr/>
          <p:nvPr/>
        </p:nvSpPr>
        <p:spPr>
          <a:xfrm>
            <a:off x="11043899" y="1234801"/>
            <a:ext cx="892989" cy="1156203"/>
          </a:xfrm>
          <a:prstGeom prst="rect">
            <a:avLst/>
          </a:prstGeom>
          <a:noFill/>
          <a:ln w="10795" cap="flat" cmpd="sng" algn="ctr">
            <a:solidFill>
              <a:srgbClr val="002050">
                <a:shade val="50000"/>
              </a:srgbClr>
            </a:solidFill>
            <a:prstDash val="solid"/>
          </a:ln>
          <a:effectLst/>
        </p:spPr>
        <p:txBody>
          <a:bodyPr rtlCol="0" anchor="t"/>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a:ea typeface="+mn-ea"/>
                <a:cs typeface="+mn-cs"/>
              </a:rPr>
              <a:t>Log Service</a:t>
            </a:r>
            <a:endParaRPr kumimoji="0" lang="en-US" sz="1400" b="0" i="0" u="none" strike="noStrike" kern="0" cap="none" spc="0" normalizeH="0" baseline="0" noProof="0">
              <a:ln>
                <a:noFill/>
              </a:ln>
              <a:solidFill>
                <a:srgbClr val="1A1A1A"/>
              </a:solidFill>
              <a:effectLst/>
              <a:uLnTx/>
              <a:uFillTx/>
              <a:latin typeface="Segoe UI"/>
              <a:ea typeface="+mn-ea"/>
              <a:cs typeface="Segoe UI"/>
            </a:endParaRPr>
          </a:p>
        </p:txBody>
      </p:sp>
      <p:cxnSp>
        <p:nvCxnSpPr>
          <p:cNvPr id="70" name="Straight Arrow Connector 69">
            <a:extLst>
              <a:ext uri="{FF2B5EF4-FFF2-40B4-BE49-F238E27FC236}">
                <a16:creationId xmlns:a16="http://schemas.microsoft.com/office/drawing/2014/main" id="{0A24AA3C-41F8-4BC5-9B4D-DEDF83C998F4}"/>
              </a:ext>
            </a:extLst>
          </p:cNvPr>
          <p:cNvCxnSpPr>
            <a:cxnSpLocks/>
          </p:cNvCxnSpPr>
          <p:nvPr/>
        </p:nvCxnSpPr>
        <p:spPr>
          <a:xfrm>
            <a:off x="10513992" y="1365990"/>
            <a:ext cx="529907" cy="0"/>
          </a:xfrm>
          <a:prstGeom prst="straightConnector1">
            <a:avLst/>
          </a:prstGeom>
          <a:noFill/>
          <a:ln w="9525" cap="flat" cmpd="sng" algn="ctr">
            <a:solidFill>
              <a:srgbClr val="002050"/>
            </a:solidFill>
            <a:prstDash val="solid"/>
            <a:tailEnd type="triangle"/>
          </a:ln>
          <a:effectLst/>
        </p:spPr>
      </p:cxnSp>
      <p:cxnSp>
        <p:nvCxnSpPr>
          <p:cNvPr id="71" name="Straight Arrow Connector 70">
            <a:extLst>
              <a:ext uri="{FF2B5EF4-FFF2-40B4-BE49-F238E27FC236}">
                <a16:creationId xmlns:a16="http://schemas.microsoft.com/office/drawing/2014/main" id="{58CBA61E-F34D-494F-96E2-9407655AFA65}"/>
              </a:ext>
            </a:extLst>
          </p:cNvPr>
          <p:cNvCxnSpPr>
            <a:cxnSpLocks/>
          </p:cNvCxnSpPr>
          <p:nvPr/>
        </p:nvCxnSpPr>
        <p:spPr>
          <a:xfrm flipH="1">
            <a:off x="10513992" y="2228603"/>
            <a:ext cx="529907" cy="0"/>
          </a:xfrm>
          <a:prstGeom prst="straightConnector1">
            <a:avLst/>
          </a:prstGeom>
          <a:noFill/>
          <a:ln w="9525" cap="flat" cmpd="sng" algn="ctr">
            <a:solidFill>
              <a:srgbClr val="002050"/>
            </a:solidFill>
            <a:prstDash val="solid"/>
            <a:tailEnd type="triangle"/>
          </a:ln>
          <a:effectLst/>
        </p:spPr>
      </p:cxnSp>
      <p:sp>
        <p:nvSpPr>
          <p:cNvPr id="72" name="TextBox 71">
            <a:extLst>
              <a:ext uri="{FF2B5EF4-FFF2-40B4-BE49-F238E27FC236}">
                <a16:creationId xmlns:a16="http://schemas.microsoft.com/office/drawing/2014/main" id="{97CA30E2-907C-4AAC-B088-0654D150308E}"/>
              </a:ext>
            </a:extLst>
          </p:cNvPr>
          <p:cNvSpPr txBox="1"/>
          <p:nvPr/>
        </p:nvSpPr>
        <p:spPr>
          <a:xfrm>
            <a:off x="7846545" y="2409480"/>
            <a:ext cx="2099806" cy="307777"/>
          </a:xfrm>
          <a:prstGeom prst="rect">
            <a:avLst/>
          </a:prstGeom>
          <a:noFill/>
        </p:spPr>
        <p:txBody>
          <a:bodyPr wrap="none" rtlCol="0" anchor="t">
            <a:spAutoFit/>
          </a:bodyPr>
          <a:lstStyle/>
          <a:p>
            <a:pPr defTabSz="932563">
              <a:defRPr/>
            </a:pPr>
            <a:r>
              <a:rPr lang="en-US" sz="1400">
                <a:solidFill>
                  <a:srgbClr val="1A1A1A"/>
                </a:solidFill>
                <a:latin typeface="Segoe UI Semibold"/>
                <a:cs typeface="Segoe UI Semibold"/>
              </a:rPr>
              <a:t>Long term long storage</a:t>
            </a:r>
          </a:p>
        </p:txBody>
      </p:sp>
      <p:sp>
        <p:nvSpPr>
          <p:cNvPr id="73" name="TextBox 72">
            <a:extLst>
              <a:ext uri="{FF2B5EF4-FFF2-40B4-BE49-F238E27FC236}">
                <a16:creationId xmlns:a16="http://schemas.microsoft.com/office/drawing/2014/main" id="{A9A8786C-2131-47CA-AF83-0F06BF23600C}"/>
              </a:ext>
            </a:extLst>
          </p:cNvPr>
          <p:cNvSpPr txBox="1"/>
          <p:nvPr/>
        </p:nvSpPr>
        <p:spPr>
          <a:xfrm>
            <a:off x="7870505" y="1515918"/>
            <a:ext cx="1709122" cy="315471"/>
          </a:xfrm>
          <a:prstGeom prst="rect">
            <a:avLst/>
          </a:prstGeom>
          <a:noFill/>
        </p:spPr>
        <p:txBody>
          <a:bodyPr wrap="none" rtlCol="0" anchor="t">
            <a:spAutoFit/>
          </a:bodyPr>
          <a:lstStyle/>
          <a:p>
            <a:pPr defTabSz="932563">
              <a:defRPr/>
            </a:pPr>
            <a:r>
              <a:rPr lang="en-US" sz="1400">
                <a:solidFill>
                  <a:srgbClr val="1A1A1A"/>
                </a:solidFill>
                <a:latin typeface="Segoe UI Semibold"/>
                <a:cs typeface="Segoe UI Semibold"/>
              </a:rPr>
              <a:t>Log Landing Zone</a:t>
            </a:r>
          </a:p>
        </p:txBody>
      </p:sp>
      <p:sp>
        <p:nvSpPr>
          <p:cNvPr id="74" name="Rectangle 73">
            <a:extLst>
              <a:ext uri="{FF2B5EF4-FFF2-40B4-BE49-F238E27FC236}">
                <a16:creationId xmlns:a16="http://schemas.microsoft.com/office/drawing/2014/main" id="{DE5E89CA-789C-4DE9-99A9-59EF4C5FD114}"/>
              </a:ext>
            </a:extLst>
          </p:cNvPr>
          <p:cNvSpPr/>
          <p:nvPr/>
        </p:nvSpPr>
        <p:spPr>
          <a:xfrm>
            <a:off x="5287646" y="4479266"/>
            <a:ext cx="2330827" cy="1094286"/>
          </a:xfrm>
          <a:prstGeom prst="rect">
            <a:avLst/>
          </a:prstGeom>
          <a:noFill/>
          <a:ln w="10795" cap="flat" cmpd="sng" algn="ctr">
            <a:solidFill>
              <a:srgbClr val="0070C0"/>
            </a:solidFill>
            <a:prstDash val="solid"/>
          </a:ln>
          <a:effectLst/>
        </p:spPr>
        <p:txBody>
          <a:bodyPr rtlCol="0" anchor="t"/>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Semibold"/>
                <a:ea typeface="+mn-ea"/>
                <a:cs typeface="Segoe UI Semibold"/>
              </a:rPr>
              <a:t>Page Servers</a:t>
            </a:r>
          </a:p>
        </p:txBody>
      </p:sp>
      <p:sp>
        <p:nvSpPr>
          <p:cNvPr id="75" name="Rectangle 74">
            <a:extLst>
              <a:ext uri="{FF2B5EF4-FFF2-40B4-BE49-F238E27FC236}">
                <a16:creationId xmlns:a16="http://schemas.microsoft.com/office/drawing/2014/main" id="{3BC497A6-DB73-49C7-BF13-BE0FFC7A67EB}"/>
              </a:ext>
            </a:extLst>
          </p:cNvPr>
          <p:cNvSpPr/>
          <p:nvPr/>
        </p:nvSpPr>
        <p:spPr>
          <a:xfrm>
            <a:off x="8016364" y="5841548"/>
            <a:ext cx="2520094" cy="293595"/>
          </a:xfrm>
          <a:prstGeom prst="rect">
            <a:avLst/>
          </a:prstGeom>
          <a:solidFill>
            <a:srgbClr val="00BCF2"/>
          </a:solidFill>
          <a:ln w="10795" cap="flat" cmpd="sng" algn="ctr">
            <a:solidFill>
              <a:srgbClr val="0070C0"/>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1496" b="0" i="0" u="none" strike="noStrike" kern="0" cap="none" spc="0" normalizeH="0" baseline="0" noProof="0">
              <a:ln>
                <a:noFill/>
              </a:ln>
              <a:solidFill>
                <a:srgbClr val="1A1A1A"/>
              </a:soli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4F57D30C-C480-4727-AFE6-D660DC6B6898}"/>
              </a:ext>
            </a:extLst>
          </p:cNvPr>
          <p:cNvCxnSpPr/>
          <p:nvPr/>
        </p:nvCxnSpPr>
        <p:spPr>
          <a:xfrm>
            <a:off x="685472" y="1710233"/>
            <a:ext cx="6485048" cy="0"/>
          </a:xfrm>
          <a:prstGeom prst="line">
            <a:avLst/>
          </a:prstGeom>
          <a:noFill/>
          <a:ln w="9525" cap="flat" cmpd="sng" algn="ctr">
            <a:solidFill>
              <a:srgbClr val="002050"/>
            </a:solidFill>
            <a:prstDash val="solid"/>
          </a:ln>
          <a:effectLst/>
        </p:spPr>
      </p:cxnSp>
      <p:cxnSp>
        <p:nvCxnSpPr>
          <p:cNvPr id="77" name="Straight Connector 76">
            <a:extLst>
              <a:ext uri="{FF2B5EF4-FFF2-40B4-BE49-F238E27FC236}">
                <a16:creationId xmlns:a16="http://schemas.microsoft.com/office/drawing/2014/main" id="{D49C0F38-D168-414E-8088-ECA840A9FB6F}"/>
              </a:ext>
            </a:extLst>
          </p:cNvPr>
          <p:cNvCxnSpPr/>
          <p:nvPr/>
        </p:nvCxnSpPr>
        <p:spPr>
          <a:xfrm>
            <a:off x="685472" y="2340604"/>
            <a:ext cx="6485048" cy="0"/>
          </a:xfrm>
          <a:prstGeom prst="line">
            <a:avLst/>
          </a:prstGeom>
          <a:noFill/>
          <a:ln w="9525" cap="flat" cmpd="sng" algn="ctr">
            <a:solidFill>
              <a:srgbClr val="002050"/>
            </a:solidFill>
            <a:prstDash val="solid"/>
          </a:ln>
          <a:effectLst/>
        </p:spPr>
      </p:cxnSp>
      <p:cxnSp>
        <p:nvCxnSpPr>
          <p:cNvPr id="78" name="Straight Connector 77">
            <a:extLst>
              <a:ext uri="{FF2B5EF4-FFF2-40B4-BE49-F238E27FC236}">
                <a16:creationId xmlns:a16="http://schemas.microsoft.com/office/drawing/2014/main" id="{F671FF1F-B674-4A60-90C8-C6BE8CE560AD}"/>
              </a:ext>
            </a:extLst>
          </p:cNvPr>
          <p:cNvCxnSpPr/>
          <p:nvPr/>
        </p:nvCxnSpPr>
        <p:spPr>
          <a:xfrm>
            <a:off x="685472" y="2945070"/>
            <a:ext cx="6485048" cy="0"/>
          </a:xfrm>
          <a:prstGeom prst="line">
            <a:avLst/>
          </a:prstGeom>
          <a:noFill/>
          <a:ln w="9525" cap="flat" cmpd="sng" algn="ctr">
            <a:solidFill>
              <a:srgbClr val="002050"/>
            </a:solidFill>
            <a:prstDash val="solid"/>
          </a:ln>
          <a:effectLst/>
        </p:spPr>
      </p:cxnSp>
      <p:sp>
        <p:nvSpPr>
          <p:cNvPr id="79" name="Flowchart: Predefined Process 78">
            <a:extLst>
              <a:ext uri="{FF2B5EF4-FFF2-40B4-BE49-F238E27FC236}">
                <a16:creationId xmlns:a16="http://schemas.microsoft.com/office/drawing/2014/main" id="{BCFC89A9-349E-4678-A16A-91B4EA76A105}"/>
              </a:ext>
            </a:extLst>
          </p:cNvPr>
          <p:cNvSpPr/>
          <p:nvPr/>
        </p:nvSpPr>
        <p:spPr>
          <a:xfrm rot="5400000">
            <a:off x="1253218" y="1615284"/>
            <a:ext cx="479294" cy="189903"/>
          </a:xfrm>
          <a:prstGeom prst="flowChartPredefinedProcess">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80" name="Flowchart: Predefined Process 79">
            <a:extLst>
              <a:ext uri="{FF2B5EF4-FFF2-40B4-BE49-F238E27FC236}">
                <a16:creationId xmlns:a16="http://schemas.microsoft.com/office/drawing/2014/main" id="{889F290B-59CB-421B-9E39-77C373DA4C96}"/>
              </a:ext>
            </a:extLst>
          </p:cNvPr>
          <p:cNvSpPr/>
          <p:nvPr/>
        </p:nvSpPr>
        <p:spPr>
          <a:xfrm rot="5400000">
            <a:off x="2887415" y="1615285"/>
            <a:ext cx="479294" cy="189903"/>
          </a:xfrm>
          <a:prstGeom prst="flowChartPredefinedProcess">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81" name="Flowchart: Predefined Process 80">
            <a:extLst>
              <a:ext uri="{FF2B5EF4-FFF2-40B4-BE49-F238E27FC236}">
                <a16:creationId xmlns:a16="http://schemas.microsoft.com/office/drawing/2014/main" id="{108DE5D7-73D2-4E8C-941A-5853A58005A5}"/>
              </a:ext>
            </a:extLst>
          </p:cNvPr>
          <p:cNvSpPr/>
          <p:nvPr/>
        </p:nvSpPr>
        <p:spPr>
          <a:xfrm rot="5400000">
            <a:off x="4525926" y="1615284"/>
            <a:ext cx="479294" cy="189903"/>
          </a:xfrm>
          <a:prstGeom prst="flowChartPredefinedProcess">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82" name="Flowchart: Predefined Process 81">
            <a:extLst>
              <a:ext uri="{FF2B5EF4-FFF2-40B4-BE49-F238E27FC236}">
                <a16:creationId xmlns:a16="http://schemas.microsoft.com/office/drawing/2014/main" id="{4AD607A2-B9A8-417F-89DA-03F699C0BCE8}"/>
              </a:ext>
            </a:extLst>
          </p:cNvPr>
          <p:cNvSpPr/>
          <p:nvPr/>
        </p:nvSpPr>
        <p:spPr>
          <a:xfrm rot="5400000">
            <a:off x="1745425" y="2245654"/>
            <a:ext cx="479294" cy="189903"/>
          </a:xfrm>
          <a:prstGeom prst="flowChartPredefinedProcess">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83" name="Flowchart: Predefined Process 82">
            <a:extLst>
              <a:ext uri="{FF2B5EF4-FFF2-40B4-BE49-F238E27FC236}">
                <a16:creationId xmlns:a16="http://schemas.microsoft.com/office/drawing/2014/main" id="{682A069A-1E46-4289-BF05-8C3AFC0EFC81}"/>
              </a:ext>
            </a:extLst>
          </p:cNvPr>
          <p:cNvSpPr/>
          <p:nvPr/>
        </p:nvSpPr>
        <p:spPr>
          <a:xfrm rot="5400000">
            <a:off x="3379622" y="2245656"/>
            <a:ext cx="479294" cy="189903"/>
          </a:xfrm>
          <a:prstGeom prst="flowChartPredefinedProcess">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84" name="Flowchart: Predefined Process 83">
            <a:extLst>
              <a:ext uri="{FF2B5EF4-FFF2-40B4-BE49-F238E27FC236}">
                <a16:creationId xmlns:a16="http://schemas.microsoft.com/office/drawing/2014/main" id="{8EF89D21-73CB-4E27-AC9E-EA27335D1C43}"/>
              </a:ext>
            </a:extLst>
          </p:cNvPr>
          <p:cNvSpPr/>
          <p:nvPr/>
        </p:nvSpPr>
        <p:spPr>
          <a:xfrm rot="5400000">
            <a:off x="5018133" y="2245654"/>
            <a:ext cx="479294" cy="189903"/>
          </a:xfrm>
          <a:prstGeom prst="flowChartPredefinedProcess">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85" name="Flowchart: Predefined Process 84">
            <a:extLst>
              <a:ext uri="{FF2B5EF4-FFF2-40B4-BE49-F238E27FC236}">
                <a16:creationId xmlns:a16="http://schemas.microsoft.com/office/drawing/2014/main" id="{B93189EB-00DD-4F2E-80E9-C9F40EEBDF8E}"/>
              </a:ext>
            </a:extLst>
          </p:cNvPr>
          <p:cNvSpPr/>
          <p:nvPr/>
        </p:nvSpPr>
        <p:spPr>
          <a:xfrm rot="5400000">
            <a:off x="968255" y="2850119"/>
            <a:ext cx="479294" cy="189903"/>
          </a:xfrm>
          <a:prstGeom prst="flowChartPredefinedProcess">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86" name="Flowchart: Predefined Process 85">
            <a:extLst>
              <a:ext uri="{FF2B5EF4-FFF2-40B4-BE49-F238E27FC236}">
                <a16:creationId xmlns:a16="http://schemas.microsoft.com/office/drawing/2014/main" id="{91CD0B52-7AD0-4A9D-AFCD-55D111B273CC}"/>
              </a:ext>
            </a:extLst>
          </p:cNvPr>
          <p:cNvSpPr/>
          <p:nvPr/>
        </p:nvSpPr>
        <p:spPr>
          <a:xfrm rot="5400000">
            <a:off x="2602453" y="2850120"/>
            <a:ext cx="479294" cy="189903"/>
          </a:xfrm>
          <a:prstGeom prst="flowChartPredefinedProcess">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87" name="Flowchart: Predefined Process 86">
            <a:extLst>
              <a:ext uri="{FF2B5EF4-FFF2-40B4-BE49-F238E27FC236}">
                <a16:creationId xmlns:a16="http://schemas.microsoft.com/office/drawing/2014/main" id="{E8ACD260-2770-4F70-8A01-A275D9070CC8}"/>
              </a:ext>
            </a:extLst>
          </p:cNvPr>
          <p:cNvSpPr/>
          <p:nvPr/>
        </p:nvSpPr>
        <p:spPr>
          <a:xfrm rot="5400000">
            <a:off x="4240964" y="2850119"/>
            <a:ext cx="479294" cy="189903"/>
          </a:xfrm>
          <a:prstGeom prst="flowChartPredefinedProcess">
            <a:avLst/>
          </a:prstGeom>
          <a:solidFill>
            <a:srgbClr val="00BCF2"/>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6EF36829-C660-4CC2-A9AA-04A1AE2662C3}"/>
              </a:ext>
            </a:extLst>
          </p:cNvPr>
          <p:cNvSpPr txBox="1"/>
          <p:nvPr/>
        </p:nvSpPr>
        <p:spPr>
          <a:xfrm>
            <a:off x="6061001" y="1293336"/>
            <a:ext cx="1270476" cy="307777"/>
          </a:xfrm>
          <a:prstGeom prst="rect">
            <a:avLst/>
          </a:prstGeom>
          <a:noFill/>
        </p:spPr>
        <p:txBody>
          <a:bodyPr wrap="none" rtlCol="0" anchor="t">
            <a:spAutoFit/>
          </a:bodyPr>
          <a:lstStyle/>
          <a:p>
            <a:pPr defTabSz="932563">
              <a:defRPr/>
            </a:pPr>
            <a:r>
              <a:rPr lang="en-US" sz="1400" dirty="0">
                <a:solidFill>
                  <a:srgbClr val="1A1A1A"/>
                </a:solidFill>
                <a:latin typeface="Segoe UI Semibold"/>
                <a:cs typeface="Segoe UI Semibold"/>
              </a:rPr>
              <a:t>Page Server 1</a:t>
            </a:r>
          </a:p>
        </p:txBody>
      </p:sp>
      <p:sp>
        <p:nvSpPr>
          <p:cNvPr id="89" name="TextBox 88">
            <a:extLst>
              <a:ext uri="{FF2B5EF4-FFF2-40B4-BE49-F238E27FC236}">
                <a16:creationId xmlns:a16="http://schemas.microsoft.com/office/drawing/2014/main" id="{90173A10-7846-4D8A-AA1D-BB5B4AF53250}"/>
              </a:ext>
            </a:extLst>
          </p:cNvPr>
          <p:cNvSpPr txBox="1"/>
          <p:nvPr/>
        </p:nvSpPr>
        <p:spPr>
          <a:xfrm>
            <a:off x="6062840" y="1873292"/>
            <a:ext cx="1297728" cy="307777"/>
          </a:xfrm>
          <a:prstGeom prst="rect">
            <a:avLst/>
          </a:prstGeom>
          <a:noFill/>
        </p:spPr>
        <p:txBody>
          <a:bodyPr wrap="none" rtlCol="0" anchor="t">
            <a:spAutoFit/>
          </a:bodyPr>
          <a:lstStyle/>
          <a:p>
            <a:pPr defTabSz="932563">
              <a:defRPr/>
            </a:pPr>
            <a:r>
              <a:rPr lang="en-US" sz="1400" dirty="0">
                <a:solidFill>
                  <a:srgbClr val="1A1A1A"/>
                </a:solidFill>
                <a:latin typeface="Segoe UI Semibold"/>
                <a:cs typeface="Segoe UI Semibold"/>
              </a:rPr>
              <a:t>Page Server 2</a:t>
            </a:r>
          </a:p>
        </p:txBody>
      </p:sp>
      <p:sp>
        <p:nvSpPr>
          <p:cNvPr id="90" name="TextBox 89">
            <a:extLst>
              <a:ext uri="{FF2B5EF4-FFF2-40B4-BE49-F238E27FC236}">
                <a16:creationId xmlns:a16="http://schemas.microsoft.com/office/drawing/2014/main" id="{A7A5165F-D245-4B97-B0F5-004AA7A66F32}"/>
              </a:ext>
            </a:extLst>
          </p:cNvPr>
          <p:cNvSpPr txBox="1"/>
          <p:nvPr/>
        </p:nvSpPr>
        <p:spPr>
          <a:xfrm>
            <a:off x="6059076" y="2501602"/>
            <a:ext cx="1297728" cy="307777"/>
          </a:xfrm>
          <a:prstGeom prst="rect">
            <a:avLst/>
          </a:prstGeom>
          <a:noFill/>
        </p:spPr>
        <p:txBody>
          <a:bodyPr wrap="none" rtlCol="0" anchor="t">
            <a:spAutoFit/>
          </a:bodyPr>
          <a:lstStyle/>
          <a:p>
            <a:pPr defTabSz="932563">
              <a:defRPr/>
            </a:pPr>
            <a:r>
              <a:rPr lang="en-US" sz="1400" dirty="0">
                <a:solidFill>
                  <a:srgbClr val="1A1A1A"/>
                </a:solidFill>
                <a:latin typeface="Segoe UI Semibold"/>
                <a:cs typeface="Segoe UI Semibold"/>
              </a:rPr>
              <a:t>Page Server 3</a:t>
            </a:r>
          </a:p>
        </p:txBody>
      </p:sp>
      <p:sp>
        <p:nvSpPr>
          <p:cNvPr id="91" name="Rectangle: Folded Corner 90">
            <a:extLst>
              <a:ext uri="{FF2B5EF4-FFF2-40B4-BE49-F238E27FC236}">
                <a16:creationId xmlns:a16="http://schemas.microsoft.com/office/drawing/2014/main" id="{E1C549A1-08BA-453D-9399-C0F2253FFF51}"/>
              </a:ext>
            </a:extLst>
          </p:cNvPr>
          <p:cNvSpPr/>
          <p:nvPr/>
        </p:nvSpPr>
        <p:spPr>
          <a:xfrm rot="10800000">
            <a:off x="5445632" y="4839016"/>
            <a:ext cx="479294" cy="615199"/>
          </a:xfrm>
          <a:prstGeom prst="foldedCorner">
            <a:avLst/>
          </a:prstGeom>
          <a:solidFill>
            <a:srgbClr val="00BCF2"/>
          </a:solidFill>
          <a:ln w="10795" cap="flat" cmpd="sng" algn="ctr">
            <a:solidFill>
              <a:srgbClr val="0070C0"/>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cxnSp>
        <p:nvCxnSpPr>
          <p:cNvPr id="92" name="Straight Connector 91">
            <a:extLst>
              <a:ext uri="{FF2B5EF4-FFF2-40B4-BE49-F238E27FC236}">
                <a16:creationId xmlns:a16="http://schemas.microsoft.com/office/drawing/2014/main" id="{F63AFE8E-79C2-457D-8B90-57E56783C5AA}"/>
              </a:ext>
            </a:extLst>
          </p:cNvPr>
          <p:cNvCxnSpPr/>
          <p:nvPr/>
        </p:nvCxnSpPr>
        <p:spPr>
          <a:xfrm>
            <a:off x="3383975" y="1123039"/>
            <a:ext cx="0" cy="2253791"/>
          </a:xfrm>
          <a:prstGeom prst="line">
            <a:avLst/>
          </a:prstGeom>
          <a:noFill/>
          <a:ln w="9525" cap="flat" cmpd="sng" algn="ctr">
            <a:solidFill>
              <a:srgbClr val="002050"/>
            </a:solidFill>
            <a:prstDash val="solid"/>
          </a:ln>
          <a:effectLst/>
        </p:spPr>
      </p:cxnSp>
      <p:sp>
        <p:nvSpPr>
          <p:cNvPr id="93" name="TextBox 92">
            <a:extLst>
              <a:ext uri="{FF2B5EF4-FFF2-40B4-BE49-F238E27FC236}">
                <a16:creationId xmlns:a16="http://schemas.microsoft.com/office/drawing/2014/main" id="{9EDF78C8-771C-40ED-93D6-7207A8961FB6}"/>
              </a:ext>
            </a:extLst>
          </p:cNvPr>
          <p:cNvSpPr txBox="1"/>
          <p:nvPr/>
        </p:nvSpPr>
        <p:spPr>
          <a:xfrm>
            <a:off x="10014266" y="3034022"/>
            <a:ext cx="1220591" cy="307777"/>
          </a:xfrm>
          <a:prstGeom prst="rect">
            <a:avLst/>
          </a:prstGeom>
          <a:noFill/>
        </p:spPr>
        <p:txBody>
          <a:bodyPr wrap="none" rtlCol="0" anchor="t">
            <a:spAutoFit/>
          </a:bodyPr>
          <a:lstStyle/>
          <a:p>
            <a:pPr defTabSz="932563">
              <a:defRPr/>
            </a:pPr>
            <a:r>
              <a:rPr lang="en-US" sz="1400">
                <a:solidFill>
                  <a:srgbClr val="1A1A1A"/>
                </a:solidFill>
                <a:latin typeface="Segoe UI Semibold"/>
                <a:cs typeface="Segoe UI Semibold"/>
              </a:rPr>
              <a:t>Point in time</a:t>
            </a:r>
          </a:p>
        </p:txBody>
      </p:sp>
      <p:sp>
        <p:nvSpPr>
          <p:cNvPr id="94" name="TextBox 93">
            <a:extLst>
              <a:ext uri="{FF2B5EF4-FFF2-40B4-BE49-F238E27FC236}">
                <a16:creationId xmlns:a16="http://schemas.microsoft.com/office/drawing/2014/main" id="{F8A44A94-A24E-45DA-909C-CBD30FD94D51}"/>
              </a:ext>
            </a:extLst>
          </p:cNvPr>
          <p:cNvSpPr txBox="1"/>
          <p:nvPr/>
        </p:nvSpPr>
        <p:spPr>
          <a:xfrm>
            <a:off x="575090" y="1141631"/>
            <a:ext cx="1016625" cy="307777"/>
          </a:xfrm>
          <a:prstGeom prst="rect">
            <a:avLst/>
          </a:prstGeom>
          <a:noFill/>
        </p:spPr>
        <p:txBody>
          <a:bodyPr wrap="none" rtlCol="0" anchor="t">
            <a:spAutoFit/>
          </a:bodyPr>
          <a:lstStyle/>
          <a:p>
            <a:pPr defTabSz="932563">
              <a:defRPr/>
            </a:pPr>
            <a:r>
              <a:rPr lang="en-US" sz="1400">
                <a:solidFill>
                  <a:srgbClr val="1A1A1A"/>
                </a:solidFill>
                <a:latin typeface="Segoe UI Semibold"/>
                <a:cs typeface="Segoe UI Semibold"/>
              </a:rPr>
              <a:t>Snapshots</a:t>
            </a:r>
          </a:p>
        </p:txBody>
      </p:sp>
      <p:cxnSp>
        <p:nvCxnSpPr>
          <p:cNvPr id="95" name="Straight Connector 94">
            <a:extLst>
              <a:ext uri="{FF2B5EF4-FFF2-40B4-BE49-F238E27FC236}">
                <a16:creationId xmlns:a16="http://schemas.microsoft.com/office/drawing/2014/main" id="{E12485BE-A155-49FE-9358-A58D004C13B4}"/>
              </a:ext>
            </a:extLst>
          </p:cNvPr>
          <p:cNvCxnSpPr>
            <a:cxnSpLocks/>
          </p:cNvCxnSpPr>
          <p:nvPr/>
        </p:nvCxnSpPr>
        <p:spPr>
          <a:xfrm>
            <a:off x="9069011" y="1847533"/>
            <a:ext cx="0" cy="1176497"/>
          </a:xfrm>
          <a:prstGeom prst="line">
            <a:avLst/>
          </a:prstGeom>
          <a:noFill/>
          <a:ln w="9525" cap="flat" cmpd="sng" algn="ctr">
            <a:solidFill>
              <a:srgbClr val="002050"/>
            </a:solidFill>
            <a:prstDash val="solid"/>
          </a:ln>
          <a:effectLst/>
        </p:spPr>
      </p:cxnSp>
      <p:cxnSp>
        <p:nvCxnSpPr>
          <p:cNvPr id="96" name="Straight Connector 95">
            <a:extLst>
              <a:ext uri="{FF2B5EF4-FFF2-40B4-BE49-F238E27FC236}">
                <a16:creationId xmlns:a16="http://schemas.microsoft.com/office/drawing/2014/main" id="{DD9792EB-DB6B-41C0-BA64-76E4B61D5711}"/>
              </a:ext>
            </a:extLst>
          </p:cNvPr>
          <p:cNvCxnSpPr>
            <a:cxnSpLocks/>
          </p:cNvCxnSpPr>
          <p:nvPr/>
        </p:nvCxnSpPr>
        <p:spPr>
          <a:xfrm>
            <a:off x="10217494" y="1830112"/>
            <a:ext cx="0" cy="1193919"/>
          </a:xfrm>
          <a:prstGeom prst="line">
            <a:avLst/>
          </a:prstGeom>
          <a:noFill/>
          <a:ln w="9525" cap="flat" cmpd="sng" algn="ctr">
            <a:solidFill>
              <a:srgbClr val="002050"/>
            </a:solidFill>
            <a:prstDash val="solid"/>
          </a:ln>
          <a:effectLst/>
        </p:spPr>
      </p:cxnSp>
      <p:sp>
        <p:nvSpPr>
          <p:cNvPr id="97" name="TextBox 96">
            <a:extLst>
              <a:ext uri="{FF2B5EF4-FFF2-40B4-BE49-F238E27FC236}">
                <a16:creationId xmlns:a16="http://schemas.microsoft.com/office/drawing/2014/main" id="{56BD8ABD-D5AA-4049-A944-7885467D6B42}"/>
              </a:ext>
            </a:extLst>
          </p:cNvPr>
          <p:cNvSpPr txBox="1"/>
          <p:nvPr/>
        </p:nvSpPr>
        <p:spPr>
          <a:xfrm>
            <a:off x="8071529" y="3030954"/>
            <a:ext cx="1994964" cy="983069"/>
          </a:xfrm>
          <a:prstGeom prst="rect">
            <a:avLst/>
          </a:prstGeom>
          <a:noFill/>
        </p:spPr>
        <p:txBody>
          <a:bodyPr wrap="square" rtlCol="0" anchor="t">
            <a:spAutoFit/>
          </a:bodyPr>
          <a:lstStyle/>
          <a:p>
            <a:pPr defTabSz="932563">
              <a:defRPr/>
            </a:pPr>
            <a:r>
              <a:rPr lang="en-US" sz="1400" dirty="0">
                <a:solidFill>
                  <a:srgbClr val="1A1A1A"/>
                </a:solidFill>
                <a:latin typeface="Segoe UI Semibold"/>
                <a:cs typeface="Segoe UI Semibold"/>
              </a:rPr>
              <a:t>Start LSN of oldest transaction (latest snapshot with ADR)</a:t>
            </a:r>
          </a:p>
          <a:p>
            <a:pPr defTabSz="932563">
              <a:defRPr/>
            </a:pPr>
            <a:r>
              <a:rPr lang="en-US" sz="1400" dirty="0">
                <a:solidFill>
                  <a:srgbClr val="1A1A1A"/>
                </a:solidFill>
                <a:latin typeface="Segoe UI Semibold"/>
                <a:cs typeface="Segoe UI Semibold"/>
              </a:rPr>
              <a:t>among all snapshots</a:t>
            </a:r>
          </a:p>
        </p:txBody>
      </p:sp>
      <p:sp>
        <p:nvSpPr>
          <p:cNvPr id="98" name="TextBox 97">
            <a:extLst>
              <a:ext uri="{FF2B5EF4-FFF2-40B4-BE49-F238E27FC236}">
                <a16:creationId xmlns:a16="http://schemas.microsoft.com/office/drawing/2014/main" id="{F8752B7C-506F-4BD1-8102-0CE782841439}"/>
              </a:ext>
            </a:extLst>
          </p:cNvPr>
          <p:cNvSpPr txBox="1"/>
          <p:nvPr/>
        </p:nvSpPr>
        <p:spPr>
          <a:xfrm>
            <a:off x="2747148" y="3514136"/>
            <a:ext cx="1283016" cy="328945"/>
          </a:xfrm>
          <a:prstGeom prst="rect">
            <a:avLst/>
          </a:prstGeom>
          <a:noFill/>
        </p:spPr>
        <p:txBody>
          <a:bodyPr wrap="none"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496" b="0" i="0" u="none" strike="noStrike" kern="0" cap="none" spc="0" normalizeH="0" baseline="0" noProof="0">
                <a:ln>
                  <a:noFill/>
                </a:ln>
                <a:solidFill>
                  <a:srgbClr val="1A1A1A"/>
                </a:solidFill>
                <a:effectLst/>
                <a:uLnTx/>
                <a:uFillTx/>
              </a:rPr>
              <a:t>Point in time</a:t>
            </a:r>
          </a:p>
        </p:txBody>
      </p:sp>
      <p:sp>
        <p:nvSpPr>
          <p:cNvPr id="99" name="Rectangle 98">
            <a:extLst>
              <a:ext uri="{FF2B5EF4-FFF2-40B4-BE49-F238E27FC236}">
                <a16:creationId xmlns:a16="http://schemas.microsoft.com/office/drawing/2014/main" id="{B4DC25CF-7269-4FE5-A404-16E8914B0BD9}"/>
              </a:ext>
            </a:extLst>
          </p:cNvPr>
          <p:cNvSpPr/>
          <p:nvPr/>
        </p:nvSpPr>
        <p:spPr>
          <a:xfrm>
            <a:off x="9069012" y="2087181"/>
            <a:ext cx="1148476" cy="293596"/>
          </a:xfrm>
          <a:prstGeom prst="rect">
            <a:avLst/>
          </a:prstGeom>
          <a:solidFill>
            <a:srgbClr val="B4009E"/>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100" name="Flowchart: Predefined Process 99">
            <a:extLst>
              <a:ext uri="{FF2B5EF4-FFF2-40B4-BE49-F238E27FC236}">
                <a16:creationId xmlns:a16="http://schemas.microsoft.com/office/drawing/2014/main" id="{2170AAFA-8F82-4E39-A097-95EEA3FA4C46}"/>
              </a:ext>
            </a:extLst>
          </p:cNvPr>
          <p:cNvSpPr/>
          <p:nvPr/>
        </p:nvSpPr>
        <p:spPr>
          <a:xfrm rot="5400000">
            <a:off x="2899221" y="1613556"/>
            <a:ext cx="479294" cy="189903"/>
          </a:xfrm>
          <a:prstGeom prst="flowChartPredefinedProcess">
            <a:avLst/>
          </a:prstGeom>
          <a:solidFill>
            <a:srgbClr val="B4009E"/>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101" name="Flowchart: Predefined Process 100">
            <a:extLst>
              <a:ext uri="{FF2B5EF4-FFF2-40B4-BE49-F238E27FC236}">
                <a16:creationId xmlns:a16="http://schemas.microsoft.com/office/drawing/2014/main" id="{659A8765-B24E-46BD-91A9-0E03D95955FF}"/>
              </a:ext>
            </a:extLst>
          </p:cNvPr>
          <p:cNvSpPr/>
          <p:nvPr/>
        </p:nvSpPr>
        <p:spPr>
          <a:xfrm rot="5400000">
            <a:off x="1757230" y="2243926"/>
            <a:ext cx="479294" cy="189903"/>
          </a:xfrm>
          <a:prstGeom prst="flowChartPredefinedProcess">
            <a:avLst/>
          </a:prstGeom>
          <a:solidFill>
            <a:srgbClr val="B4009E"/>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102" name="Flowchart: Predefined Process 101">
            <a:extLst>
              <a:ext uri="{FF2B5EF4-FFF2-40B4-BE49-F238E27FC236}">
                <a16:creationId xmlns:a16="http://schemas.microsoft.com/office/drawing/2014/main" id="{7A6D000E-4DF2-4BD6-BF74-7194D306BB42}"/>
              </a:ext>
            </a:extLst>
          </p:cNvPr>
          <p:cNvSpPr/>
          <p:nvPr/>
        </p:nvSpPr>
        <p:spPr>
          <a:xfrm rot="5400000">
            <a:off x="2614258" y="2848392"/>
            <a:ext cx="479294" cy="189903"/>
          </a:xfrm>
          <a:prstGeom prst="flowChartPredefinedProcess">
            <a:avLst/>
          </a:prstGeom>
          <a:solidFill>
            <a:srgbClr val="B4009E"/>
          </a:solidFill>
          <a:ln w="10795" cap="flat" cmpd="sng" algn="ctr">
            <a:solidFill>
              <a:srgbClr val="002050">
                <a:shade val="50000"/>
              </a:srgbClr>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103" name="Rectangle: Folded Corner 102">
            <a:extLst>
              <a:ext uri="{FF2B5EF4-FFF2-40B4-BE49-F238E27FC236}">
                <a16:creationId xmlns:a16="http://schemas.microsoft.com/office/drawing/2014/main" id="{9C77A10A-E00B-4548-9B9D-DCB587C1FC43}"/>
              </a:ext>
            </a:extLst>
          </p:cNvPr>
          <p:cNvSpPr/>
          <p:nvPr/>
        </p:nvSpPr>
        <p:spPr>
          <a:xfrm rot="10800000">
            <a:off x="6213415" y="4839016"/>
            <a:ext cx="479294" cy="615199"/>
          </a:xfrm>
          <a:prstGeom prst="foldedCorner">
            <a:avLst/>
          </a:prstGeom>
          <a:solidFill>
            <a:srgbClr val="00BCF2"/>
          </a:solidFill>
          <a:ln w="10795" cap="flat" cmpd="sng" algn="ctr">
            <a:solidFill>
              <a:srgbClr val="0070C0"/>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104" name="Rectangle: Folded Corner 103">
            <a:extLst>
              <a:ext uri="{FF2B5EF4-FFF2-40B4-BE49-F238E27FC236}">
                <a16:creationId xmlns:a16="http://schemas.microsoft.com/office/drawing/2014/main" id="{B9974719-2FC0-4B2E-A898-1DDDE9C49920}"/>
              </a:ext>
            </a:extLst>
          </p:cNvPr>
          <p:cNvSpPr/>
          <p:nvPr/>
        </p:nvSpPr>
        <p:spPr>
          <a:xfrm rot="10800000">
            <a:off x="6981197" y="4839016"/>
            <a:ext cx="479294" cy="615199"/>
          </a:xfrm>
          <a:prstGeom prst="foldedCorner">
            <a:avLst/>
          </a:prstGeom>
          <a:solidFill>
            <a:srgbClr val="00BCF2"/>
          </a:solidFill>
          <a:ln w="10795" cap="flat" cmpd="sng" algn="ctr">
            <a:solidFill>
              <a:srgbClr val="0070C0"/>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105" name="Rectangle 104">
            <a:extLst>
              <a:ext uri="{FF2B5EF4-FFF2-40B4-BE49-F238E27FC236}">
                <a16:creationId xmlns:a16="http://schemas.microsoft.com/office/drawing/2014/main" id="{796FD5AA-BB37-4544-B577-9D07DEA0D384}"/>
              </a:ext>
            </a:extLst>
          </p:cNvPr>
          <p:cNvSpPr/>
          <p:nvPr/>
        </p:nvSpPr>
        <p:spPr>
          <a:xfrm>
            <a:off x="8016364" y="4978943"/>
            <a:ext cx="2520094" cy="293583"/>
          </a:xfrm>
          <a:prstGeom prst="rect">
            <a:avLst/>
          </a:prstGeom>
          <a:solidFill>
            <a:srgbClr val="00BCF2"/>
          </a:solidFill>
          <a:ln w="10795" cap="flat" cmpd="sng" algn="ctr">
            <a:solidFill>
              <a:srgbClr val="0070C0"/>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106" name="Rectangle 105">
            <a:extLst>
              <a:ext uri="{FF2B5EF4-FFF2-40B4-BE49-F238E27FC236}">
                <a16:creationId xmlns:a16="http://schemas.microsoft.com/office/drawing/2014/main" id="{9E86A300-6CA3-4836-A71B-7666722EB57E}"/>
              </a:ext>
            </a:extLst>
          </p:cNvPr>
          <p:cNvSpPr/>
          <p:nvPr/>
        </p:nvSpPr>
        <p:spPr>
          <a:xfrm>
            <a:off x="8016364" y="4978943"/>
            <a:ext cx="733440" cy="293596"/>
          </a:xfrm>
          <a:prstGeom prst="rect">
            <a:avLst/>
          </a:prstGeom>
          <a:solidFill>
            <a:srgbClr val="B4009E"/>
          </a:solidFill>
          <a:ln w="10795" cap="flat" cmpd="sng" algn="ctr">
            <a:solidFill>
              <a:srgbClr val="B4009E"/>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sp>
        <p:nvSpPr>
          <p:cNvPr id="107" name="Rectangle 106">
            <a:extLst>
              <a:ext uri="{FF2B5EF4-FFF2-40B4-BE49-F238E27FC236}">
                <a16:creationId xmlns:a16="http://schemas.microsoft.com/office/drawing/2014/main" id="{06F8C0E2-3F70-49F6-84FE-3A770CE330AD}"/>
              </a:ext>
            </a:extLst>
          </p:cNvPr>
          <p:cNvSpPr/>
          <p:nvPr/>
        </p:nvSpPr>
        <p:spPr>
          <a:xfrm>
            <a:off x="11066366" y="4994544"/>
            <a:ext cx="892989" cy="1156203"/>
          </a:xfrm>
          <a:prstGeom prst="rect">
            <a:avLst/>
          </a:prstGeom>
          <a:noFill/>
          <a:ln w="10795" cap="flat" cmpd="sng" algn="ctr">
            <a:solidFill>
              <a:srgbClr val="0070C0"/>
            </a:solidFill>
            <a:prstDash val="solid"/>
          </a:ln>
          <a:effectLst/>
        </p:spPr>
        <p:txBody>
          <a:bodyPr rtlCol="0" anchor="t"/>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A1A1A"/>
                </a:solidFill>
                <a:effectLst/>
                <a:uLnTx/>
                <a:uFillTx/>
                <a:latin typeface="Segoe UI"/>
                <a:ea typeface="+mn-ea"/>
                <a:cs typeface="+mn-cs"/>
              </a:rPr>
              <a:t>Log Service</a:t>
            </a:r>
            <a:endParaRPr kumimoji="0" lang="en-US" sz="1400" b="0" i="0" u="none" strike="noStrike" kern="0" cap="none" spc="0" normalizeH="0" baseline="0" noProof="0">
              <a:ln>
                <a:noFill/>
              </a:ln>
              <a:solidFill>
                <a:srgbClr val="1A1A1A"/>
              </a:solidFill>
              <a:effectLst/>
              <a:uLnTx/>
              <a:uFillTx/>
              <a:latin typeface="Segoe UI"/>
              <a:ea typeface="+mn-ea"/>
              <a:cs typeface="Segoe UI"/>
            </a:endParaRPr>
          </a:p>
        </p:txBody>
      </p:sp>
      <p:cxnSp>
        <p:nvCxnSpPr>
          <p:cNvPr id="108" name="Straight Arrow Connector 107">
            <a:extLst>
              <a:ext uri="{FF2B5EF4-FFF2-40B4-BE49-F238E27FC236}">
                <a16:creationId xmlns:a16="http://schemas.microsoft.com/office/drawing/2014/main" id="{59899825-3E6F-4CA6-8897-2FFDB217A3EA}"/>
              </a:ext>
            </a:extLst>
          </p:cNvPr>
          <p:cNvCxnSpPr>
            <a:cxnSpLocks/>
            <a:endCxn id="105" idx="3"/>
          </p:cNvCxnSpPr>
          <p:nvPr/>
        </p:nvCxnSpPr>
        <p:spPr>
          <a:xfrm flipH="1">
            <a:off x="10536458" y="5125735"/>
            <a:ext cx="529907" cy="0"/>
          </a:xfrm>
          <a:prstGeom prst="straightConnector1">
            <a:avLst/>
          </a:prstGeom>
          <a:noFill/>
          <a:ln w="9525" cap="flat" cmpd="sng" algn="ctr">
            <a:solidFill>
              <a:srgbClr val="0070C0"/>
            </a:solidFill>
            <a:prstDash val="solid"/>
            <a:tailEnd type="triangle"/>
          </a:ln>
          <a:effectLst/>
        </p:spPr>
      </p:cxnSp>
      <p:cxnSp>
        <p:nvCxnSpPr>
          <p:cNvPr id="109" name="Straight Arrow Connector 108">
            <a:extLst>
              <a:ext uri="{FF2B5EF4-FFF2-40B4-BE49-F238E27FC236}">
                <a16:creationId xmlns:a16="http://schemas.microsoft.com/office/drawing/2014/main" id="{90873CD0-740E-46DD-99AF-9DF7BA839FE9}"/>
              </a:ext>
            </a:extLst>
          </p:cNvPr>
          <p:cNvCxnSpPr>
            <a:cxnSpLocks/>
            <a:stCxn id="75" idx="3"/>
          </p:cNvCxnSpPr>
          <p:nvPr/>
        </p:nvCxnSpPr>
        <p:spPr>
          <a:xfrm>
            <a:off x="10536458" y="5988346"/>
            <a:ext cx="529907" cy="0"/>
          </a:xfrm>
          <a:prstGeom prst="straightConnector1">
            <a:avLst/>
          </a:prstGeom>
          <a:noFill/>
          <a:ln w="9525" cap="flat" cmpd="sng" algn="ctr">
            <a:solidFill>
              <a:srgbClr val="0070C0"/>
            </a:solidFill>
            <a:prstDash val="solid"/>
            <a:tailEnd type="triangle"/>
          </a:ln>
          <a:effectLst/>
        </p:spPr>
      </p:cxnSp>
      <p:sp>
        <p:nvSpPr>
          <p:cNvPr id="110" name="TextBox 109">
            <a:extLst>
              <a:ext uri="{FF2B5EF4-FFF2-40B4-BE49-F238E27FC236}">
                <a16:creationId xmlns:a16="http://schemas.microsoft.com/office/drawing/2014/main" id="{B2C6D271-C2EF-4E9B-880C-A50F0396CE4C}"/>
              </a:ext>
            </a:extLst>
          </p:cNvPr>
          <p:cNvSpPr txBox="1"/>
          <p:nvPr/>
        </p:nvSpPr>
        <p:spPr>
          <a:xfrm>
            <a:off x="7869011" y="5251721"/>
            <a:ext cx="1709122" cy="315471"/>
          </a:xfrm>
          <a:prstGeom prst="rect">
            <a:avLst/>
          </a:prstGeom>
          <a:noFill/>
          <a:ln>
            <a:noFill/>
          </a:ln>
        </p:spPr>
        <p:txBody>
          <a:bodyPr wrap="none" rtlCol="0" anchor="t">
            <a:spAutoFit/>
          </a:bodyPr>
          <a:lstStyle/>
          <a:p>
            <a:pPr defTabSz="932563">
              <a:defRPr/>
            </a:pPr>
            <a:r>
              <a:rPr lang="en-US" sz="1400">
                <a:solidFill>
                  <a:srgbClr val="1A1A1A"/>
                </a:solidFill>
                <a:latin typeface="Segoe UI Semibold"/>
                <a:cs typeface="Segoe UI Semibold"/>
              </a:rPr>
              <a:t>Log Landing Zone</a:t>
            </a:r>
          </a:p>
        </p:txBody>
      </p:sp>
      <p:sp>
        <p:nvSpPr>
          <p:cNvPr id="111" name="TextBox 110">
            <a:extLst>
              <a:ext uri="{FF2B5EF4-FFF2-40B4-BE49-F238E27FC236}">
                <a16:creationId xmlns:a16="http://schemas.microsoft.com/office/drawing/2014/main" id="{1E1F4E21-64D9-4E1C-8C28-E77A73E7C847}"/>
              </a:ext>
            </a:extLst>
          </p:cNvPr>
          <p:cNvSpPr txBox="1"/>
          <p:nvPr/>
        </p:nvSpPr>
        <p:spPr>
          <a:xfrm>
            <a:off x="7869012" y="6169223"/>
            <a:ext cx="2053832" cy="307777"/>
          </a:xfrm>
          <a:prstGeom prst="rect">
            <a:avLst/>
          </a:prstGeom>
          <a:noFill/>
          <a:ln>
            <a:noFill/>
          </a:ln>
        </p:spPr>
        <p:txBody>
          <a:bodyPr wrap="none" rtlCol="0" anchor="t">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A1A1A"/>
                </a:solidFill>
                <a:effectLst/>
                <a:uLnTx/>
                <a:uFillTx/>
              </a:rPr>
              <a:t>Long term long storage</a:t>
            </a:r>
            <a:endParaRPr kumimoji="0" lang="en-US" sz="1400" b="0" i="0" u="none" strike="noStrike" kern="0" cap="none" spc="0" normalizeH="0" baseline="0" noProof="0">
              <a:ln>
                <a:noFill/>
              </a:ln>
              <a:solidFill>
                <a:srgbClr val="1A1A1A"/>
              </a:solidFill>
              <a:effectLst/>
              <a:uLnTx/>
              <a:uFillTx/>
              <a:cs typeface="Segoe UI"/>
            </a:endParaRPr>
          </a:p>
        </p:txBody>
      </p:sp>
      <p:sp>
        <p:nvSpPr>
          <p:cNvPr id="112" name="Cylinder 111">
            <a:extLst>
              <a:ext uri="{FF2B5EF4-FFF2-40B4-BE49-F238E27FC236}">
                <a16:creationId xmlns:a16="http://schemas.microsoft.com/office/drawing/2014/main" id="{61FEDF3E-8895-422B-AF05-46F290196A53}"/>
              </a:ext>
            </a:extLst>
          </p:cNvPr>
          <p:cNvSpPr/>
          <p:nvPr/>
        </p:nvSpPr>
        <p:spPr>
          <a:xfrm>
            <a:off x="6717678" y="3519758"/>
            <a:ext cx="903135" cy="687767"/>
          </a:xfrm>
          <a:prstGeom prst="can">
            <a:avLst/>
          </a:prstGeom>
          <a:noFill/>
          <a:ln w="10795" cap="flat" cmpd="sng" algn="ctr">
            <a:solidFill>
              <a:srgbClr val="0070C0"/>
            </a:solidFill>
            <a:prstDash val="solid"/>
          </a:ln>
          <a:effectLst/>
        </p:spPr>
        <p:txBody>
          <a:bodyPr rtlCol="0" anchor="ctr"/>
          <a:lstStyle/>
          <a:p>
            <a:pPr marL="0" marR="0" lvl="0" indent="0" algn="ctr" defTabSz="93256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mn-ea"/>
              <a:cs typeface="+mn-cs"/>
            </a:endParaRPr>
          </a:p>
        </p:txBody>
      </p:sp>
      <p:cxnSp>
        <p:nvCxnSpPr>
          <p:cNvPr id="113" name="Connector: Elbow 112">
            <a:extLst>
              <a:ext uri="{FF2B5EF4-FFF2-40B4-BE49-F238E27FC236}">
                <a16:creationId xmlns:a16="http://schemas.microsoft.com/office/drawing/2014/main" id="{B8105367-D6F3-4A42-B2E5-53C7EC91CB4F}"/>
              </a:ext>
            </a:extLst>
          </p:cNvPr>
          <p:cNvCxnSpPr>
            <a:cxnSpLocks/>
            <a:endCxn id="105" idx="0"/>
          </p:cNvCxnSpPr>
          <p:nvPr/>
        </p:nvCxnSpPr>
        <p:spPr>
          <a:xfrm>
            <a:off x="7620811" y="4133639"/>
            <a:ext cx="1655600" cy="845304"/>
          </a:xfrm>
          <a:prstGeom prst="bentConnector2">
            <a:avLst/>
          </a:prstGeom>
          <a:noFill/>
          <a:ln w="9525" cap="flat" cmpd="sng" algn="ctr">
            <a:solidFill>
              <a:srgbClr val="0070C0"/>
            </a:solidFill>
            <a:prstDash val="solid"/>
            <a:tailEnd type="triangle"/>
          </a:ln>
          <a:effectLst/>
        </p:spPr>
      </p:cxnSp>
      <p:sp>
        <p:nvSpPr>
          <p:cNvPr id="114" name="Rectangle 113">
            <a:extLst>
              <a:ext uri="{FF2B5EF4-FFF2-40B4-BE49-F238E27FC236}">
                <a16:creationId xmlns:a16="http://schemas.microsoft.com/office/drawing/2014/main" id="{8789105E-9A39-4F02-8189-C881196985A6}"/>
              </a:ext>
            </a:extLst>
          </p:cNvPr>
          <p:cNvSpPr/>
          <p:nvPr/>
        </p:nvSpPr>
        <p:spPr>
          <a:xfrm>
            <a:off x="5287646" y="5693071"/>
            <a:ext cx="2330827" cy="737806"/>
          </a:xfrm>
          <a:prstGeom prst="rect">
            <a:avLst/>
          </a:prstGeom>
          <a:noFill/>
          <a:ln w="10795" cap="flat" cmpd="sng" algn="ctr">
            <a:solidFill>
              <a:srgbClr val="0070C0"/>
            </a:solidFill>
            <a:prstDash val="solid"/>
          </a:ln>
          <a:effectLst/>
        </p:spPr>
        <p:txBody>
          <a:bodyPr rtlCol="0" anchor="b"/>
          <a:lstStyle/>
          <a:p>
            <a:pPr marL="0" marR="0" lvl="0" indent="0" algn="ctr" defTabSz="932563"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A1A1A"/>
                </a:solidFill>
                <a:effectLst/>
                <a:uLnTx/>
                <a:uFillTx/>
                <a:latin typeface="Segoe UI Semibold"/>
                <a:ea typeface="+mn-ea"/>
                <a:cs typeface="Segoe UI Semibold"/>
              </a:rPr>
              <a:t>Azure Storage</a:t>
            </a:r>
          </a:p>
        </p:txBody>
      </p:sp>
      <p:cxnSp>
        <p:nvCxnSpPr>
          <p:cNvPr id="115" name="Straight Arrow Connector 114">
            <a:extLst>
              <a:ext uri="{FF2B5EF4-FFF2-40B4-BE49-F238E27FC236}">
                <a16:creationId xmlns:a16="http://schemas.microsoft.com/office/drawing/2014/main" id="{11271414-F724-4910-AB26-4A486238322F}"/>
              </a:ext>
            </a:extLst>
          </p:cNvPr>
          <p:cNvCxnSpPr>
            <a:cxnSpLocks/>
          </p:cNvCxnSpPr>
          <p:nvPr/>
        </p:nvCxnSpPr>
        <p:spPr>
          <a:xfrm flipH="1">
            <a:off x="7618473" y="5577158"/>
            <a:ext cx="3447894" cy="0"/>
          </a:xfrm>
          <a:prstGeom prst="straightConnector1">
            <a:avLst/>
          </a:prstGeom>
          <a:noFill/>
          <a:ln w="9525" cap="flat" cmpd="sng" algn="ctr">
            <a:solidFill>
              <a:srgbClr val="0070C0"/>
            </a:solidFill>
            <a:prstDash val="solid"/>
            <a:tailEnd type="triangle"/>
          </a:ln>
          <a:effectLst/>
        </p:spPr>
      </p:cxnSp>
      <p:sp>
        <p:nvSpPr>
          <p:cNvPr id="116" name="TextBox 115">
            <a:extLst>
              <a:ext uri="{FF2B5EF4-FFF2-40B4-BE49-F238E27FC236}">
                <a16:creationId xmlns:a16="http://schemas.microsoft.com/office/drawing/2014/main" id="{A70A5297-7730-4951-97B1-38A753061B90}"/>
              </a:ext>
            </a:extLst>
          </p:cNvPr>
          <p:cNvSpPr txBox="1"/>
          <p:nvPr/>
        </p:nvSpPr>
        <p:spPr>
          <a:xfrm>
            <a:off x="5717002" y="3569960"/>
            <a:ext cx="1043867" cy="523220"/>
          </a:xfrm>
          <a:prstGeom prst="rect">
            <a:avLst/>
          </a:prstGeom>
          <a:noFill/>
        </p:spPr>
        <p:txBody>
          <a:bodyPr wrap="square" rtlCol="0" anchor="t">
            <a:spAutoFit/>
          </a:bodyPr>
          <a:lstStyle/>
          <a:p>
            <a:pPr defTabSz="932563">
              <a:defRPr/>
            </a:pPr>
            <a:r>
              <a:rPr lang="en-US" sz="1400">
                <a:solidFill>
                  <a:srgbClr val="1A1A1A"/>
                </a:solidFill>
                <a:latin typeface="Segoe UI Semibold"/>
                <a:cs typeface="Segoe UI Semibold"/>
              </a:rPr>
              <a:t>Primary Computer</a:t>
            </a:r>
          </a:p>
        </p:txBody>
      </p:sp>
      <p:cxnSp>
        <p:nvCxnSpPr>
          <p:cNvPr id="117" name="Straight Arrow Connector 116">
            <a:extLst>
              <a:ext uri="{FF2B5EF4-FFF2-40B4-BE49-F238E27FC236}">
                <a16:creationId xmlns:a16="http://schemas.microsoft.com/office/drawing/2014/main" id="{97BD28A7-38C1-4ADD-B651-7EE02F2AC205}"/>
              </a:ext>
            </a:extLst>
          </p:cNvPr>
          <p:cNvCxnSpPr>
            <a:cxnSpLocks/>
          </p:cNvCxnSpPr>
          <p:nvPr/>
        </p:nvCxnSpPr>
        <p:spPr>
          <a:xfrm>
            <a:off x="10536457" y="5125735"/>
            <a:ext cx="529907" cy="0"/>
          </a:xfrm>
          <a:prstGeom prst="straightConnector1">
            <a:avLst/>
          </a:prstGeom>
          <a:noFill/>
          <a:ln w="9525" cap="flat" cmpd="sng" algn="ctr">
            <a:solidFill>
              <a:srgbClr val="0070C0"/>
            </a:solidFill>
            <a:prstDash val="solid"/>
            <a:tailEnd type="triangle"/>
          </a:ln>
          <a:effectLst/>
        </p:spPr>
      </p:cxnSp>
      <p:cxnSp>
        <p:nvCxnSpPr>
          <p:cNvPr id="118" name="Straight Arrow Connector 117">
            <a:extLst>
              <a:ext uri="{FF2B5EF4-FFF2-40B4-BE49-F238E27FC236}">
                <a16:creationId xmlns:a16="http://schemas.microsoft.com/office/drawing/2014/main" id="{43F745D3-637F-4320-8661-4C42B177B590}"/>
              </a:ext>
            </a:extLst>
          </p:cNvPr>
          <p:cNvCxnSpPr>
            <a:cxnSpLocks/>
          </p:cNvCxnSpPr>
          <p:nvPr/>
        </p:nvCxnSpPr>
        <p:spPr>
          <a:xfrm flipH="1">
            <a:off x="10536457" y="5988346"/>
            <a:ext cx="529907" cy="0"/>
          </a:xfrm>
          <a:prstGeom prst="straightConnector1">
            <a:avLst/>
          </a:prstGeom>
          <a:noFill/>
          <a:ln w="9525" cap="flat" cmpd="sng" algn="ctr">
            <a:solidFill>
              <a:srgbClr val="0070C0"/>
            </a:solidFill>
            <a:prstDash val="solid"/>
            <a:tailEnd type="triangle"/>
          </a:ln>
          <a:effectLst/>
        </p:spPr>
      </p:cxnSp>
      <p:sp>
        <p:nvSpPr>
          <p:cNvPr id="119" name="TextBox 118">
            <a:extLst>
              <a:ext uri="{FF2B5EF4-FFF2-40B4-BE49-F238E27FC236}">
                <a16:creationId xmlns:a16="http://schemas.microsoft.com/office/drawing/2014/main" id="{C9C2F855-293F-46B8-83E7-340C964E8299}"/>
              </a:ext>
            </a:extLst>
          </p:cNvPr>
          <p:cNvSpPr txBox="1"/>
          <p:nvPr/>
        </p:nvSpPr>
        <p:spPr>
          <a:xfrm>
            <a:off x="9276410" y="4619775"/>
            <a:ext cx="974344" cy="328945"/>
          </a:xfrm>
          <a:prstGeom prst="rect">
            <a:avLst/>
          </a:prstGeom>
          <a:noFill/>
          <a:ln>
            <a:noFill/>
          </a:ln>
        </p:spPr>
        <p:txBody>
          <a:bodyPr wrap="none"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496" b="0" i="0" u="none" strike="noStrike" kern="0" cap="none" spc="0" normalizeH="0" baseline="0" noProof="0">
                <a:ln>
                  <a:noFill/>
                </a:ln>
                <a:solidFill>
                  <a:srgbClr val="1A1A1A"/>
                </a:solidFill>
                <a:effectLst/>
                <a:uLnTx/>
                <a:uFillTx/>
              </a:rPr>
              <a:t>Recovery</a:t>
            </a:r>
          </a:p>
        </p:txBody>
      </p:sp>
      <p:cxnSp>
        <p:nvCxnSpPr>
          <p:cNvPr id="120" name="Straight Arrow Connector 119">
            <a:extLst>
              <a:ext uri="{FF2B5EF4-FFF2-40B4-BE49-F238E27FC236}">
                <a16:creationId xmlns:a16="http://schemas.microsoft.com/office/drawing/2014/main" id="{CDF675B1-A996-4AA6-A338-07093C380CC9}"/>
              </a:ext>
            </a:extLst>
          </p:cNvPr>
          <p:cNvCxnSpPr>
            <a:cxnSpLocks/>
            <a:endCxn id="112" idx="3"/>
          </p:cNvCxnSpPr>
          <p:nvPr/>
        </p:nvCxnSpPr>
        <p:spPr>
          <a:xfrm flipV="1">
            <a:off x="7169246" y="4207524"/>
            <a:ext cx="0" cy="250848"/>
          </a:xfrm>
          <a:prstGeom prst="straightConnector1">
            <a:avLst/>
          </a:prstGeom>
          <a:noFill/>
          <a:ln w="9525" cap="flat" cmpd="sng" algn="ctr">
            <a:solidFill>
              <a:srgbClr val="0070C0"/>
            </a:solidFill>
            <a:prstDash val="solid"/>
            <a:tailEnd type="triangle"/>
          </a:ln>
          <a:effectLst/>
        </p:spPr>
      </p:cxnSp>
      <p:sp>
        <p:nvSpPr>
          <p:cNvPr id="121" name="TextBox 120">
            <a:extLst>
              <a:ext uri="{FF2B5EF4-FFF2-40B4-BE49-F238E27FC236}">
                <a16:creationId xmlns:a16="http://schemas.microsoft.com/office/drawing/2014/main" id="{46D7940F-E44E-4875-9649-BA4A73FB0CE9}"/>
              </a:ext>
            </a:extLst>
          </p:cNvPr>
          <p:cNvSpPr txBox="1"/>
          <p:nvPr/>
        </p:nvSpPr>
        <p:spPr>
          <a:xfrm>
            <a:off x="604231" y="5067033"/>
            <a:ext cx="3899218" cy="1200329"/>
          </a:xfrm>
          <a:prstGeom prst="rect">
            <a:avLst/>
          </a:prstGeom>
          <a:noFill/>
        </p:spPr>
        <p:txBody>
          <a:bodyPr wrap="square" rtlCol="0" anchor="t">
            <a:spAutoFit/>
          </a:bodyPr>
          <a:lstStyle/>
          <a:p>
            <a:pPr marL="285750" indent="-285750" defTabSz="932563">
              <a:buFont typeface="Arial"/>
              <a:buChar char="•"/>
              <a:defRPr/>
            </a:pPr>
            <a:r>
              <a:rPr lang="en-US" dirty="0">
                <a:solidFill>
                  <a:srgbClr val="1A1A1A"/>
                </a:solidFill>
                <a:cs typeface="Segoe UI Semibold"/>
              </a:rPr>
              <a:t>Backup has no impact to apps.</a:t>
            </a:r>
            <a:endParaRPr lang="en-US" dirty="0">
              <a:solidFill>
                <a:srgbClr val="505050"/>
              </a:solidFill>
              <a:cs typeface="Segoe UI"/>
            </a:endParaRPr>
          </a:p>
          <a:p>
            <a:pPr marL="285750" indent="-285750" defTabSz="932563">
              <a:buFont typeface="Arial"/>
              <a:buChar char="•"/>
              <a:defRPr/>
            </a:pPr>
            <a:r>
              <a:rPr lang="en-US" dirty="0">
                <a:solidFill>
                  <a:srgbClr val="1A1A1A"/>
                </a:solidFill>
                <a:cs typeface="Segoe UI Semibold"/>
              </a:rPr>
              <a:t>Parallelized copy (metadata).</a:t>
            </a:r>
            <a:endParaRPr lang="en-US" dirty="0">
              <a:solidFill>
                <a:srgbClr val="505050"/>
              </a:solidFill>
              <a:cs typeface="Segoe UI"/>
            </a:endParaRPr>
          </a:p>
          <a:p>
            <a:pPr marL="285750" indent="-285750" defTabSz="932563">
              <a:buFont typeface="Arial"/>
              <a:buChar char="•"/>
              <a:defRPr/>
            </a:pPr>
            <a:r>
              <a:rPr lang="en-US" dirty="0">
                <a:solidFill>
                  <a:srgbClr val="1A1A1A"/>
                </a:solidFill>
                <a:cs typeface="Segoe UI Semibold"/>
              </a:rPr>
              <a:t>Constant time PITR.</a:t>
            </a:r>
            <a:endParaRPr lang="en-US" dirty="0">
              <a:solidFill>
                <a:srgbClr val="505050"/>
              </a:solidFill>
              <a:cs typeface="Segoe UI"/>
            </a:endParaRPr>
          </a:p>
          <a:p>
            <a:pPr marL="285750" indent="-285750" defTabSz="932563">
              <a:buFont typeface="Arial"/>
              <a:buChar char="•"/>
              <a:defRPr/>
            </a:pPr>
            <a:r>
              <a:rPr lang="en-US" dirty="0">
                <a:solidFill>
                  <a:srgbClr val="1A1A1A"/>
                </a:solidFill>
                <a:cs typeface="Segoe UI Semibold"/>
              </a:rPr>
              <a:t>Accelerated database recovery.</a:t>
            </a:r>
          </a:p>
        </p:txBody>
      </p:sp>
    </p:spTree>
    <p:extLst>
      <p:ext uri="{BB962C8B-B14F-4D97-AF65-F5344CB8AC3E}">
        <p14:creationId xmlns:p14="http://schemas.microsoft.com/office/powerpoint/2010/main" val="3359044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wipe(down)">
                                      <p:cBhvr>
                                        <p:cTn id="7" dur="500"/>
                                        <p:tgtEl>
                                          <p:spTgt spid="78"/>
                                        </p:tgtEl>
                                      </p:cBhvr>
                                    </p:animEffect>
                                  </p:childTnLst>
                                </p:cTn>
                              </p:par>
                              <p:par>
                                <p:cTn id="8" presetID="22" presetClass="entr" presetSubtype="4" fill="hold"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wipe(down)">
                                      <p:cBhvr>
                                        <p:cTn id="10" dur="500"/>
                                        <p:tgtEl>
                                          <p:spTgt spid="77"/>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88"/>
                                        </p:tgtEl>
                                        <p:attrNameLst>
                                          <p:attrName>style.visibility</p:attrName>
                                        </p:attrNameLst>
                                      </p:cBhvr>
                                      <p:to>
                                        <p:strVal val="visible"/>
                                      </p:to>
                                    </p:set>
                                    <p:animEffect transition="in" filter="wipe(down)">
                                      <p:cBhvr>
                                        <p:cTn id="13" dur="500"/>
                                        <p:tgtEl>
                                          <p:spTgt spid="88"/>
                                        </p:tgtEl>
                                      </p:cBhvr>
                                    </p:animEffect>
                                  </p:childTnLst>
                                </p:cTn>
                              </p:par>
                              <p:par>
                                <p:cTn id="14" presetID="22" presetClass="entr" presetSubtype="4"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wipe(down)">
                                      <p:cBhvr>
                                        <p:cTn id="16" dur="500"/>
                                        <p:tgtEl>
                                          <p:spTgt spid="7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wipe(down)">
                                      <p:cBhvr>
                                        <p:cTn id="19" dur="500"/>
                                        <p:tgtEl>
                                          <p:spTgt spid="89"/>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90"/>
                                        </p:tgtEl>
                                        <p:attrNameLst>
                                          <p:attrName>style.visibility</p:attrName>
                                        </p:attrNameLst>
                                      </p:cBhvr>
                                      <p:to>
                                        <p:strVal val="visible"/>
                                      </p:to>
                                    </p:set>
                                    <p:animEffect transition="in" filter="wipe(down)">
                                      <p:cBhvr>
                                        <p:cTn id="22" dur="500"/>
                                        <p:tgtEl>
                                          <p:spTgt spid="90"/>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500"/>
                                  </p:stCondLst>
                                  <p:childTnLst>
                                    <p:set>
                                      <p:cBhvr>
                                        <p:cTn id="26" dur="1" fill="hold">
                                          <p:stCondLst>
                                            <p:cond delay="0"/>
                                          </p:stCondLst>
                                        </p:cTn>
                                        <p:tgtEl>
                                          <p:spTgt spid="85"/>
                                        </p:tgtEl>
                                        <p:attrNameLst>
                                          <p:attrName>style.visibility</p:attrName>
                                        </p:attrNameLst>
                                      </p:cBhvr>
                                      <p:to>
                                        <p:strVal val="visible"/>
                                      </p:to>
                                    </p:set>
                                    <p:animEffect transition="in" filter="barn(inVertical)">
                                      <p:cBhvr>
                                        <p:cTn id="27" dur="500"/>
                                        <p:tgtEl>
                                          <p:spTgt spid="85"/>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94"/>
                                        </p:tgtEl>
                                        <p:attrNameLst>
                                          <p:attrName>style.visibility</p:attrName>
                                        </p:attrNameLst>
                                      </p:cBhvr>
                                      <p:to>
                                        <p:strVal val="visible"/>
                                      </p:to>
                                    </p:set>
                                    <p:animEffect transition="in" filter="fade">
                                      <p:cBhvr>
                                        <p:cTn id="30" dur="500"/>
                                        <p:tgtEl>
                                          <p:spTgt spid="94"/>
                                        </p:tgtEl>
                                      </p:cBhvr>
                                    </p:animEffect>
                                  </p:childTnLst>
                                </p:cTn>
                              </p:par>
                            </p:childTnLst>
                          </p:cTn>
                        </p:par>
                        <p:par>
                          <p:cTn id="31" fill="hold">
                            <p:stCondLst>
                              <p:cond delay="1000"/>
                            </p:stCondLst>
                            <p:childTnLst>
                              <p:par>
                                <p:cTn id="32" presetID="16" presetClass="entr" presetSubtype="21" fill="hold" grpId="0" nodeType="afterEffect">
                                  <p:stCondLst>
                                    <p:cond delay="500"/>
                                  </p:stCondLst>
                                  <p:childTnLst>
                                    <p:set>
                                      <p:cBhvr>
                                        <p:cTn id="33" dur="1" fill="hold">
                                          <p:stCondLst>
                                            <p:cond delay="0"/>
                                          </p:stCondLst>
                                        </p:cTn>
                                        <p:tgtEl>
                                          <p:spTgt spid="79"/>
                                        </p:tgtEl>
                                        <p:attrNameLst>
                                          <p:attrName>style.visibility</p:attrName>
                                        </p:attrNameLst>
                                      </p:cBhvr>
                                      <p:to>
                                        <p:strVal val="visible"/>
                                      </p:to>
                                    </p:set>
                                    <p:animEffect transition="in" filter="barn(inVertical)">
                                      <p:cBhvr>
                                        <p:cTn id="34" dur="500"/>
                                        <p:tgtEl>
                                          <p:spTgt spid="79"/>
                                        </p:tgtEl>
                                      </p:cBhvr>
                                    </p:animEffect>
                                  </p:childTnLst>
                                </p:cTn>
                              </p:par>
                            </p:childTnLst>
                          </p:cTn>
                        </p:par>
                        <p:par>
                          <p:cTn id="35" fill="hold">
                            <p:stCondLst>
                              <p:cond delay="2000"/>
                            </p:stCondLst>
                            <p:childTnLst>
                              <p:par>
                                <p:cTn id="36" presetID="16" presetClass="entr" presetSubtype="21" fill="hold" grpId="0" nodeType="afterEffect">
                                  <p:stCondLst>
                                    <p:cond delay="500"/>
                                  </p:stCondLst>
                                  <p:childTnLst>
                                    <p:set>
                                      <p:cBhvr>
                                        <p:cTn id="37" dur="1" fill="hold">
                                          <p:stCondLst>
                                            <p:cond delay="0"/>
                                          </p:stCondLst>
                                        </p:cTn>
                                        <p:tgtEl>
                                          <p:spTgt spid="82"/>
                                        </p:tgtEl>
                                        <p:attrNameLst>
                                          <p:attrName>style.visibility</p:attrName>
                                        </p:attrNameLst>
                                      </p:cBhvr>
                                      <p:to>
                                        <p:strVal val="visible"/>
                                      </p:to>
                                    </p:set>
                                    <p:animEffect transition="in" filter="barn(inVertical)">
                                      <p:cBhvr>
                                        <p:cTn id="38" dur="500"/>
                                        <p:tgtEl>
                                          <p:spTgt spid="82"/>
                                        </p:tgtEl>
                                      </p:cBhvr>
                                    </p:animEffect>
                                  </p:childTnLst>
                                </p:cTn>
                              </p:par>
                            </p:childTnLst>
                          </p:cTn>
                        </p:par>
                        <p:par>
                          <p:cTn id="39" fill="hold">
                            <p:stCondLst>
                              <p:cond delay="3000"/>
                            </p:stCondLst>
                            <p:childTnLst>
                              <p:par>
                                <p:cTn id="40" presetID="16" presetClass="entr" presetSubtype="21" fill="hold" grpId="0" nodeType="afterEffect">
                                  <p:stCondLst>
                                    <p:cond delay="500"/>
                                  </p:stCondLst>
                                  <p:childTnLst>
                                    <p:set>
                                      <p:cBhvr>
                                        <p:cTn id="41" dur="1" fill="hold">
                                          <p:stCondLst>
                                            <p:cond delay="0"/>
                                          </p:stCondLst>
                                        </p:cTn>
                                        <p:tgtEl>
                                          <p:spTgt spid="86"/>
                                        </p:tgtEl>
                                        <p:attrNameLst>
                                          <p:attrName>style.visibility</p:attrName>
                                        </p:attrNameLst>
                                      </p:cBhvr>
                                      <p:to>
                                        <p:strVal val="visible"/>
                                      </p:to>
                                    </p:set>
                                    <p:animEffect transition="in" filter="barn(inVertical)">
                                      <p:cBhvr>
                                        <p:cTn id="42" dur="500"/>
                                        <p:tgtEl>
                                          <p:spTgt spid="86"/>
                                        </p:tgtEl>
                                      </p:cBhvr>
                                    </p:animEffect>
                                  </p:childTnLst>
                                </p:cTn>
                              </p:par>
                            </p:childTnLst>
                          </p:cTn>
                        </p:par>
                        <p:par>
                          <p:cTn id="43" fill="hold">
                            <p:stCondLst>
                              <p:cond delay="4000"/>
                            </p:stCondLst>
                            <p:childTnLst>
                              <p:par>
                                <p:cTn id="44" presetID="16" presetClass="entr" presetSubtype="21" fill="hold" grpId="0" nodeType="afterEffect">
                                  <p:stCondLst>
                                    <p:cond delay="500"/>
                                  </p:stCondLst>
                                  <p:childTnLst>
                                    <p:set>
                                      <p:cBhvr>
                                        <p:cTn id="45" dur="1" fill="hold">
                                          <p:stCondLst>
                                            <p:cond delay="0"/>
                                          </p:stCondLst>
                                        </p:cTn>
                                        <p:tgtEl>
                                          <p:spTgt spid="80"/>
                                        </p:tgtEl>
                                        <p:attrNameLst>
                                          <p:attrName>style.visibility</p:attrName>
                                        </p:attrNameLst>
                                      </p:cBhvr>
                                      <p:to>
                                        <p:strVal val="visible"/>
                                      </p:to>
                                    </p:set>
                                    <p:animEffect transition="in" filter="barn(inVertical)">
                                      <p:cBhvr>
                                        <p:cTn id="46" dur="500"/>
                                        <p:tgtEl>
                                          <p:spTgt spid="80"/>
                                        </p:tgtEl>
                                      </p:cBhvr>
                                    </p:animEffect>
                                  </p:childTnLst>
                                </p:cTn>
                              </p:par>
                            </p:childTnLst>
                          </p:cTn>
                        </p:par>
                        <p:par>
                          <p:cTn id="47" fill="hold">
                            <p:stCondLst>
                              <p:cond delay="5000"/>
                            </p:stCondLst>
                            <p:childTnLst>
                              <p:par>
                                <p:cTn id="48" presetID="16" presetClass="entr" presetSubtype="21" fill="hold" grpId="0" nodeType="afterEffect">
                                  <p:stCondLst>
                                    <p:cond delay="500"/>
                                  </p:stCondLst>
                                  <p:childTnLst>
                                    <p:set>
                                      <p:cBhvr>
                                        <p:cTn id="49" dur="1" fill="hold">
                                          <p:stCondLst>
                                            <p:cond delay="0"/>
                                          </p:stCondLst>
                                        </p:cTn>
                                        <p:tgtEl>
                                          <p:spTgt spid="83"/>
                                        </p:tgtEl>
                                        <p:attrNameLst>
                                          <p:attrName>style.visibility</p:attrName>
                                        </p:attrNameLst>
                                      </p:cBhvr>
                                      <p:to>
                                        <p:strVal val="visible"/>
                                      </p:to>
                                    </p:set>
                                    <p:animEffect transition="in" filter="barn(inVertical)">
                                      <p:cBhvr>
                                        <p:cTn id="50" dur="500"/>
                                        <p:tgtEl>
                                          <p:spTgt spid="83"/>
                                        </p:tgtEl>
                                      </p:cBhvr>
                                    </p:animEffect>
                                  </p:childTnLst>
                                </p:cTn>
                              </p:par>
                            </p:childTnLst>
                          </p:cTn>
                        </p:par>
                        <p:par>
                          <p:cTn id="51" fill="hold">
                            <p:stCondLst>
                              <p:cond delay="6000"/>
                            </p:stCondLst>
                            <p:childTnLst>
                              <p:par>
                                <p:cTn id="52" presetID="16" presetClass="entr" presetSubtype="21" fill="hold" grpId="0" nodeType="afterEffect">
                                  <p:stCondLst>
                                    <p:cond delay="500"/>
                                  </p:stCondLst>
                                  <p:childTnLst>
                                    <p:set>
                                      <p:cBhvr>
                                        <p:cTn id="53" dur="1" fill="hold">
                                          <p:stCondLst>
                                            <p:cond delay="0"/>
                                          </p:stCondLst>
                                        </p:cTn>
                                        <p:tgtEl>
                                          <p:spTgt spid="87"/>
                                        </p:tgtEl>
                                        <p:attrNameLst>
                                          <p:attrName>style.visibility</p:attrName>
                                        </p:attrNameLst>
                                      </p:cBhvr>
                                      <p:to>
                                        <p:strVal val="visible"/>
                                      </p:to>
                                    </p:set>
                                    <p:animEffect transition="in" filter="barn(inVertical)">
                                      <p:cBhvr>
                                        <p:cTn id="54" dur="500"/>
                                        <p:tgtEl>
                                          <p:spTgt spid="87"/>
                                        </p:tgtEl>
                                      </p:cBhvr>
                                    </p:animEffect>
                                  </p:childTnLst>
                                </p:cTn>
                              </p:par>
                            </p:childTnLst>
                          </p:cTn>
                        </p:par>
                        <p:par>
                          <p:cTn id="55" fill="hold">
                            <p:stCondLst>
                              <p:cond delay="7000"/>
                            </p:stCondLst>
                            <p:childTnLst>
                              <p:par>
                                <p:cTn id="56" presetID="16" presetClass="entr" presetSubtype="21" fill="hold" grpId="0" nodeType="afterEffect">
                                  <p:stCondLst>
                                    <p:cond delay="500"/>
                                  </p:stCondLst>
                                  <p:childTnLst>
                                    <p:set>
                                      <p:cBhvr>
                                        <p:cTn id="57" dur="1" fill="hold">
                                          <p:stCondLst>
                                            <p:cond delay="0"/>
                                          </p:stCondLst>
                                        </p:cTn>
                                        <p:tgtEl>
                                          <p:spTgt spid="81"/>
                                        </p:tgtEl>
                                        <p:attrNameLst>
                                          <p:attrName>style.visibility</p:attrName>
                                        </p:attrNameLst>
                                      </p:cBhvr>
                                      <p:to>
                                        <p:strVal val="visible"/>
                                      </p:to>
                                    </p:set>
                                    <p:animEffect transition="in" filter="barn(inVertical)">
                                      <p:cBhvr>
                                        <p:cTn id="58" dur="500"/>
                                        <p:tgtEl>
                                          <p:spTgt spid="81"/>
                                        </p:tgtEl>
                                      </p:cBhvr>
                                    </p:animEffect>
                                  </p:childTnLst>
                                </p:cTn>
                              </p:par>
                            </p:childTnLst>
                          </p:cTn>
                        </p:par>
                        <p:par>
                          <p:cTn id="59" fill="hold">
                            <p:stCondLst>
                              <p:cond delay="8000"/>
                            </p:stCondLst>
                            <p:childTnLst>
                              <p:par>
                                <p:cTn id="60" presetID="16" presetClass="entr" presetSubtype="21" fill="hold" grpId="0" nodeType="afterEffect">
                                  <p:stCondLst>
                                    <p:cond delay="500"/>
                                  </p:stCondLst>
                                  <p:childTnLst>
                                    <p:set>
                                      <p:cBhvr>
                                        <p:cTn id="61" dur="1" fill="hold">
                                          <p:stCondLst>
                                            <p:cond delay="0"/>
                                          </p:stCondLst>
                                        </p:cTn>
                                        <p:tgtEl>
                                          <p:spTgt spid="84"/>
                                        </p:tgtEl>
                                        <p:attrNameLst>
                                          <p:attrName>style.visibility</p:attrName>
                                        </p:attrNameLst>
                                      </p:cBhvr>
                                      <p:to>
                                        <p:strVal val="visible"/>
                                      </p:to>
                                    </p:set>
                                    <p:animEffect transition="in" filter="barn(inVertical)">
                                      <p:cBhvr>
                                        <p:cTn id="62" dur="500"/>
                                        <p:tgtEl>
                                          <p:spTgt spid="84"/>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68"/>
                                        </p:tgtEl>
                                        <p:attrNameLst>
                                          <p:attrName>style.visibility</p:attrName>
                                        </p:attrNameLst>
                                      </p:cBhvr>
                                      <p:to>
                                        <p:strVal val="visible"/>
                                      </p:to>
                                    </p:set>
                                    <p:animEffect transition="in" filter="wipe(left)">
                                      <p:cBhvr>
                                        <p:cTn id="67" dur="500"/>
                                        <p:tgtEl>
                                          <p:spTgt spid="68"/>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73"/>
                                        </p:tgtEl>
                                        <p:attrNameLst>
                                          <p:attrName>style.visibility</p:attrName>
                                        </p:attrNameLst>
                                      </p:cBhvr>
                                      <p:to>
                                        <p:strVal val="visible"/>
                                      </p:to>
                                    </p:set>
                                    <p:animEffect transition="in" filter="wipe(left)">
                                      <p:cBhvr>
                                        <p:cTn id="70" dur="500"/>
                                        <p:tgtEl>
                                          <p:spTgt spid="73"/>
                                        </p:tgtEl>
                                      </p:cBhvr>
                                    </p:animEffect>
                                  </p:childTnLst>
                                </p:cTn>
                              </p:par>
                            </p:childTnLst>
                          </p:cTn>
                        </p:par>
                        <p:par>
                          <p:cTn id="71" fill="hold">
                            <p:stCondLst>
                              <p:cond delay="500"/>
                            </p:stCondLst>
                            <p:childTnLst>
                              <p:par>
                                <p:cTn id="72" presetID="22" presetClass="entr" presetSubtype="8" fill="hold" nodeType="afterEffect">
                                  <p:stCondLst>
                                    <p:cond delay="0"/>
                                  </p:stCondLst>
                                  <p:childTnLst>
                                    <p:set>
                                      <p:cBhvr>
                                        <p:cTn id="73" dur="1" fill="hold">
                                          <p:stCondLst>
                                            <p:cond delay="0"/>
                                          </p:stCondLst>
                                        </p:cTn>
                                        <p:tgtEl>
                                          <p:spTgt spid="70"/>
                                        </p:tgtEl>
                                        <p:attrNameLst>
                                          <p:attrName>style.visibility</p:attrName>
                                        </p:attrNameLst>
                                      </p:cBhvr>
                                      <p:to>
                                        <p:strVal val="visible"/>
                                      </p:to>
                                    </p:set>
                                    <p:animEffect transition="in" filter="wipe(left)">
                                      <p:cBhvr>
                                        <p:cTn id="74" dur="500"/>
                                        <p:tgtEl>
                                          <p:spTgt spid="70"/>
                                        </p:tgtEl>
                                      </p:cBhvr>
                                    </p:animEffect>
                                  </p:childTnLst>
                                </p:cTn>
                              </p:par>
                            </p:childTnLst>
                          </p:cTn>
                        </p:par>
                        <p:par>
                          <p:cTn id="75" fill="hold">
                            <p:stCondLst>
                              <p:cond delay="1000"/>
                            </p:stCondLst>
                            <p:childTnLst>
                              <p:par>
                                <p:cTn id="76" presetID="22" presetClass="entr" presetSubtype="1" fill="hold" grpId="0" nodeType="afterEffect">
                                  <p:stCondLst>
                                    <p:cond delay="0"/>
                                  </p:stCondLst>
                                  <p:childTnLst>
                                    <p:set>
                                      <p:cBhvr>
                                        <p:cTn id="77" dur="1" fill="hold">
                                          <p:stCondLst>
                                            <p:cond delay="0"/>
                                          </p:stCondLst>
                                        </p:cTn>
                                        <p:tgtEl>
                                          <p:spTgt spid="69"/>
                                        </p:tgtEl>
                                        <p:attrNameLst>
                                          <p:attrName>style.visibility</p:attrName>
                                        </p:attrNameLst>
                                      </p:cBhvr>
                                      <p:to>
                                        <p:strVal val="visible"/>
                                      </p:to>
                                    </p:set>
                                    <p:animEffect transition="in" filter="wipe(up)">
                                      <p:cBhvr>
                                        <p:cTn id="78" dur="500"/>
                                        <p:tgtEl>
                                          <p:spTgt spid="69"/>
                                        </p:tgtEl>
                                      </p:cBhvr>
                                    </p:animEffect>
                                  </p:childTnLst>
                                </p:cTn>
                              </p:par>
                            </p:childTnLst>
                          </p:cTn>
                        </p:par>
                        <p:par>
                          <p:cTn id="79" fill="hold">
                            <p:stCondLst>
                              <p:cond delay="1500"/>
                            </p:stCondLst>
                            <p:childTnLst>
                              <p:par>
                                <p:cTn id="80" presetID="22" presetClass="entr" presetSubtype="2" fill="hold" nodeType="afterEffect">
                                  <p:stCondLst>
                                    <p:cond delay="0"/>
                                  </p:stCondLst>
                                  <p:childTnLst>
                                    <p:set>
                                      <p:cBhvr>
                                        <p:cTn id="81" dur="1" fill="hold">
                                          <p:stCondLst>
                                            <p:cond delay="0"/>
                                          </p:stCondLst>
                                        </p:cTn>
                                        <p:tgtEl>
                                          <p:spTgt spid="71"/>
                                        </p:tgtEl>
                                        <p:attrNameLst>
                                          <p:attrName>style.visibility</p:attrName>
                                        </p:attrNameLst>
                                      </p:cBhvr>
                                      <p:to>
                                        <p:strVal val="visible"/>
                                      </p:to>
                                    </p:set>
                                    <p:animEffect transition="in" filter="wipe(right)">
                                      <p:cBhvr>
                                        <p:cTn id="82" dur="500"/>
                                        <p:tgtEl>
                                          <p:spTgt spid="71"/>
                                        </p:tgtEl>
                                      </p:cBhvr>
                                    </p:animEffect>
                                  </p:childTnLst>
                                </p:cTn>
                              </p:par>
                            </p:childTnLst>
                          </p:cTn>
                        </p:par>
                        <p:par>
                          <p:cTn id="83" fill="hold">
                            <p:stCondLst>
                              <p:cond delay="2000"/>
                            </p:stCondLst>
                            <p:childTnLst>
                              <p:par>
                                <p:cTn id="84" presetID="22" presetClass="entr" presetSubtype="2" fill="hold" grpId="0" nodeType="afterEffect">
                                  <p:stCondLst>
                                    <p:cond delay="0"/>
                                  </p:stCondLst>
                                  <p:childTnLst>
                                    <p:set>
                                      <p:cBhvr>
                                        <p:cTn id="85" dur="1" fill="hold">
                                          <p:stCondLst>
                                            <p:cond delay="0"/>
                                          </p:stCondLst>
                                        </p:cTn>
                                        <p:tgtEl>
                                          <p:spTgt spid="67"/>
                                        </p:tgtEl>
                                        <p:attrNameLst>
                                          <p:attrName>style.visibility</p:attrName>
                                        </p:attrNameLst>
                                      </p:cBhvr>
                                      <p:to>
                                        <p:strVal val="visible"/>
                                      </p:to>
                                    </p:set>
                                    <p:animEffect transition="in" filter="wipe(right)">
                                      <p:cBhvr>
                                        <p:cTn id="86" dur="500"/>
                                        <p:tgtEl>
                                          <p:spTgt spid="67"/>
                                        </p:tgtEl>
                                      </p:cBhvr>
                                    </p:animEffect>
                                  </p:childTnLst>
                                </p:cTn>
                              </p:par>
                              <p:par>
                                <p:cTn id="87" presetID="22" presetClass="entr" presetSubtype="2" fill="hold" grpId="0" nodeType="withEffect">
                                  <p:stCondLst>
                                    <p:cond delay="0"/>
                                  </p:stCondLst>
                                  <p:childTnLst>
                                    <p:set>
                                      <p:cBhvr>
                                        <p:cTn id="88" dur="1" fill="hold">
                                          <p:stCondLst>
                                            <p:cond delay="0"/>
                                          </p:stCondLst>
                                        </p:cTn>
                                        <p:tgtEl>
                                          <p:spTgt spid="72"/>
                                        </p:tgtEl>
                                        <p:attrNameLst>
                                          <p:attrName>style.visibility</p:attrName>
                                        </p:attrNameLst>
                                      </p:cBhvr>
                                      <p:to>
                                        <p:strVal val="visible"/>
                                      </p:to>
                                    </p:set>
                                    <p:animEffect transition="in" filter="wipe(right)">
                                      <p:cBhvr>
                                        <p:cTn id="89" dur="500"/>
                                        <p:tgtEl>
                                          <p:spTgt spid="72"/>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121">
                                            <p:txEl>
                                              <p:pRg st="0" end="0"/>
                                            </p:txEl>
                                          </p:spTgt>
                                        </p:tgtEl>
                                        <p:attrNameLst>
                                          <p:attrName>style.visibility</p:attrName>
                                        </p:attrNameLst>
                                      </p:cBhvr>
                                      <p:to>
                                        <p:strVal val="visible"/>
                                      </p:to>
                                    </p:set>
                                    <p:animEffect transition="in" filter="fade">
                                      <p:cBhvr>
                                        <p:cTn id="94" dur="500"/>
                                        <p:tgtEl>
                                          <p:spTgt spid="121">
                                            <p:txEl>
                                              <p:pRg st="0" end="0"/>
                                            </p:txEl>
                                          </p:spTgt>
                                        </p:tgtEl>
                                      </p:cBhvr>
                                    </p:animEffect>
                                  </p:childTnLst>
                                </p:cTn>
                              </p:par>
                            </p:childTnLst>
                          </p:cTn>
                        </p:par>
                      </p:childTnLst>
                    </p:cTn>
                  </p:par>
                  <p:par>
                    <p:cTn id="95" fill="hold">
                      <p:stCondLst>
                        <p:cond delay="indefinite"/>
                      </p:stCondLst>
                      <p:childTnLst>
                        <p:par>
                          <p:cTn id="96" fill="hold">
                            <p:stCondLst>
                              <p:cond delay="0"/>
                            </p:stCondLst>
                            <p:childTnLst>
                              <p:par>
                                <p:cTn id="97" presetID="22" presetClass="entr" presetSubtype="1" fill="hold" nodeType="clickEffect">
                                  <p:stCondLst>
                                    <p:cond delay="0"/>
                                  </p:stCondLst>
                                  <p:childTnLst>
                                    <p:set>
                                      <p:cBhvr>
                                        <p:cTn id="98" dur="1" fill="hold">
                                          <p:stCondLst>
                                            <p:cond delay="0"/>
                                          </p:stCondLst>
                                        </p:cTn>
                                        <p:tgtEl>
                                          <p:spTgt spid="92"/>
                                        </p:tgtEl>
                                        <p:attrNameLst>
                                          <p:attrName>style.visibility</p:attrName>
                                        </p:attrNameLst>
                                      </p:cBhvr>
                                      <p:to>
                                        <p:strVal val="visible"/>
                                      </p:to>
                                    </p:set>
                                    <p:animEffect transition="in" filter="wipe(up)">
                                      <p:cBhvr>
                                        <p:cTn id="99" dur="500"/>
                                        <p:tgtEl>
                                          <p:spTgt spid="92"/>
                                        </p:tgtEl>
                                      </p:cBhvr>
                                    </p:animEffect>
                                  </p:childTnLst>
                                </p:cTn>
                              </p:par>
                            </p:childTnLst>
                          </p:cTn>
                        </p:par>
                        <p:par>
                          <p:cTn id="100" fill="hold">
                            <p:stCondLst>
                              <p:cond delay="500"/>
                            </p:stCondLst>
                            <p:childTnLst>
                              <p:par>
                                <p:cTn id="101" presetID="22" presetClass="entr" presetSubtype="1" fill="hold" grpId="0" nodeType="afterEffect">
                                  <p:stCondLst>
                                    <p:cond delay="0"/>
                                  </p:stCondLst>
                                  <p:childTnLst>
                                    <p:set>
                                      <p:cBhvr>
                                        <p:cTn id="102" dur="1" fill="hold">
                                          <p:stCondLst>
                                            <p:cond delay="0"/>
                                          </p:stCondLst>
                                        </p:cTn>
                                        <p:tgtEl>
                                          <p:spTgt spid="98"/>
                                        </p:tgtEl>
                                        <p:attrNameLst>
                                          <p:attrName>style.visibility</p:attrName>
                                        </p:attrNameLst>
                                      </p:cBhvr>
                                      <p:to>
                                        <p:strVal val="visible"/>
                                      </p:to>
                                    </p:set>
                                    <p:animEffect transition="in" filter="wipe(up)">
                                      <p:cBhvr>
                                        <p:cTn id="103" dur="500"/>
                                        <p:tgtEl>
                                          <p:spTgt spid="98"/>
                                        </p:tgtEl>
                                      </p:cBhvr>
                                    </p:animEffec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100"/>
                                        </p:tgtEl>
                                        <p:attrNameLst>
                                          <p:attrName>style.visibility</p:attrName>
                                        </p:attrNameLst>
                                      </p:cBhvr>
                                      <p:to>
                                        <p:strVal val="visible"/>
                                      </p:to>
                                    </p:set>
                                    <p:animEffect transition="in" filter="fade">
                                      <p:cBhvr>
                                        <p:cTn id="108" dur="500"/>
                                        <p:tgtEl>
                                          <p:spTgt spid="100"/>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102"/>
                                        </p:tgtEl>
                                        <p:attrNameLst>
                                          <p:attrName>style.visibility</p:attrName>
                                        </p:attrNameLst>
                                      </p:cBhvr>
                                      <p:to>
                                        <p:strVal val="visible"/>
                                      </p:to>
                                    </p:set>
                                    <p:animEffect transition="in" filter="fade">
                                      <p:cBhvr>
                                        <p:cTn id="111" dur="500"/>
                                        <p:tgtEl>
                                          <p:spTgt spid="102"/>
                                        </p:tgtEl>
                                      </p:cBhvr>
                                    </p:animEffect>
                                  </p:childTnLst>
                                </p:cTn>
                              </p:par>
                              <p:par>
                                <p:cTn id="112" presetID="10" presetClass="entr" presetSubtype="0" fill="hold" grpId="2" nodeType="withEffect">
                                  <p:stCondLst>
                                    <p:cond delay="0"/>
                                  </p:stCondLst>
                                  <p:childTnLst>
                                    <p:set>
                                      <p:cBhvr>
                                        <p:cTn id="113" dur="1" fill="hold">
                                          <p:stCondLst>
                                            <p:cond delay="0"/>
                                          </p:stCondLst>
                                        </p:cTn>
                                        <p:tgtEl>
                                          <p:spTgt spid="101"/>
                                        </p:tgtEl>
                                        <p:attrNameLst>
                                          <p:attrName>style.visibility</p:attrName>
                                        </p:attrNameLst>
                                      </p:cBhvr>
                                      <p:to>
                                        <p:strVal val="visible"/>
                                      </p:to>
                                    </p:set>
                                    <p:animEffect transition="in" filter="fade">
                                      <p:cBhvr>
                                        <p:cTn id="114" dur="500"/>
                                        <p:tgtEl>
                                          <p:spTgt spid="101"/>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1" fill="hold" nodeType="clickEffect">
                                  <p:stCondLst>
                                    <p:cond delay="0"/>
                                  </p:stCondLst>
                                  <p:childTnLst>
                                    <p:set>
                                      <p:cBhvr>
                                        <p:cTn id="118" dur="1" fill="hold">
                                          <p:stCondLst>
                                            <p:cond delay="0"/>
                                          </p:stCondLst>
                                        </p:cTn>
                                        <p:tgtEl>
                                          <p:spTgt spid="95"/>
                                        </p:tgtEl>
                                        <p:attrNameLst>
                                          <p:attrName>style.visibility</p:attrName>
                                        </p:attrNameLst>
                                      </p:cBhvr>
                                      <p:to>
                                        <p:strVal val="visible"/>
                                      </p:to>
                                    </p:set>
                                    <p:animEffect transition="in" filter="wipe(up)">
                                      <p:cBhvr>
                                        <p:cTn id="119" dur="500"/>
                                        <p:tgtEl>
                                          <p:spTgt spid="95"/>
                                        </p:tgtEl>
                                      </p:cBhvr>
                                    </p:animEffect>
                                  </p:childTnLst>
                                </p:cTn>
                              </p:par>
                            </p:childTnLst>
                          </p:cTn>
                        </p:par>
                        <p:par>
                          <p:cTn id="120" fill="hold">
                            <p:stCondLst>
                              <p:cond delay="500"/>
                            </p:stCondLst>
                            <p:childTnLst>
                              <p:par>
                                <p:cTn id="121" presetID="22" presetClass="entr" presetSubtype="1" fill="hold" grpId="0" nodeType="afterEffect">
                                  <p:stCondLst>
                                    <p:cond delay="0"/>
                                  </p:stCondLst>
                                  <p:childTnLst>
                                    <p:set>
                                      <p:cBhvr>
                                        <p:cTn id="122" dur="1" fill="hold">
                                          <p:stCondLst>
                                            <p:cond delay="0"/>
                                          </p:stCondLst>
                                        </p:cTn>
                                        <p:tgtEl>
                                          <p:spTgt spid="97"/>
                                        </p:tgtEl>
                                        <p:attrNameLst>
                                          <p:attrName>style.visibility</p:attrName>
                                        </p:attrNameLst>
                                      </p:cBhvr>
                                      <p:to>
                                        <p:strVal val="visible"/>
                                      </p:to>
                                    </p:set>
                                    <p:animEffect transition="in" filter="wipe(up)">
                                      <p:cBhvr>
                                        <p:cTn id="123" dur="500"/>
                                        <p:tgtEl>
                                          <p:spTgt spid="97"/>
                                        </p:tgtEl>
                                      </p:cBhvr>
                                    </p:animEffect>
                                  </p:childTnLst>
                                </p:cTn>
                              </p:par>
                            </p:childTnLst>
                          </p:cTn>
                        </p:par>
                      </p:childTnLst>
                    </p:cTn>
                  </p:par>
                  <p:par>
                    <p:cTn id="124" fill="hold">
                      <p:stCondLst>
                        <p:cond delay="indefinite"/>
                      </p:stCondLst>
                      <p:childTnLst>
                        <p:par>
                          <p:cTn id="125" fill="hold">
                            <p:stCondLst>
                              <p:cond delay="0"/>
                            </p:stCondLst>
                            <p:childTnLst>
                              <p:par>
                                <p:cTn id="126" presetID="22" presetClass="entr" presetSubtype="1" fill="hold" nodeType="clickEffect">
                                  <p:stCondLst>
                                    <p:cond delay="0"/>
                                  </p:stCondLst>
                                  <p:childTnLst>
                                    <p:set>
                                      <p:cBhvr>
                                        <p:cTn id="127" dur="1" fill="hold">
                                          <p:stCondLst>
                                            <p:cond delay="0"/>
                                          </p:stCondLst>
                                        </p:cTn>
                                        <p:tgtEl>
                                          <p:spTgt spid="96"/>
                                        </p:tgtEl>
                                        <p:attrNameLst>
                                          <p:attrName>style.visibility</p:attrName>
                                        </p:attrNameLst>
                                      </p:cBhvr>
                                      <p:to>
                                        <p:strVal val="visible"/>
                                      </p:to>
                                    </p:set>
                                    <p:animEffect transition="in" filter="wipe(up)">
                                      <p:cBhvr>
                                        <p:cTn id="128" dur="500"/>
                                        <p:tgtEl>
                                          <p:spTgt spid="96"/>
                                        </p:tgtEl>
                                      </p:cBhvr>
                                    </p:animEffect>
                                  </p:childTnLst>
                                </p:cTn>
                              </p:par>
                            </p:childTnLst>
                          </p:cTn>
                        </p:par>
                        <p:par>
                          <p:cTn id="129" fill="hold">
                            <p:stCondLst>
                              <p:cond delay="500"/>
                            </p:stCondLst>
                            <p:childTnLst>
                              <p:par>
                                <p:cTn id="130" presetID="22" presetClass="entr" presetSubtype="1" fill="hold" grpId="0" nodeType="afterEffect">
                                  <p:stCondLst>
                                    <p:cond delay="0"/>
                                  </p:stCondLst>
                                  <p:childTnLst>
                                    <p:set>
                                      <p:cBhvr>
                                        <p:cTn id="131" dur="1" fill="hold">
                                          <p:stCondLst>
                                            <p:cond delay="0"/>
                                          </p:stCondLst>
                                        </p:cTn>
                                        <p:tgtEl>
                                          <p:spTgt spid="93"/>
                                        </p:tgtEl>
                                        <p:attrNameLst>
                                          <p:attrName>style.visibility</p:attrName>
                                        </p:attrNameLst>
                                      </p:cBhvr>
                                      <p:to>
                                        <p:strVal val="visible"/>
                                      </p:to>
                                    </p:set>
                                    <p:animEffect transition="in" filter="wipe(up)">
                                      <p:cBhvr>
                                        <p:cTn id="132" dur="500"/>
                                        <p:tgtEl>
                                          <p:spTgt spid="93"/>
                                        </p:tgtEl>
                                      </p:cBhvr>
                                    </p:animEffect>
                                  </p:childTnLst>
                                </p:cTn>
                              </p:par>
                            </p:childTnLst>
                          </p:cTn>
                        </p:par>
                        <p:par>
                          <p:cTn id="133" fill="hold">
                            <p:stCondLst>
                              <p:cond delay="1000"/>
                            </p:stCondLst>
                            <p:childTnLst>
                              <p:par>
                                <p:cTn id="134" presetID="22" presetClass="entr" presetSubtype="8" fill="hold" grpId="0" nodeType="afterEffect">
                                  <p:stCondLst>
                                    <p:cond delay="0"/>
                                  </p:stCondLst>
                                  <p:childTnLst>
                                    <p:set>
                                      <p:cBhvr>
                                        <p:cTn id="135" dur="1" fill="hold">
                                          <p:stCondLst>
                                            <p:cond delay="0"/>
                                          </p:stCondLst>
                                        </p:cTn>
                                        <p:tgtEl>
                                          <p:spTgt spid="99"/>
                                        </p:tgtEl>
                                        <p:attrNameLst>
                                          <p:attrName>style.visibility</p:attrName>
                                        </p:attrNameLst>
                                      </p:cBhvr>
                                      <p:to>
                                        <p:strVal val="visible"/>
                                      </p:to>
                                    </p:set>
                                    <p:animEffect transition="in" filter="wipe(left)">
                                      <p:cBhvr>
                                        <p:cTn id="136" dur="500"/>
                                        <p:tgtEl>
                                          <p:spTgt spid="99"/>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114"/>
                                        </p:tgtEl>
                                        <p:attrNameLst>
                                          <p:attrName>style.visibility</p:attrName>
                                        </p:attrNameLst>
                                      </p:cBhvr>
                                      <p:to>
                                        <p:strVal val="visible"/>
                                      </p:to>
                                    </p:set>
                                    <p:animEffect transition="in" filter="fade">
                                      <p:cBhvr>
                                        <p:cTn id="141" dur="500"/>
                                        <p:tgtEl>
                                          <p:spTgt spid="114"/>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75"/>
                                        </p:tgtEl>
                                        <p:attrNameLst>
                                          <p:attrName>style.visibility</p:attrName>
                                        </p:attrNameLst>
                                      </p:cBhvr>
                                      <p:to>
                                        <p:strVal val="visible"/>
                                      </p:to>
                                    </p:set>
                                    <p:animEffect transition="in" filter="fade">
                                      <p:cBhvr>
                                        <p:cTn id="144" dur="500"/>
                                        <p:tgtEl>
                                          <p:spTgt spid="75"/>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111"/>
                                        </p:tgtEl>
                                        <p:attrNameLst>
                                          <p:attrName>style.visibility</p:attrName>
                                        </p:attrNameLst>
                                      </p:cBhvr>
                                      <p:to>
                                        <p:strVal val="visible"/>
                                      </p:to>
                                    </p:set>
                                    <p:animEffect transition="in" filter="fade">
                                      <p:cBhvr>
                                        <p:cTn id="147" dur="500"/>
                                        <p:tgtEl>
                                          <p:spTgt spid="111"/>
                                        </p:tgtEl>
                                      </p:cBhvr>
                                    </p:animEffect>
                                  </p:childTnLst>
                                </p:cTn>
                              </p:par>
                            </p:childTnLst>
                          </p:cTn>
                        </p:par>
                      </p:childTnLst>
                    </p:cTn>
                  </p:par>
                  <p:par>
                    <p:cTn id="148" fill="hold">
                      <p:stCondLst>
                        <p:cond delay="indefinite"/>
                      </p:stCondLst>
                      <p:childTnLst>
                        <p:par>
                          <p:cTn id="149" fill="hold">
                            <p:stCondLst>
                              <p:cond delay="0"/>
                            </p:stCondLst>
                            <p:childTnLst>
                              <p:par>
                                <p:cTn id="150" presetID="42" presetClass="path" presetSubtype="0" accel="50000" decel="50000" fill="hold" grpId="0" nodeType="clickEffect">
                                  <p:stCondLst>
                                    <p:cond delay="0"/>
                                  </p:stCondLst>
                                  <p:childTnLst>
                                    <p:animMotion origin="layout" path="M -2.08333E-6 -2.22222E-6 L 0.35768 0.53982 " pathEditMode="relative" rAng="0" ptsTypes="AA">
                                      <p:cBhvr>
                                        <p:cTn id="151" dur="2000" fill="hold"/>
                                        <p:tgtEl>
                                          <p:spTgt spid="101"/>
                                        </p:tgtEl>
                                        <p:attrNameLst>
                                          <p:attrName>ppt_x</p:attrName>
                                          <p:attrName>ppt_y</p:attrName>
                                        </p:attrNameLst>
                                      </p:cBhvr>
                                      <p:rCtr x="17878" y="26991"/>
                                    </p:animMotion>
                                  </p:childTnLst>
                                </p:cTn>
                              </p:par>
                              <p:par>
                                <p:cTn id="152" presetID="42" presetClass="path" presetSubtype="0" accel="50000" decel="50000" fill="hold" grpId="1" nodeType="withEffect">
                                  <p:stCondLst>
                                    <p:cond delay="0"/>
                                  </p:stCondLst>
                                  <p:childTnLst>
                                    <p:animMotion origin="layout" path="M -1.875E-6 -4.07407E-6 L 0.20469 0.62987 " pathEditMode="relative" rAng="0" ptsTypes="AA">
                                      <p:cBhvr>
                                        <p:cTn id="153" dur="2000" fill="hold"/>
                                        <p:tgtEl>
                                          <p:spTgt spid="100"/>
                                        </p:tgtEl>
                                        <p:attrNameLst>
                                          <p:attrName>ppt_x</p:attrName>
                                          <p:attrName>ppt_y</p:attrName>
                                        </p:attrNameLst>
                                      </p:cBhvr>
                                      <p:rCtr x="10234" y="31481"/>
                                    </p:animMotion>
                                  </p:childTnLst>
                                </p:cTn>
                              </p:par>
                              <p:par>
                                <p:cTn id="154" presetID="42" presetClass="path" presetSubtype="0" accel="50000" decel="50000" fill="hold" grpId="1" nodeType="withEffect">
                                  <p:stCondLst>
                                    <p:cond delay="0"/>
                                  </p:stCondLst>
                                  <p:childTnLst>
                                    <p:animMotion origin="layout" path="M -4.58333E-6 3.33333E-6 L 0.35118 0.45347 " pathEditMode="relative" rAng="0" ptsTypes="AA">
                                      <p:cBhvr>
                                        <p:cTn id="155" dur="2000" fill="hold"/>
                                        <p:tgtEl>
                                          <p:spTgt spid="102"/>
                                        </p:tgtEl>
                                        <p:attrNameLst>
                                          <p:attrName>ppt_x</p:attrName>
                                          <p:attrName>ppt_y</p:attrName>
                                        </p:attrNameLst>
                                      </p:cBhvr>
                                      <p:rCtr x="17552" y="22662"/>
                                    </p:animMotion>
                                  </p:childTnLst>
                                </p:cTn>
                              </p:par>
                              <p:par>
                                <p:cTn id="156" presetID="8" presetClass="emph" presetSubtype="0" fill="hold" grpId="2" nodeType="withEffect">
                                  <p:stCondLst>
                                    <p:cond delay="0"/>
                                  </p:stCondLst>
                                  <p:childTnLst>
                                    <p:animRot by="5400000">
                                      <p:cBhvr>
                                        <p:cTn id="157" dur="2000" fill="hold"/>
                                        <p:tgtEl>
                                          <p:spTgt spid="100"/>
                                        </p:tgtEl>
                                        <p:attrNameLst>
                                          <p:attrName>r</p:attrName>
                                        </p:attrNameLst>
                                      </p:cBhvr>
                                    </p:animRot>
                                  </p:childTnLst>
                                </p:cTn>
                              </p:par>
                              <p:par>
                                <p:cTn id="158" presetID="8" presetClass="emph" presetSubtype="0" fill="hold" grpId="1" nodeType="withEffect">
                                  <p:stCondLst>
                                    <p:cond delay="0"/>
                                  </p:stCondLst>
                                  <p:childTnLst>
                                    <p:animRot by="5400000">
                                      <p:cBhvr>
                                        <p:cTn id="159" dur="2000" fill="hold"/>
                                        <p:tgtEl>
                                          <p:spTgt spid="101"/>
                                        </p:tgtEl>
                                        <p:attrNameLst>
                                          <p:attrName>r</p:attrName>
                                        </p:attrNameLst>
                                      </p:cBhvr>
                                    </p:animRot>
                                  </p:childTnLst>
                                </p:cTn>
                              </p:par>
                              <p:par>
                                <p:cTn id="160" presetID="8" presetClass="emph" presetSubtype="0" fill="hold" grpId="2" nodeType="withEffect">
                                  <p:stCondLst>
                                    <p:cond delay="0"/>
                                  </p:stCondLst>
                                  <p:childTnLst>
                                    <p:animRot by="5400000">
                                      <p:cBhvr>
                                        <p:cTn id="161" dur="2000" fill="hold"/>
                                        <p:tgtEl>
                                          <p:spTgt spid="102"/>
                                        </p:tgtEl>
                                        <p:attrNameLst>
                                          <p:attrName>r</p:attrName>
                                        </p:attrNameLst>
                                      </p:cBhvr>
                                    </p:animRot>
                                  </p:childTnLst>
                                </p:cTn>
                              </p:par>
                              <p:par>
                                <p:cTn id="162" presetID="42" presetClass="path" presetSubtype="0" accel="50000" decel="50000" fill="hold" grpId="1" nodeType="withEffect">
                                  <p:stCondLst>
                                    <p:cond delay="0"/>
                                  </p:stCondLst>
                                  <p:childTnLst>
                                    <p:animMotion origin="layout" path="M 0.02929 0.00093 L -0.08334 0.4919 " pathEditMode="relative" rAng="0" ptsTypes="AA">
                                      <p:cBhvr>
                                        <p:cTn id="163" dur="2000" fill="hold"/>
                                        <p:tgtEl>
                                          <p:spTgt spid="99"/>
                                        </p:tgtEl>
                                        <p:attrNameLst>
                                          <p:attrName>ppt_x</p:attrName>
                                          <p:attrName>ppt_y</p:attrName>
                                        </p:attrNameLst>
                                      </p:cBhvr>
                                      <p:rCtr x="-5638" y="24537"/>
                                    </p:animMotion>
                                  </p:childTnLst>
                                </p:cTn>
                              </p:par>
                            </p:childTnLst>
                          </p:cTn>
                        </p:par>
                      </p:childTnLst>
                    </p:cTn>
                  </p:par>
                  <p:par>
                    <p:cTn id="164" fill="hold">
                      <p:stCondLst>
                        <p:cond delay="indefinite"/>
                      </p:stCondLst>
                      <p:childTnLst>
                        <p:par>
                          <p:cTn id="165" fill="hold">
                            <p:stCondLst>
                              <p:cond delay="0"/>
                            </p:stCondLst>
                            <p:childTnLst>
                              <p:par>
                                <p:cTn id="166" presetID="10" presetClass="entr" presetSubtype="0" fill="hold" nodeType="clickEffect">
                                  <p:stCondLst>
                                    <p:cond delay="0"/>
                                  </p:stCondLst>
                                  <p:childTnLst>
                                    <p:set>
                                      <p:cBhvr>
                                        <p:cTn id="167" dur="1" fill="hold">
                                          <p:stCondLst>
                                            <p:cond delay="0"/>
                                          </p:stCondLst>
                                        </p:cTn>
                                        <p:tgtEl>
                                          <p:spTgt spid="121">
                                            <p:txEl>
                                              <p:pRg st="1" end="1"/>
                                            </p:txEl>
                                          </p:spTgt>
                                        </p:tgtEl>
                                        <p:attrNameLst>
                                          <p:attrName>style.visibility</p:attrName>
                                        </p:attrNameLst>
                                      </p:cBhvr>
                                      <p:to>
                                        <p:strVal val="visible"/>
                                      </p:to>
                                    </p:set>
                                    <p:animEffect transition="in" filter="fade">
                                      <p:cBhvr>
                                        <p:cTn id="168" dur="500"/>
                                        <p:tgtEl>
                                          <p:spTgt spid="121">
                                            <p:txEl>
                                              <p:pRg st="1" end="1"/>
                                            </p:txEl>
                                          </p:spTgt>
                                        </p:tgtEl>
                                      </p:cBhvr>
                                    </p:animEffect>
                                  </p:childTnLst>
                                </p:cTn>
                              </p:par>
                            </p:childTnLst>
                          </p:cTn>
                        </p:par>
                      </p:childTnLst>
                    </p:cTn>
                  </p:par>
                  <p:par>
                    <p:cTn id="169" fill="hold">
                      <p:stCondLst>
                        <p:cond delay="indefinite"/>
                      </p:stCondLst>
                      <p:childTnLst>
                        <p:par>
                          <p:cTn id="170" fill="hold">
                            <p:stCondLst>
                              <p:cond delay="0"/>
                            </p:stCondLst>
                            <p:childTnLst>
                              <p:par>
                                <p:cTn id="171" presetID="10" presetClass="entr" presetSubtype="0" fill="hold" nodeType="clickEffect">
                                  <p:stCondLst>
                                    <p:cond delay="0"/>
                                  </p:stCondLst>
                                  <p:childTnLst>
                                    <p:set>
                                      <p:cBhvr>
                                        <p:cTn id="172" dur="1" fill="hold">
                                          <p:stCondLst>
                                            <p:cond delay="0"/>
                                          </p:stCondLst>
                                        </p:cTn>
                                        <p:tgtEl>
                                          <p:spTgt spid="121">
                                            <p:txEl>
                                              <p:pRg st="2" end="2"/>
                                            </p:txEl>
                                          </p:spTgt>
                                        </p:tgtEl>
                                        <p:attrNameLst>
                                          <p:attrName>style.visibility</p:attrName>
                                        </p:attrNameLst>
                                      </p:cBhvr>
                                      <p:to>
                                        <p:strVal val="visible"/>
                                      </p:to>
                                    </p:set>
                                    <p:animEffect transition="in" filter="fade">
                                      <p:cBhvr>
                                        <p:cTn id="173" dur="500"/>
                                        <p:tgtEl>
                                          <p:spTgt spid="121">
                                            <p:txEl>
                                              <p:pRg st="2" end="2"/>
                                            </p:txEl>
                                          </p:spTgt>
                                        </p:tgtEl>
                                      </p:cBhvr>
                                    </p:animEffect>
                                  </p:childTnLst>
                                </p:cTn>
                              </p:par>
                            </p:childTnLst>
                          </p:cTn>
                        </p:par>
                      </p:childTnLst>
                    </p:cTn>
                  </p:par>
                  <p:par>
                    <p:cTn id="174" fill="hold">
                      <p:stCondLst>
                        <p:cond delay="indefinite"/>
                      </p:stCondLst>
                      <p:childTnLst>
                        <p:par>
                          <p:cTn id="175" fill="hold">
                            <p:stCondLst>
                              <p:cond delay="0"/>
                            </p:stCondLst>
                            <p:childTnLst>
                              <p:par>
                                <p:cTn id="176" presetID="10" presetClass="entr" presetSubtype="0" fill="hold" grpId="0" nodeType="clickEffect">
                                  <p:stCondLst>
                                    <p:cond delay="0"/>
                                  </p:stCondLst>
                                  <p:childTnLst>
                                    <p:set>
                                      <p:cBhvr>
                                        <p:cTn id="177" dur="1" fill="hold">
                                          <p:stCondLst>
                                            <p:cond delay="0"/>
                                          </p:stCondLst>
                                        </p:cTn>
                                        <p:tgtEl>
                                          <p:spTgt spid="110"/>
                                        </p:tgtEl>
                                        <p:attrNameLst>
                                          <p:attrName>style.visibility</p:attrName>
                                        </p:attrNameLst>
                                      </p:cBhvr>
                                      <p:to>
                                        <p:strVal val="visible"/>
                                      </p:to>
                                    </p:set>
                                    <p:animEffect transition="in" filter="fade">
                                      <p:cBhvr>
                                        <p:cTn id="178" dur="500"/>
                                        <p:tgtEl>
                                          <p:spTgt spid="110"/>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05"/>
                                        </p:tgtEl>
                                        <p:attrNameLst>
                                          <p:attrName>style.visibility</p:attrName>
                                        </p:attrNameLst>
                                      </p:cBhvr>
                                      <p:to>
                                        <p:strVal val="visible"/>
                                      </p:to>
                                    </p:set>
                                    <p:animEffect transition="in" filter="fade">
                                      <p:cBhvr>
                                        <p:cTn id="181" dur="500"/>
                                        <p:tgtEl>
                                          <p:spTgt spid="105"/>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07"/>
                                        </p:tgtEl>
                                        <p:attrNameLst>
                                          <p:attrName>style.visibility</p:attrName>
                                        </p:attrNameLst>
                                      </p:cBhvr>
                                      <p:to>
                                        <p:strVal val="visible"/>
                                      </p:to>
                                    </p:set>
                                    <p:animEffect transition="in" filter="fade">
                                      <p:cBhvr>
                                        <p:cTn id="184" dur="500"/>
                                        <p:tgtEl>
                                          <p:spTgt spid="107"/>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74"/>
                                        </p:tgtEl>
                                        <p:attrNameLst>
                                          <p:attrName>style.visibility</p:attrName>
                                        </p:attrNameLst>
                                      </p:cBhvr>
                                      <p:to>
                                        <p:strVal val="visible"/>
                                      </p:to>
                                    </p:set>
                                    <p:animEffect transition="in" filter="fade">
                                      <p:cBhvr>
                                        <p:cTn id="187" dur="500"/>
                                        <p:tgtEl>
                                          <p:spTgt spid="74"/>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91"/>
                                        </p:tgtEl>
                                        <p:attrNameLst>
                                          <p:attrName>style.visibility</p:attrName>
                                        </p:attrNameLst>
                                      </p:cBhvr>
                                      <p:to>
                                        <p:strVal val="visible"/>
                                      </p:to>
                                    </p:set>
                                    <p:animEffect transition="in" filter="fade">
                                      <p:cBhvr>
                                        <p:cTn id="190" dur="500"/>
                                        <p:tgtEl>
                                          <p:spTgt spid="91"/>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03"/>
                                        </p:tgtEl>
                                        <p:attrNameLst>
                                          <p:attrName>style.visibility</p:attrName>
                                        </p:attrNameLst>
                                      </p:cBhvr>
                                      <p:to>
                                        <p:strVal val="visible"/>
                                      </p:to>
                                    </p:set>
                                    <p:animEffect transition="in" filter="fade">
                                      <p:cBhvr>
                                        <p:cTn id="193" dur="500"/>
                                        <p:tgtEl>
                                          <p:spTgt spid="103"/>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104"/>
                                        </p:tgtEl>
                                        <p:attrNameLst>
                                          <p:attrName>style.visibility</p:attrName>
                                        </p:attrNameLst>
                                      </p:cBhvr>
                                      <p:to>
                                        <p:strVal val="visible"/>
                                      </p:to>
                                    </p:set>
                                    <p:animEffect transition="in" filter="fade">
                                      <p:cBhvr>
                                        <p:cTn id="196" dur="500"/>
                                        <p:tgtEl>
                                          <p:spTgt spid="104"/>
                                        </p:tgtEl>
                                      </p:cBhvr>
                                    </p:animEffect>
                                  </p:childTnLst>
                                </p:cTn>
                              </p:par>
                            </p:childTnLst>
                          </p:cTn>
                        </p:par>
                      </p:childTnLst>
                    </p:cTn>
                  </p:par>
                  <p:par>
                    <p:cTn id="197" fill="hold">
                      <p:stCondLst>
                        <p:cond delay="indefinite"/>
                      </p:stCondLst>
                      <p:childTnLst>
                        <p:par>
                          <p:cTn id="198" fill="hold">
                            <p:stCondLst>
                              <p:cond delay="0"/>
                            </p:stCondLst>
                            <p:childTnLst>
                              <p:par>
                                <p:cTn id="199" presetID="22" presetClass="entr" presetSubtype="4" fill="hold" nodeType="clickEffect">
                                  <p:stCondLst>
                                    <p:cond delay="0"/>
                                  </p:stCondLst>
                                  <p:childTnLst>
                                    <p:set>
                                      <p:cBhvr>
                                        <p:cTn id="200" dur="1" fill="hold">
                                          <p:stCondLst>
                                            <p:cond delay="0"/>
                                          </p:stCondLst>
                                        </p:cTn>
                                        <p:tgtEl>
                                          <p:spTgt spid="64"/>
                                        </p:tgtEl>
                                        <p:attrNameLst>
                                          <p:attrName>style.visibility</p:attrName>
                                        </p:attrNameLst>
                                      </p:cBhvr>
                                      <p:to>
                                        <p:strVal val="visible"/>
                                      </p:to>
                                    </p:set>
                                    <p:animEffect transition="in" filter="wipe(down)">
                                      <p:cBhvr>
                                        <p:cTn id="201" dur="500"/>
                                        <p:tgtEl>
                                          <p:spTgt spid="64"/>
                                        </p:tgtEl>
                                      </p:cBhvr>
                                    </p:animEffect>
                                  </p:childTnLst>
                                </p:cTn>
                              </p:par>
                              <p:par>
                                <p:cTn id="202" presetID="22" presetClass="entr" presetSubtype="4" fill="hold" nodeType="withEffect">
                                  <p:stCondLst>
                                    <p:cond delay="0"/>
                                  </p:stCondLst>
                                  <p:childTnLst>
                                    <p:set>
                                      <p:cBhvr>
                                        <p:cTn id="203" dur="1" fill="hold">
                                          <p:stCondLst>
                                            <p:cond delay="0"/>
                                          </p:stCondLst>
                                        </p:cTn>
                                        <p:tgtEl>
                                          <p:spTgt spid="65"/>
                                        </p:tgtEl>
                                        <p:attrNameLst>
                                          <p:attrName>style.visibility</p:attrName>
                                        </p:attrNameLst>
                                      </p:cBhvr>
                                      <p:to>
                                        <p:strVal val="visible"/>
                                      </p:to>
                                    </p:set>
                                    <p:animEffect transition="in" filter="wipe(down)">
                                      <p:cBhvr>
                                        <p:cTn id="204" dur="500"/>
                                        <p:tgtEl>
                                          <p:spTgt spid="65"/>
                                        </p:tgtEl>
                                      </p:cBhvr>
                                    </p:animEffect>
                                  </p:childTnLst>
                                </p:cTn>
                              </p:par>
                              <p:par>
                                <p:cTn id="205" presetID="22" presetClass="entr" presetSubtype="4" fill="hold" nodeType="withEffect">
                                  <p:stCondLst>
                                    <p:cond delay="0"/>
                                  </p:stCondLst>
                                  <p:childTnLst>
                                    <p:set>
                                      <p:cBhvr>
                                        <p:cTn id="206" dur="1" fill="hold">
                                          <p:stCondLst>
                                            <p:cond delay="0"/>
                                          </p:stCondLst>
                                        </p:cTn>
                                        <p:tgtEl>
                                          <p:spTgt spid="66"/>
                                        </p:tgtEl>
                                        <p:attrNameLst>
                                          <p:attrName>style.visibility</p:attrName>
                                        </p:attrNameLst>
                                      </p:cBhvr>
                                      <p:to>
                                        <p:strVal val="visible"/>
                                      </p:to>
                                    </p:set>
                                    <p:animEffect transition="in" filter="wipe(down)">
                                      <p:cBhvr>
                                        <p:cTn id="207" dur="500"/>
                                        <p:tgtEl>
                                          <p:spTgt spid="66"/>
                                        </p:tgtEl>
                                      </p:cBhvr>
                                    </p:animEffect>
                                  </p:childTnLst>
                                </p:cTn>
                              </p:par>
                            </p:childTnLst>
                          </p:cTn>
                        </p:par>
                      </p:childTnLst>
                    </p:cTn>
                  </p:par>
                  <p:par>
                    <p:cTn id="208" fill="hold">
                      <p:stCondLst>
                        <p:cond delay="indefinite"/>
                      </p:stCondLst>
                      <p:childTnLst>
                        <p:par>
                          <p:cTn id="209" fill="hold">
                            <p:stCondLst>
                              <p:cond delay="0"/>
                            </p:stCondLst>
                            <p:childTnLst>
                              <p:par>
                                <p:cTn id="210" presetID="22" presetClass="entr" presetSubtype="8" fill="hold" nodeType="clickEffect">
                                  <p:stCondLst>
                                    <p:cond delay="0"/>
                                  </p:stCondLst>
                                  <p:childTnLst>
                                    <p:set>
                                      <p:cBhvr>
                                        <p:cTn id="211" dur="1" fill="hold">
                                          <p:stCondLst>
                                            <p:cond delay="0"/>
                                          </p:stCondLst>
                                        </p:cTn>
                                        <p:tgtEl>
                                          <p:spTgt spid="109"/>
                                        </p:tgtEl>
                                        <p:attrNameLst>
                                          <p:attrName>style.visibility</p:attrName>
                                        </p:attrNameLst>
                                      </p:cBhvr>
                                      <p:to>
                                        <p:strVal val="visible"/>
                                      </p:to>
                                    </p:set>
                                    <p:animEffect transition="in" filter="wipe(left)">
                                      <p:cBhvr>
                                        <p:cTn id="212" dur="500"/>
                                        <p:tgtEl>
                                          <p:spTgt spid="109"/>
                                        </p:tgtEl>
                                      </p:cBhvr>
                                    </p:animEffect>
                                  </p:childTnLst>
                                </p:cTn>
                              </p:par>
                            </p:childTnLst>
                          </p:cTn>
                        </p:par>
                        <p:par>
                          <p:cTn id="213" fill="hold">
                            <p:stCondLst>
                              <p:cond delay="500"/>
                            </p:stCondLst>
                            <p:childTnLst>
                              <p:par>
                                <p:cTn id="214" presetID="22" presetClass="entr" presetSubtype="2" fill="hold" nodeType="afterEffect">
                                  <p:stCondLst>
                                    <p:cond delay="0"/>
                                  </p:stCondLst>
                                  <p:childTnLst>
                                    <p:set>
                                      <p:cBhvr>
                                        <p:cTn id="215" dur="1" fill="hold">
                                          <p:stCondLst>
                                            <p:cond delay="0"/>
                                          </p:stCondLst>
                                        </p:cTn>
                                        <p:tgtEl>
                                          <p:spTgt spid="108"/>
                                        </p:tgtEl>
                                        <p:attrNameLst>
                                          <p:attrName>style.visibility</p:attrName>
                                        </p:attrNameLst>
                                      </p:cBhvr>
                                      <p:to>
                                        <p:strVal val="visible"/>
                                      </p:to>
                                    </p:set>
                                    <p:animEffect transition="in" filter="wipe(right)">
                                      <p:cBhvr>
                                        <p:cTn id="216" dur="500"/>
                                        <p:tgtEl>
                                          <p:spTgt spid="108"/>
                                        </p:tgtEl>
                                      </p:cBhvr>
                                    </p:animEffect>
                                  </p:childTnLst>
                                </p:cTn>
                              </p:par>
                            </p:childTnLst>
                          </p:cTn>
                        </p:par>
                        <p:par>
                          <p:cTn id="217" fill="hold">
                            <p:stCondLst>
                              <p:cond delay="1000"/>
                            </p:stCondLst>
                            <p:childTnLst>
                              <p:par>
                                <p:cTn id="218" presetID="22" presetClass="entr" presetSubtype="2" fill="hold" grpId="0" nodeType="afterEffect">
                                  <p:stCondLst>
                                    <p:cond delay="0"/>
                                  </p:stCondLst>
                                  <p:childTnLst>
                                    <p:set>
                                      <p:cBhvr>
                                        <p:cTn id="219" dur="1" fill="hold">
                                          <p:stCondLst>
                                            <p:cond delay="0"/>
                                          </p:stCondLst>
                                        </p:cTn>
                                        <p:tgtEl>
                                          <p:spTgt spid="106"/>
                                        </p:tgtEl>
                                        <p:attrNameLst>
                                          <p:attrName>style.visibility</p:attrName>
                                        </p:attrNameLst>
                                      </p:cBhvr>
                                      <p:to>
                                        <p:strVal val="visible"/>
                                      </p:to>
                                    </p:set>
                                    <p:animEffect transition="in" filter="wipe(right)">
                                      <p:cBhvr>
                                        <p:cTn id="220" dur="500"/>
                                        <p:tgtEl>
                                          <p:spTgt spid="106"/>
                                        </p:tgtEl>
                                      </p:cBhvr>
                                    </p:animEffect>
                                  </p:childTnLst>
                                </p:cTn>
                              </p:par>
                            </p:childTnLst>
                          </p:cTn>
                        </p:par>
                      </p:childTnLst>
                    </p:cTn>
                  </p:par>
                  <p:par>
                    <p:cTn id="221" fill="hold">
                      <p:stCondLst>
                        <p:cond delay="indefinite"/>
                      </p:stCondLst>
                      <p:childTnLst>
                        <p:par>
                          <p:cTn id="222" fill="hold">
                            <p:stCondLst>
                              <p:cond delay="0"/>
                            </p:stCondLst>
                            <p:childTnLst>
                              <p:par>
                                <p:cTn id="223" presetID="10" presetClass="entr" presetSubtype="0" fill="hold" grpId="0" nodeType="clickEffect">
                                  <p:stCondLst>
                                    <p:cond delay="0"/>
                                  </p:stCondLst>
                                  <p:childTnLst>
                                    <p:set>
                                      <p:cBhvr>
                                        <p:cTn id="224" dur="1" fill="hold">
                                          <p:stCondLst>
                                            <p:cond delay="0"/>
                                          </p:stCondLst>
                                        </p:cTn>
                                        <p:tgtEl>
                                          <p:spTgt spid="112"/>
                                        </p:tgtEl>
                                        <p:attrNameLst>
                                          <p:attrName>style.visibility</p:attrName>
                                        </p:attrNameLst>
                                      </p:cBhvr>
                                      <p:to>
                                        <p:strVal val="visible"/>
                                      </p:to>
                                    </p:set>
                                    <p:animEffect transition="in" filter="fade">
                                      <p:cBhvr>
                                        <p:cTn id="225" dur="500"/>
                                        <p:tgtEl>
                                          <p:spTgt spid="112"/>
                                        </p:tgtEl>
                                      </p:cBhvr>
                                    </p:animEffect>
                                  </p:childTnLst>
                                </p:cTn>
                              </p:par>
                              <p:par>
                                <p:cTn id="226" presetID="10" presetClass="entr" presetSubtype="0" fill="hold" grpId="0" nodeType="withEffect">
                                  <p:stCondLst>
                                    <p:cond delay="0"/>
                                  </p:stCondLst>
                                  <p:childTnLst>
                                    <p:set>
                                      <p:cBhvr>
                                        <p:cTn id="227" dur="1" fill="hold">
                                          <p:stCondLst>
                                            <p:cond delay="0"/>
                                          </p:stCondLst>
                                        </p:cTn>
                                        <p:tgtEl>
                                          <p:spTgt spid="116"/>
                                        </p:tgtEl>
                                        <p:attrNameLst>
                                          <p:attrName>style.visibility</p:attrName>
                                        </p:attrNameLst>
                                      </p:cBhvr>
                                      <p:to>
                                        <p:strVal val="visible"/>
                                      </p:to>
                                    </p:set>
                                    <p:animEffect transition="in" filter="fade">
                                      <p:cBhvr>
                                        <p:cTn id="228" dur="500"/>
                                        <p:tgtEl>
                                          <p:spTgt spid="116"/>
                                        </p:tgtEl>
                                      </p:cBhvr>
                                    </p:animEffect>
                                  </p:childTnLst>
                                </p:cTn>
                              </p:par>
                            </p:childTnLst>
                          </p:cTn>
                        </p:par>
                      </p:childTnLst>
                    </p:cTn>
                  </p:par>
                  <p:par>
                    <p:cTn id="229" fill="hold">
                      <p:stCondLst>
                        <p:cond delay="indefinite"/>
                      </p:stCondLst>
                      <p:childTnLst>
                        <p:par>
                          <p:cTn id="230" fill="hold">
                            <p:stCondLst>
                              <p:cond delay="0"/>
                            </p:stCondLst>
                            <p:childTnLst>
                              <p:par>
                                <p:cTn id="231" presetID="22" presetClass="entr" presetSubtype="8" fill="hold" nodeType="clickEffect">
                                  <p:stCondLst>
                                    <p:cond delay="0"/>
                                  </p:stCondLst>
                                  <p:childTnLst>
                                    <p:set>
                                      <p:cBhvr>
                                        <p:cTn id="232" dur="1" fill="hold">
                                          <p:stCondLst>
                                            <p:cond delay="0"/>
                                          </p:stCondLst>
                                        </p:cTn>
                                        <p:tgtEl>
                                          <p:spTgt spid="113"/>
                                        </p:tgtEl>
                                        <p:attrNameLst>
                                          <p:attrName>style.visibility</p:attrName>
                                        </p:attrNameLst>
                                      </p:cBhvr>
                                      <p:to>
                                        <p:strVal val="visible"/>
                                      </p:to>
                                    </p:set>
                                    <p:animEffect transition="in" filter="wipe(left)">
                                      <p:cBhvr>
                                        <p:cTn id="233" dur="500"/>
                                        <p:tgtEl>
                                          <p:spTgt spid="113"/>
                                        </p:tgtEl>
                                      </p:cBhvr>
                                    </p:animEffect>
                                  </p:childTnLst>
                                </p:cTn>
                              </p:par>
                              <p:par>
                                <p:cTn id="234" presetID="22" presetClass="entr" presetSubtype="8" fill="hold" grpId="0" nodeType="withEffect">
                                  <p:stCondLst>
                                    <p:cond delay="0"/>
                                  </p:stCondLst>
                                  <p:childTnLst>
                                    <p:set>
                                      <p:cBhvr>
                                        <p:cTn id="235" dur="1" fill="hold">
                                          <p:stCondLst>
                                            <p:cond delay="0"/>
                                          </p:stCondLst>
                                        </p:cTn>
                                        <p:tgtEl>
                                          <p:spTgt spid="119"/>
                                        </p:tgtEl>
                                        <p:attrNameLst>
                                          <p:attrName>style.visibility</p:attrName>
                                        </p:attrNameLst>
                                      </p:cBhvr>
                                      <p:to>
                                        <p:strVal val="visible"/>
                                      </p:to>
                                    </p:set>
                                    <p:animEffect transition="in" filter="wipe(left)">
                                      <p:cBhvr>
                                        <p:cTn id="236" dur="500"/>
                                        <p:tgtEl>
                                          <p:spTgt spid="119"/>
                                        </p:tgtEl>
                                      </p:cBhvr>
                                    </p:animEffect>
                                  </p:childTnLst>
                                </p:cTn>
                              </p:par>
                            </p:childTnLst>
                          </p:cTn>
                        </p:par>
                      </p:childTnLst>
                    </p:cTn>
                  </p:par>
                  <p:par>
                    <p:cTn id="237" fill="hold">
                      <p:stCondLst>
                        <p:cond delay="indefinite"/>
                      </p:stCondLst>
                      <p:childTnLst>
                        <p:par>
                          <p:cTn id="238" fill="hold">
                            <p:stCondLst>
                              <p:cond delay="0"/>
                            </p:stCondLst>
                            <p:childTnLst>
                              <p:par>
                                <p:cTn id="239" presetID="22" presetClass="entr" presetSubtype="8" fill="hold" nodeType="clickEffect">
                                  <p:stCondLst>
                                    <p:cond delay="0"/>
                                  </p:stCondLst>
                                  <p:childTnLst>
                                    <p:set>
                                      <p:cBhvr>
                                        <p:cTn id="240" dur="1" fill="hold">
                                          <p:stCondLst>
                                            <p:cond delay="0"/>
                                          </p:stCondLst>
                                        </p:cTn>
                                        <p:tgtEl>
                                          <p:spTgt spid="117"/>
                                        </p:tgtEl>
                                        <p:attrNameLst>
                                          <p:attrName>style.visibility</p:attrName>
                                        </p:attrNameLst>
                                      </p:cBhvr>
                                      <p:to>
                                        <p:strVal val="visible"/>
                                      </p:to>
                                    </p:set>
                                    <p:animEffect transition="in" filter="wipe(left)">
                                      <p:cBhvr>
                                        <p:cTn id="241" dur="500"/>
                                        <p:tgtEl>
                                          <p:spTgt spid="117"/>
                                        </p:tgtEl>
                                      </p:cBhvr>
                                    </p:animEffect>
                                  </p:childTnLst>
                                </p:cTn>
                              </p:par>
                              <p:par>
                                <p:cTn id="242" presetID="22" presetClass="exit" presetSubtype="8" fill="hold" nodeType="withEffect">
                                  <p:stCondLst>
                                    <p:cond delay="0"/>
                                  </p:stCondLst>
                                  <p:childTnLst>
                                    <p:animEffect transition="out" filter="wipe(left)">
                                      <p:cBhvr>
                                        <p:cTn id="243" dur="500"/>
                                        <p:tgtEl>
                                          <p:spTgt spid="108"/>
                                        </p:tgtEl>
                                      </p:cBhvr>
                                    </p:animEffect>
                                    <p:set>
                                      <p:cBhvr>
                                        <p:cTn id="244" dur="1" fill="hold">
                                          <p:stCondLst>
                                            <p:cond delay="499"/>
                                          </p:stCondLst>
                                        </p:cTn>
                                        <p:tgtEl>
                                          <p:spTgt spid="108"/>
                                        </p:tgtEl>
                                        <p:attrNameLst>
                                          <p:attrName>style.visibility</p:attrName>
                                        </p:attrNameLst>
                                      </p:cBhvr>
                                      <p:to>
                                        <p:strVal val="hidden"/>
                                      </p:to>
                                    </p:set>
                                  </p:childTnLst>
                                </p:cTn>
                              </p:par>
                            </p:childTnLst>
                          </p:cTn>
                        </p:par>
                        <p:par>
                          <p:cTn id="245" fill="hold">
                            <p:stCondLst>
                              <p:cond delay="500"/>
                            </p:stCondLst>
                            <p:childTnLst>
                              <p:par>
                                <p:cTn id="246" presetID="22" presetClass="entr" presetSubtype="2" fill="hold" nodeType="afterEffect">
                                  <p:stCondLst>
                                    <p:cond delay="0"/>
                                  </p:stCondLst>
                                  <p:childTnLst>
                                    <p:set>
                                      <p:cBhvr>
                                        <p:cTn id="247" dur="1" fill="hold">
                                          <p:stCondLst>
                                            <p:cond delay="0"/>
                                          </p:stCondLst>
                                        </p:cTn>
                                        <p:tgtEl>
                                          <p:spTgt spid="118"/>
                                        </p:tgtEl>
                                        <p:attrNameLst>
                                          <p:attrName>style.visibility</p:attrName>
                                        </p:attrNameLst>
                                      </p:cBhvr>
                                      <p:to>
                                        <p:strVal val="visible"/>
                                      </p:to>
                                    </p:set>
                                    <p:animEffect transition="in" filter="wipe(right)">
                                      <p:cBhvr>
                                        <p:cTn id="248" dur="500"/>
                                        <p:tgtEl>
                                          <p:spTgt spid="118"/>
                                        </p:tgtEl>
                                      </p:cBhvr>
                                    </p:animEffect>
                                  </p:childTnLst>
                                </p:cTn>
                              </p:par>
                              <p:par>
                                <p:cTn id="249" presetID="22" presetClass="exit" presetSubtype="2" fill="hold" nodeType="withEffect">
                                  <p:stCondLst>
                                    <p:cond delay="0"/>
                                  </p:stCondLst>
                                  <p:childTnLst>
                                    <p:animEffect transition="out" filter="wipe(right)">
                                      <p:cBhvr>
                                        <p:cTn id="250" dur="500"/>
                                        <p:tgtEl>
                                          <p:spTgt spid="109"/>
                                        </p:tgtEl>
                                      </p:cBhvr>
                                    </p:animEffect>
                                    <p:set>
                                      <p:cBhvr>
                                        <p:cTn id="251" dur="1" fill="hold">
                                          <p:stCondLst>
                                            <p:cond delay="499"/>
                                          </p:stCondLst>
                                        </p:cTn>
                                        <p:tgtEl>
                                          <p:spTgt spid="109"/>
                                        </p:tgtEl>
                                        <p:attrNameLst>
                                          <p:attrName>style.visibility</p:attrName>
                                        </p:attrNameLst>
                                      </p:cBhvr>
                                      <p:to>
                                        <p:strVal val="hidden"/>
                                      </p:to>
                                    </p:set>
                                  </p:childTnLst>
                                </p:cTn>
                              </p:par>
                              <p:par>
                                <p:cTn id="252" presetID="22" presetClass="entr" presetSubtype="2" fill="hold" nodeType="withEffect">
                                  <p:stCondLst>
                                    <p:cond delay="0"/>
                                  </p:stCondLst>
                                  <p:childTnLst>
                                    <p:set>
                                      <p:cBhvr>
                                        <p:cTn id="253" dur="1" fill="hold">
                                          <p:stCondLst>
                                            <p:cond delay="0"/>
                                          </p:stCondLst>
                                        </p:cTn>
                                        <p:tgtEl>
                                          <p:spTgt spid="115"/>
                                        </p:tgtEl>
                                        <p:attrNameLst>
                                          <p:attrName>style.visibility</p:attrName>
                                        </p:attrNameLst>
                                      </p:cBhvr>
                                      <p:to>
                                        <p:strVal val="visible"/>
                                      </p:to>
                                    </p:set>
                                    <p:animEffect transition="in" filter="wipe(right)">
                                      <p:cBhvr>
                                        <p:cTn id="254" dur="500"/>
                                        <p:tgtEl>
                                          <p:spTgt spid="115"/>
                                        </p:tgtEl>
                                      </p:cBhvr>
                                    </p:animEffect>
                                  </p:childTnLst>
                                </p:cTn>
                              </p:par>
                            </p:childTnLst>
                          </p:cTn>
                        </p:par>
                        <p:par>
                          <p:cTn id="255" fill="hold">
                            <p:stCondLst>
                              <p:cond delay="1000"/>
                            </p:stCondLst>
                            <p:childTnLst>
                              <p:par>
                                <p:cTn id="256" presetID="22" presetClass="entr" presetSubtype="4" fill="hold" nodeType="afterEffect">
                                  <p:stCondLst>
                                    <p:cond delay="0"/>
                                  </p:stCondLst>
                                  <p:childTnLst>
                                    <p:set>
                                      <p:cBhvr>
                                        <p:cTn id="257" dur="1" fill="hold">
                                          <p:stCondLst>
                                            <p:cond delay="0"/>
                                          </p:stCondLst>
                                        </p:cTn>
                                        <p:tgtEl>
                                          <p:spTgt spid="120"/>
                                        </p:tgtEl>
                                        <p:attrNameLst>
                                          <p:attrName>style.visibility</p:attrName>
                                        </p:attrNameLst>
                                      </p:cBhvr>
                                      <p:to>
                                        <p:strVal val="visible"/>
                                      </p:to>
                                    </p:set>
                                    <p:animEffect transition="in" filter="wipe(down)">
                                      <p:cBhvr>
                                        <p:cTn id="258" dur="500"/>
                                        <p:tgtEl>
                                          <p:spTgt spid="120"/>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ntr" presetSubtype="0" fill="hold" nodeType="clickEffect">
                                  <p:stCondLst>
                                    <p:cond delay="0"/>
                                  </p:stCondLst>
                                  <p:childTnLst>
                                    <p:set>
                                      <p:cBhvr>
                                        <p:cTn id="262" dur="1" fill="hold">
                                          <p:stCondLst>
                                            <p:cond delay="0"/>
                                          </p:stCondLst>
                                        </p:cTn>
                                        <p:tgtEl>
                                          <p:spTgt spid="121">
                                            <p:txEl>
                                              <p:pRg st="3" end="3"/>
                                            </p:txEl>
                                          </p:spTgt>
                                        </p:tgtEl>
                                        <p:attrNameLst>
                                          <p:attrName>style.visibility</p:attrName>
                                        </p:attrNameLst>
                                      </p:cBhvr>
                                      <p:to>
                                        <p:strVal val="visible"/>
                                      </p:to>
                                    </p:set>
                                    <p:animEffect transition="in" filter="fade">
                                      <p:cBhvr>
                                        <p:cTn id="263" dur="500"/>
                                        <p:tgtEl>
                                          <p:spTgt spid="12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69" grpId="0" animBg="1"/>
      <p:bldP spid="72" grpId="0"/>
      <p:bldP spid="73" grpId="0"/>
      <p:bldP spid="74" grpId="0" animBg="1"/>
      <p:bldP spid="75"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p:bldP spid="89" grpId="0"/>
      <p:bldP spid="90" grpId="0"/>
      <p:bldP spid="91" grpId="0" animBg="1"/>
      <p:bldP spid="93" grpId="0"/>
      <p:bldP spid="94" grpId="0"/>
      <p:bldP spid="97" grpId="0"/>
      <p:bldP spid="98" grpId="0"/>
      <p:bldP spid="99" grpId="0" animBg="1"/>
      <p:bldP spid="99" grpId="1" animBg="1"/>
      <p:bldP spid="100" grpId="0" animBg="1"/>
      <p:bldP spid="100" grpId="1" animBg="1"/>
      <p:bldP spid="100" grpId="2" animBg="1"/>
      <p:bldP spid="101" grpId="0" animBg="1"/>
      <p:bldP spid="101" grpId="1" animBg="1"/>
      <p:bldP spid="101" grpId="2" animBg="1"/>
      <p:bldP spid="102" grpId="0" animBg="1"/>
      <p:bldP spid="102" grpId="1" animBg="1"/>
      <p:bldP spid="102" grpId="2" animBg="1"/>
      <p:bldP spid="103" grpId="0" animBg="1"/>
      <p:bldP spid="104" grpId="0" animBg="1"/>
      <p:bldP spid="105" grpId="0" animBg="1"/>
      <p:bldP spid="106" grpId="0" animBg="1"/>
      <p:bldP spid="107" grpId="0" animBg="1"/>
      <p:bldP spid="110" grpId="0"/>
      <p:bldP spid="111" grpId="0"/>
      <p:bldP spid="112" grpId="0" animBg="1"/>
      <p:bldP spid="114" grpId="0" animBg="1"/>
      <p:bldP spid="116" grpId="0"/>
      <p:bldP spid="1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onfigure the long-term retention and view backups in long-term reten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64662-7A48-4243-8DD0-F3BC7494DF84}"/>
              </a:ext>
            </a:extLst>
          </p:cNvPr>
          <p:cNvSpPr>
            <a:spLocks noGrp="1"/>
          </p:cNvSpPr>
          <p:nvPr>
            <p:ph type="title"/>
          </p:nvPr>
        </p:nvSpPr>
        <p:spPr/>
        <p:txBody>
          <a:bodyPr/>
          <a:lstStyle/>
          <a:p>
            <a:r>
              <a:rPr lang="en-US" dirty="0"/>
              <a:t>Copy &amp; Export</a:t>
            </a:r>
          </a:p>
        </p:txBody>
      </p:sp>
      <p:graphicFrame>
        <p:nvGraphicFramePr>
          <p:cNvPr id="4" name="Content Placeholder 7">
            <a:extLst>
              <a:ext uri="{FF2B5EF4-FFF2-40B4-BE49-F238E27FC236}">
                <a16:creationId xmlns:a16="http://schemas.microsoft.com/office/drawing/2014/main" id="{F245A662-90E0-42AC-AE6A-575DE840297E}"/>
              </a:ext>
            </a:extLst>
          </p:cNvPr>
          <p:cNvGraphicFramePr>
            <a:graphicFrameLocks/>
          </p:cNvGraphicFramePr>
          <p:nvPr>
            <p:extLst>
              <p:ext uri="{D42A27DB-BD31-4B8C-83A1-F6EECF244321}">
                <p14:modId xmlns:p14="http://schemas.microsoft.com/office/powerpoint/2010/main" val="1363714"/>
              </p:ext>
            </p:extLst>
          </p:nvPr>
        </p:nvGraphicFramePr>
        <p:xfrm>
          <a:off x="655636" y="1408114"/>
          <a:ext cx="10880725" cy="4154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A59E6C2A-B93E-4ACF-B49C-F18A484273C1}"/>
              </a:ext>
            </a:extLst>
          </p:cNvPr>
          <p:cNvSpPr txBox="1"/>
          <p:nvPr/>
        </p:nvSpPr>
        <p:spPr>
          <a:xfrm>
            <a:off x="1388054" y="5631041"/>
            <a:ext cx="9968606" cy="640416"/>
          </a:xfrm>
          <a:prstGeom prst="rect">
            <a:avLst/>
          </a:prstGeom>
          <a:noFill/>
        </p:spPr>
        <p:txBody>
          <a:bodyPr wrap="none" lIns="186521" tIns="149217" rIns="186521" bIns="149217" rtlCol="0">
            <a:spAutoFit/>
          </a:bodyPr>
          <a:lstStyle/>
          <a:p>
            <a:pPr defTabSz="932742">
              <a:lnSpc>
                <a:spcPct val="90000"/>
              </a:lnSpc>
              <a:spcAft>
                <a:spcPts val="612"/>
              </a:spcAft>
            </a:pPr>
            <a:r>
              <a:rPr lang="en-US" sz="2400" dirty="0">
                <a:latin typeface="Segoe UI" panose="020B0502040204020203" pitchFamily="34" charset="0"/>
              </a:rPr>
              <a:t>Neither of these were really designed for ongoing backup operations.</a:t>
            </a:r>
          </a:p>
        </p:txBody>
      </p:sp>
    </p:spTree>
    <p:extLst>
      <p:ext uri="{BB962C8B-B14F-4D97-AF65-F5344CB8AC3E}">
        <p14:creationId xmlns:p14="http://schemas.microsoft.com/office/powerpoint/2010/main" val="505804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64662-7A48-4243-8DD0-F3BC7494DF84}"/>
              </a:ext>
            </a:extLst>
          </p:cNvPr>
          <p:cNvSpPr>
            <a:spLocks noGrp="1"/>
          </p:cNvSpPr>
          <p:nvPr>
            <p:ph type="title"/>
          </p:nvPr>
        </p:nvSpPr>
        <p:spPr/>
        <p:txBody>
          <a:bodyPr/>
          <a:lstStyle/>
          <a:p>
            <a:r>
              <a:rPr lang="en-US" dirty="0"/>
              <a:t>Point In Time Restore</a:t>
            </a:r>
          </a:p>
        </p:txBody>
      </p:sp>
      <p:sp>
        <p:nvSpPr>
          <p:cNvPr id="4" name="TextBox 3">
            <a:extLst>
              <a:ext uri="{FF2B5EF4-FFF2-40B4-BE49-F238E27FC236}">
                <a16:creationId xmlns:a16="http://schemas.microsoft.com/office/drawing/2014/main" id="{F7385D95-557E-4F00-ABF3-7B72F25BF1D1}"/>
              </a:ext>
            </a:extLst>
          </p:cNvPr>
          <p:cNvSpPr txBox="1"/>
          <p:nvPr/>
        </p:nvSpPr>
        <p:spPr>
          <a:xfrm>
            <a:off x="8525832" y="3760412"/>
            <a:ext cx="1798992" cy="276999"/>
          </a:xfrm>
          <a:prstGeom prst="rect">
            <a:avLst/>
          </a:prstGeom>
          <a:noFill/>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8D7"/>
                </a:solidFill>
                <a:effectLst/>
                <a:uLnTx/>
                <a:uFillTx/>
                <a:latin typeface="Segoe UI Semilight" panose="020B0402040204020203" pitchFamily="34" charset="0"/>
                <a:cs typeface="Segoe UI Semilight" panose="020B0402040204020203" pitchFamily="34" charset="0"/>
              </a:rPr>
              <a:t>Geo-Replicated Backups</a:t>
            </a:r>
          </a:p>
        </p:txBody>
      </p:sp>
      <p:sp>
        <p:nvSpPr>
          <p:cNvPr id="5" name="TextBox 4">
            <a:extLst>
              <a:ext uri="{FF2B5EF4-FFF2-40B4-BE49-F238E27FC236}">
                <a16:creationId xmlns:a16="http://schemas.microsoft.com/office/drawing/2014/main" id="{E664A4B4-7072-4993-9F37-DCBD9AB832CE}"/>
              </a:ext>
            </a:extLst>
          </p:cNvPr>
          <p:cNvSpPr txBox="1"/>
          <p:nvPr/>
        </p:nvSpPr>
        <p:spPr>
          <a:xfrm>
            <a:off x="6477000" y="2673299"/>
            <a:ext cx="1403240" cy="461665"/>
          </a:xfrm>
          <a:prstGeom prst="rect">
            <a:avLst/>
          </a:prstGeom>
          <a:noFill/>
        </p:spPr>
        <p:txBody>
          <a:bodyPr wrap="square" rtlCol="0">
            <a:spAutoFit/>
          </a:bodyPr>
          <a:lstStyle/>
          <a:p>
            <a:pPr algn="ctr" defTabSz="914554">
              <a:defRPr/>
            </a:pPr>
            <a:r>
              <a:rPr lang="en-US" sz="1200" kern="0" dirty="0">
                <a:solidFill>
                  <a:srgbClr val="0078D7"/>
                </a:solidFill>
                <a:latin typeface="Segoe UI Semilight" panose="020B0402040204020203" pitchFamily="34" charset="0"/>
                <a:cs typeface="Segoe UI Semilight" panose="020B0402040204020203" pitchFamily="34" charset="0"/>
              </a:rPr>
              <a:t>Azure SQL </a:t>
            </a:r>
            <a:r>
              <a:rPr lang="en-US" sz="1200" kern="0">
                <a:solidFill>
                  <a:srgbClr val="0078D7"/>
                </a:solidFill>
                <a:latin typeface="Segoe UI Semilight" panose="020B0402040204020203" pitchFamily="34" charset="0"/>
                <a:cs typeface="Segoe UI Semilight" panose="020B0402040204020203" pitchFamily="34" charset="0"/>
              </a:rPr>
              <a:t>Database Backups</a:t>
            </a:r>
            <a:endParaRPr lang="en-US" sz="1200" kern="0" dirty="0">
              <a:solidFill>
                <a:srgbClr val="0078D7"/>
              </a:solidFill>
              <a:latin typeface="Segoe UI Semilight" panose="020B0402040204020203" pitchFamily="34" charset="0"/>
              <a:cs typeface="Segoe UI Semilight" panose="020B0402040204020203" pitchFamily="34" charset="0"/>
            </a:endParaRPr>
          </a:p>
        </p:txBody>
      </p:sp>
      <p:grpSp>
        <p:nvGrpSpPr>
          <p:cNvPr id="6" name="Group 5">
            <a:extLst>
              <a:ext uri="{FF2B5EF4-FFF2-40B4-BE49-F238E27FC236}">
                <a16:creationId xmlns:a16="http://schemas.microsoft.com/office/drawing/2014/main" id="{19957935-C45B-4E78-95D2-1ED97CA68EFA}"/>
              </a:ext>
            </a:extLst>
          </p:cNvPr>
          <p:cNvGrpSpPr/>
          <p:nvPr/>
        </p:nvGrpSpPr>
        <p:grpSpPr>
          <a:xfrm>
            <a:off x="6559129" y="1775155"/>
            <a:ext cx="1328495" cy="841347"/>
            <a:chOff x="5622083" y="1843485"/>
            <a:chExt cx="1328495" cy="841347"/>
          </a:xfrm>
        </p:grpSpPr>
        <p:sp>
          <p:nvSpPr>
            <p:cNvPr id="7" name="TextBox 6">
              <a:extLst>
                <a:ext uri="{FF2B5EF4-FFF2-40B4-BE49-F238E27FC236}">
                  <a16:creationId xmlns:a16="http://schemas.microsoft.com/office/drawing/2014/main" id="{01E544B8-2482-4FA9-9F28-DF8557441B88}"/>
                </a:ext>
              </a:extLst>
            </p:cNvPr>
            <p:cNvSpPr txBox="1"/>
            <p:nvPr/>
          </p:nvSpPr>
          <p:spPr>
            <a:xfrm>
              <a:off x="5837671" y="2287828"/>
              <a:ext cx="903130" cy="223140"/>
            </a:xfrm>
            <a:prstGeom prst="rect">
              <a:avLst/>
            </a:prstGeom>
            <a:solidFill>
              <a:srgbClr val="FFFFFF"/>
            </a:solidFill>
            <a:ln w="12700">
              <a:solidFill>
                <a:srgbClr val="0078D7"/>
              </a:solidFill>
            </a:ln>
          </p:spPr>
          <p:txBody>
            <a:bodyPr wrap="none" lIns="68579" tIns="34291" rIns="68579" bIns="34291" rtlCol="0">
              <a:spAutoFit/>
            </a:bodyPr>
            <a:lstStyle/>
            <a:p>
              <a:pPr marL="0" marR="0" lvl="0" indent="0" defTabSz="91428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78D7"/>
                  </a:solidFill>
                  <a:effectLst/>
                  <a:uLnTx/>
                  <a:uFillTx/>
                </a:rPr>
                <a:t>DB1_Backup1</a:t>
              </a:r>
            </a:p>
          </p:txBody>
        </p:sp>
        <p:sp>
          <p:nvSpPr>
            <p:cNvPr id="8" name="Freeform 146">
              <a:extLst>
                <a:ext uri="{FF2B5EF4-FFF2-40B4-BE49-F238E27FC236}">
                  <a16:creationId xmlns:a16="http://schemas.microsoft.com/office/drawing/2014/main" id="{021720C5-5ACD-4E1F-8452-F2ED86958CFC}"/>
                </a:ext>
              </a:extLst>
            </p:cNvPr>
            <p:cNvSpPr>
              <a:spLocks noChangeAspect="1"/>
            </p:cNvSpPr>
            <p:nvPr/>
          </p:nvSpPr>
          <p:spPr bwMode="auto">
            <a:xfrm>
              <a:off x="5622083" y="1843485"/>
              <a:ext cx="1328495" cy="84134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9" name="TextBox 8">
            <a:extLst>
              <a:ext uri="{FF2B5EF4-FFF2-40B4-BE49-F238E27FC236}">
                <a16:creationId xmlns:a16="http://schemas.microsoft.com/office/drawing/2014/main" id="{61AFEE99-500B-4D08-BAE5-A38C5E733D17}"/>
              </a:ext>
            </a:extLst>
          </p:cNvPr>
          <p:cNvSpPr txBox="1"/>
          <p:nvPr/>
        </p:nvSpPr>
        <p:spPr>
          <a:xfrm>
            <a:off x="10331990" y="3190136"/>
            <a:ext cx="1403240" cy="276999"/>
          </a:xfrm>
          <a:prstGeom prst="rect">
            <a:avLst/>
          </a:prstGeom>
          <a:noFill/>
        </p:spPr>
        <p:txBody>
          <a:bodyPr wrap="square" rtlCol="0">
            <a:spAutoFit/>
          </a:bodyPr>
          <a:lstStyle/>
          <a:p>
            <a:pPr algn="ctr" defTabSz="914554">
              <a:defRPr/>
            </a:pPr>
            <a:r>
              <a:rPr lang="en-US" sz="1200" kern="0" dirty="0">
                <a:solidFill>
                  <a:srgbClr val="0078D7"/>
                </a:solidFill>
                <a:latin typeface="Segoe UI Semilight" panose="020B0402040204020203" pitchFamily="34" charset="0"/>
                <a:cs typeface="Segoe UI Semilight" panose="020B0402040204020203" pitchFamily="34" charset="0"/>
              </a:rPr>
              <a:t>Azure storage</a:t>
            </a:r>
          </a:p>
        </p:txBody>
      </p:sp>
      <p:grpSp>
        <p:nvGrpSpPr>
          <p:cNvPr id="10" name="Group 9">
            <a:extLst>
              <a:ext uri="{FF2B5EF4-FFF2-40B4-BE49-F238E27FC236}">
                <a16:creationId xmlns:a16="http://schemas.microsoft.com/office/drawing/2014/main" id="{ECDD1A3E-AC82-45AC-9453-3A8E3634A00B}"/>
              </a:ext>
            </a:extLst>
          </p:cNvPr>
          <p:cNvGrpSpPr/>
          <p:nvPr/>
        </p:nvGrpSpPr>
        <p:grpSpPr>
          <a:xfrm>
            <a:off x="10414119" y="2291992"/>
            <a:ext cx="1328495" cy="841347"/>
            <a:chOff x="9268353" y="1843485"/>
            <a:chExt cx="1328495" cy="841347"/>
          </a:xfrm>
        </p:grpSpPr>
        <p:sp>
          <p:nvSpPr>
            <p:cNvPr id="11" name="TextBox 10">
              <a:extLst>
                <a:ext uri="{FF2B5EF4-FFF2-40B4-BE49-F238E27FC236}">
                  <a16:creationId xmlns:a16="http://schemas.microsoft.com/office/drawing/2014/main" id="{4044C6BC-E350-4F7F-9842-E257670355AE}"/>
                </a:ext>
              </a:extLst>
            </p:cNvPr>
            <p:cNvSpPr txBox="1"/>
            <p:nvPr/>
          </p:nvSpPr>
          <p:spPr>
            <a:xfrm>
              <a:off x="9484659" y="2287828"/>
              <a:ext cx="903130" cy="223140"/>
            </a:xfrm>
            <a:prstGeom prst="rect">
              <a:avLst/>
            </a:prstGeom>
            <a:solidFill>
              <a:srgbClr val="FFFFFF"/>
            </a:solidFill>
            <a:ln w="12700">
              <a:solidFill>
                <a:srgbClr val="0078D7"/>
              </a:solidFill>
            </a:ln>
          </p:spPr>
          <p:txBody>
            <a:bodyPr wrap="none" lIns="68579" tIns="34291" rIns="68579" bIns="34291" rtlCol="0">
              <a:spAutoFit/>
            </a:bodyPr>
            <a:lstStyle/>
            <a:p>
              <a:pPr marL="0" marR="0" lvl="0" indent="0" defTabSz="91428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78D7"/>
                  </a:solidFill>
                  <a:effectLst/>
                  <a:uLnTx/>
                  <a:uFillTx/>
                </a:rPr>
                <a:t>DB1_Backup3</a:t>
              </a:r>
            </a:p>
          </p:txBody>
        </p:sp>
        <p:sp>
          <p:nvSpPr>
            <p:cNvPr id="12" name="Freeform 146">
              <a:extLst>
                <a:ext uri="{FF2B5EF4-FFF2-40B4-BE49-F238E27FC236}">
                  <a16:creationId xmlns:a16="http://schemas.microsoft.com/office/drawing/2014/main" id="{EC718C3A-C2F4-44AD-B87A-258C6300BB76}"/>
                </a:ext>
              </a:extLst>
            </p:cNvPr>
            <p:cNvSpPr>
              <a:spLocks noChangeAspect="1"/>
            </p:cNvSpPr>
            <p:nvPr/>
          </p:nvSpPr>
          <p:spPr bwMode="auto">
            <a:xfrm>
              <a:off x="9268353" y="1843485"/>
              <a:ext cx="1328495" cy="84134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3" name="Group 12">
            <a:extLst>
              <a:ext uri="{FF2B5EF4-FFF2-40B4-BE49-F238E27FC236}">
                <a16:creationId xmlns:a16="http://schemas.microsoft.com/office/drawing/2014/main" id="{43066C08-CA8B-41E6-B27B-21C48DFFB0BB}"/>
              </a:ext>
            </a:extLst>
          </p:cNvPr>
          <p:cNvGrpSpPr/>
          <p:nvPr/>
        </p:nvGrpSpPr>
        <p:grpSpPr>
          <a:xfrm>
            <a:off x="7215776" y="4323102"/>
            <a:ext cx="3785686" cy="2077698"/>
            <a:chOff x="6516974" y="4720106"/>
            <a:chExt cx="3309198" cy="1816186"/>
          </a:xfrm>
        </p:grpSpPr>
        <p:sp>
          <p:nvSpPr>
            <p:cNvPr id="14" name="Freeform: Shape 13">
              <a:extLst>
                <a:ext uri="{FF2B5EF4-FFF2-40B4-BE49-F238E27FC236}">
                  <a16:creationId xmlns:a16="http://schemas.microsoft.com/office/drawing/2014/main" id="{AE0EC905-5E59-452B-9678-BAC47813D46D}"/>
                </a:ext>
              </a:extLst>
            </p:cNvPr>
            <p:cNvSpPr>
              <a:spLocks/>
            </p:cNvSpPr>
            <p:nvPr/>
          </p:nvSpPr>
          <p:spPr bwMode="auto">
            <a:xfrm>
              <a:off x="6516974" y="4720106"/>
              <a:ext cx="3309198" cy="1816186"/>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D2D2D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Oval 14">
              <a:extLst>
                <a:ext uri="{FF2B5EF4-FFF2-40B4-BE49-F238E27FC236}">
                  <a16:creationId xmlns:a16="http://schemas.microsoft.com/office/drawing/2014/main" id="{F8B670C1-229B-4F98-B282-473E367EE209}"/>
                </a:ext>
              </a:extLst>
            </p:cNvPr>
            <p:cNvSpPr/>
            <p:nvPr/>
          </p:nvSpPr>
          <p:spPr bwMode="auto">
            <a:xfrm>
              <a:off x="6888779" y="5343315"/>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Oval 15">
              <a:extLst>
                <a:ext uri="{FF2B5EF4-FFF2-40B4-BE49-F238E27FC236}">
                  <a16:creationId xmlns:a16="http://schemas.microsoft.com/office/drawing/2014/main" id="{381BD57E-3E51-4E57-B94F-6EFEF7238EE1}"/>
                </a:ext>
              </a:extLst>
            </p:cNvPr>
            <p:cNvSpPr/>
            <p:nvPr/>
          </p:nvSpPr>
          <p:spPr bwMode="auto">
            <a:xfrm>
              <a:off x="7104259" y="5466000"/>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Oval 16">
              <a:extLst>
                <a:ext uri="{FF2B5EF4-FFF2-40B4-BE49-F238E27FC236}">
                  <a16:creationId xmlns:a16="http://schemas.microsoft.com/office/drawing/2014/main" id="{A886CEC9-CC96-4C8B-95EA-1197C988E017}"/>
                </a:ext>
              </a:extLst>
            </p:cNvPr>
            <p:cNvSpPr/>
            <p:nvPr/>
          </p:nvSpPr>
          <p:spPr bwMode="auto">
            <a:xfrm>
              <a:off x="7259444" y="5199459"/>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Oval 17">
              <a:extLst>
                <a:ext uri="{FF2B5EF4-FFF2-40B4-BE49-F238E27FC236}">
                  <a16:creationId xmlns:a16="http://schemas.microsoft.com/office/drawing/2014/main" id="{C4855A5E-95E0-4349-85C3-AA7ED066675B}"/>
                </a:ext>
              </a:extLst>
            </p:cNvPr>
            <p:cNvSpPr/>
            <p:nvPr/>
          </p:nvSpPr>
          <p:spPr bwMode="auto">
            <a:xfrm>
              <a:off x="7414226" y="5300710"/>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Oval 18">
              <a:extLst>
                <a:ext uri="{FF2B5EF4-FFF2-40B4-BE49-F238E27FC236}">
                  <a16:creationId xmlns:a16="http://schemas.microsoft.com/office/drawing/2014/main" id="{E99D69D6-B602-44D5-9EC3-288772294999}"/>
                </a:ext>
              </a:extLst>
            </p:cNvPr>
            <p:cNvSpPr/>
            <p:nvPr/>
          </p:nvSpPr>
          <p:spPr bwMode="auto">
            <a:xfrm>
              <a:off x="9400479" y="6229226"/>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Oval 19">
              <a:extLst>
                <a:ext uri="{FF2B5EF4-FFF2-40B4-BE49-F238E27FC236}">
                  <a16:creationId xmlns:a16="http://schemas.microsoft.com/office/drawing/2014/main" id="{D5F3EE53-1C4A-4EE2-8C82-3DEAC60673F8}"/>
                </a:ext>
              </a:extLst>
            </p:cNvPr>
            <p:cNvSpPr/>
            <p:nvPr/>
          </p:nvSpPr>
          <p:spPr bwMode="auto">
            <a:xfrm>
              <a:off x="9363450" y="6026468"/>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Oval 20">
              <a:extLst>
                <a:ext uri="{FF2B5EF4-FFF2-40B4-BE49-F238E27FC236}">
                  <a16:creationId xmlns:a16="http://schemas.microsoft.com/office/drawing/2014/main" id="{13F13925-2226-49C9-AFC6-9F99F4186826}"/>
                </a:ext>
              </a:extLst>
            </p:cNvPr>
            <p:cNvSpPr/>
            <p:nvPr/>
          </p:nvSpPr>
          <p:spPr bwMode="auto">
            <a:xfrm>
              <a:off x="9100283" y="5824008"/>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Oval 21">
              <a:extLst>
                <a:ext uri="{FF2B5EF4-FFF2-40B4-BE49-F238E27FC236}">
                  <a16:creationId xmlns:a16="http://schemas.microsoft.com/office/drawing/2014/main" id="{BE3EA4DF-E667-4593-8C96-F6C99ABEC75D}"/>
                </a:ext>
              </a:extLst>
            </p:cNvPr>
            <p:cNvSpPr/>
            <p:nvPr/>
          </p:nvSpPr>
          <p:spPr bwMode="auto">
            <a:xfrm>
              <a:off x="9319253" y="5420669"/>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Oval 22">
              <a:extLst>
                <a:ext uri="{FF2B5EF4-FFF2-40B4-BE49-F238E27FC236}">
                  <a16:creationId xmlns:a16="http://schemas.microsoft.com/office/drawing/2014/main" id="{995DF511-FEC4-41C6-852E-ECC9ECE50F7D}"/>
                </a:ext>
              </a:extLst>
            </p:cNvPr>
            <p:cNvSpPr/>
            <p:nvPr/>
          </p:nvSpPr>
          <p:spPr bwMode="auto">
            <a:xfrm>
              <a:off x="9056103" y="5341864"/>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 name="Oval 23">
              <a:extLst>
                <a:ext uri="{FF2B5EF4-FFF2-40B4-BE49-F238E27FC236}">
                  <a16:creationId xmlns:a16="http://schemas.microsoft.com/office/drawing/2014/main" id="{F610B2BC-09A7-47B4-952D-326545D450A2}"/>
                </a:ext>
              </a:extLst>
            </p:cNvPr>
            <p:cNvSpPr/>
            <p:nvPr/>
          </p:nvSpPr>
          <p:spPr bwMode="auto">
            <a:xfrm>
              <a:off x="9543814" y="5144835"/>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 name="Oval 24">
              <a:extLst>
                <a:ext uri="{FF2B5EF4-FFF2-40B4-BE49-F238E27FC236}">
                  <a16:creationId xmlns:a16="http://schemas.microsoft.com/office/drawing/2014/main" id="{877E692C-7C41-4AFB-90AE-DC5D7E7918ED}"/>
                </a:ext>
              </a:extLst>
            </p:cNvPr>
            <p:cNvSpPr/>
            <p:nvPr/>
          </p:nvSpPr>
          <p:spPr bwMode="auto">
            <a:xfrm>
              <a:off x="9359892" y="5185455"/>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Oval 25">
              <a:extLst>
                <a:ext uri="{FF2B5EF4-FFF2-40B4-BE49-F238E27FC236}">
                  <a16:creationId xmlns:a16="http://schemas.microsoft.com/office/drawing/2014/main" id="{A4A70E6F-D460-470C-9B8C-2F30F0C5F0AA}"/>
                </a:ext>
              </a:extLst>
            </p:cNvPr>
            <p:cNvSpPr/>
            <p:nvPr/>
          </p:nvSpPr>
          <p:spPr bwMode="auto">
            <a:xfrm>
              <a:off x="9144413" y="5062763"/>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Oval 26">
              <a:extLst>
                <a:ext uri="{FF2B5EF4-FFF2-40B4-BE49-F238E27FC236}">
                  <a16:creationId xmlns:a16="http://schemas.microsoft.com/office/drawing/2014/main" id="{77E4C89C-94AF-4A5D-A636-2061A5EADBB6}"/>
                </a:ext>
              </a:extLst>
            </p:cNvPr>
            <p:cNvSpPr/>
            <p:nvPr/>
          </p:nvSpPr>
          <p:spPr bwMode="auto">
            <a:xfrm>
              <a:off x="7594573" y="5988267"/>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Oval 27">
              <a:extLst>
                <a:ext uri="{FF2B5EF4-FFF2-40B4-BE49-F238E27FC236}">
                  <a16:creationId xmlns:a16="http://schemas.microsoft.com/office/drawing/2014/main" id="{C1D0E1D0-6656-4BA1-B823-8CEEAD0B74E4}"/>
                </a:ext>
              </a:extLst>
            </p:cNvPr>
            <p:cNvSpPr/>
            <p:nvPr/>
          </p:nvSpPr>
          <p:spPr bwMode="auto">
            <a:xfrm>
              <a:off x="6912862" y="5367398"/>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 name="Oval 28">
              <a:extLst>
                <a:ext uri="{FF2B5EF4-FFF2-40B4-BE49-F238E27FC236}">
                  <a16:creationId xmlns:a16="http://schemas.microsoft.com/office/drawing/2014/main" id="{679CFE03-1FA9-473D-A80D-6191FE5A55A6}"/>
                </a:ext>
              </a:extLst>
            </p:cNvPr>
            <p:cNvSpPr/>
            <p:nvPr/>
          </p:nvSpPr>
          <p:spPr bwMode="auto">
            <a:xfrm>
              <a:off x="7128342" y="5490083"/>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Oval 29">
              <a:extLst>
                <a:ext uri="{FF2B5EF4-FFF2-40B4-BE49-F238E27FC236}">
                  <a16:creationId xmlns:a16="http://schemas.microsoft.com/office/drawing/2014/main" id="{10ACE55E-41CE-444E-904A-F70E3CEED374}"/>
                </a:ext>
              </a:extLst>
            </p:cNvPr>
            <p:cNvSpPr/>
            <p:nvPr/>
          </p:nvSpPr>
          <p:spPr bwMode="auto">
            <a:xfrm>
              <a:off x="7283527" y="5223542"/>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1" name="Oval 30">
              <a:extLst>
                <a:ext uri="{FF2B5EF4-FFF2-40B4-BE49-F238E27FC236}">
                  <a16:creationId xmlns:a16="http://schemas.microsoft.com/office/drawing/2014/main" id="{848F1B03-AEB1-41F0-9171-65DF157034E8}"/>
                </a:ext>
              </a:extLst>
            </p:cNvPr>
            <p:cNvSpPr/>
            <p:nvPr/>
          </p:nvSpPr>
          <p:spPr bwMode="auto">
            <a:xfrm>
              <a:off x="7438309" y="5324793"/>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Oval 31">
              <a:extLst>
                <a:ext uri="{FF2B5EF4-FFF2-40B4-BE49-F238E27FC236}">
                  <a16:creationId xmlns:a16="http://schemas.microsoft.com/office/drawing/2014/main" id="{F7A7EE20-DCE9-4920-94FE-293FCADC3500}"/>
                </a:ext>
              </a:extLst>
            </p:cNvPr>
            <p:cNvSpPr/>
            <p:nvPr/>
          </p:nvSpPr>
          <p:spPr bwMode="auto">
            <a:xfrm>
              <a:off x="9424562" y="6253309"/>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 name="Oval 32">
              <a:extLst>
                <a:ext uri="{FF2B5EF4-FFF2-40B4-BE49-F238E27FC236}">
                  <a16:creationId xmlns:a16="http://schemas.microsoft.com/office/drawing/2014/main" id="{8966E907-DE59-41E7-BFF2-51A3B63E87C2}"/>
                </a:ext>
              </a:extLst>
            </p:cNvPr>
            <p:cNvSpPr/>
            <p:nvPr/>
          </p:nvSpPr>
          <p:spPr bwMode="auto">
            <a:xfrm>
              <a:off x="9387533" y="6050551"/>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Oval 33">
              <a:extLst>
                <a:ext uri="{FF2B5EF4-FFF2-40B4-BE49-F238E27FC236}">
                  <a16:creationId xmlns:a16="http://schemas.microsoft.com/office/drawing/2014/main" id="{F493A473-44AD-4276-94A3-567C509EAC30}"/>
                </a:ext>
              </a:extLst>
            </p:cNvPr>
            <p:cNvSpPr/>
            <p:nvPr/>
          </p:nvSpPr>
          <p:spPr bwMode="auto">
            <a:xfrm>
              <a:off x="9124366" y="5848091"/>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5" name="Oval 34">
              <a:extLst>
                <a:ext uri="{FF2B5EF4-FFF2-40B4-BE49-F238E27FC236}">
                  <a16:creationId xmlns:a16="http://schemas.microsoft.com/office/drawing/2014/main" id="{68D874A7-ADFB-4565-B113-21FB16176BB9}"/>
                </a:ext>
              </a:extLst>
            </p:cNvPr>
            <p:cNvSpPr/>
            <p:nvPr/>
          </p:nvSpPr>
          <p:spPr bwMode="auto">
            <a:xfrm>
              <a:off x="9343336" y="5444752"/>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Oval 35">
              <a:extLst>
                <a:ext uri="{FF2B5EF4-FFF2-40B4-BE49-F238E27FC236}">
                  <a16:creationId xmlns:a16="http://schemas.microsoft.com/office/drawing/2014/main" id="{72D1728A-044E-46BB-A3FE-C7E666889780}"/>
                </a:ext>
              </a:extLst>
            </p:cNvPr>
            <p:cNvSpPr/>
            <p:nvPr/>
          </p:nvSpPr>
          <p:spPr bwMode="auto">
            <a:xfrm>
              <a:off x="9080186" y="5365947"/>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 name="Oval 36">
              <a:extLst>
                <a:ext uri="{FF2B5EF4-FFF2-40B4-BE49-F238E27FC236}">
                  <a16:creationId xmlns:a16="http://schemas.microsoft.com/office/drawing/2014/main" id="{1EE0CC3B-1434-42F9-AC18-A6069384CE93}"/>
                </a:ext>
              </a:extLst>
            </p:cNvPr>
            <p:cNvSpPr/>
            <p:nvPr/>
          </p:nvSpPr>
          <p:spPr bwMode="auto">
            <a:xfrm>
              <a:off x="9567897" y="5168918"/>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 name="Oval 37">
              <a:extLst>
                <a:ext uri="{FF2B5EF4-FFF2-40B4-BE49-F238E27FC236}">
                  <a16:creationId xmlns:a16="http://schemas.microsoft.com/office/drawing/2014/main" id="{2339F572-F9BC-470E-BB74-4107749052EA}"/>
                </a:ext>
              </a:extLst>
            </p:cNvPr>
            <p:cNvSpPr/>
            <p:nvPr/>
          </p:nvSpPr>
          <p:spPr bwMode="auto">
            <a:xfrm>
              <a:off x="9383975" y="5209538"/>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 name="Oval 38">
              <a:extLst>
                <a:ext uri="{FF2B5EF4-FFF2-40B4-BE49-F238E27FC236}">
                  <a16:creationId xmlns:a16="http://schemas.microsoft.com/office/drawing/2014/main" id="{BA4722AC-6666-4BC6-87EE-615EB5CA3A9C}"/>
                </a:ext>
              </a:extLst>
            </p:cNvPr>
            <p:cNvSpPr/>
            <p:nvPr/>
          </p:nvSpPr>
          <p:spPr bwMode="auto">
            <a:xfrm>
              <a:off x="9168496" y="5086846"/>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Oval 39">
              <a:extLst>
                <a:ext uri="{FF2B5EF4-FFF2-40B4-BE49-F238E27FC236}">
                  <a16:creationId xmlns:a16="http://schemas.microsoft.com/office/drawing/2014/main" id="{55F26DB8-AEB5-40D7-A9F1-9F57AF6F8965}"/>
                </a:ext>
              </a:extLst>
            </p:cNvPr>
            <p:cNvSpPr/>
            <p:nvPr/>
          </p:nvSpPr>
          <p:spPr bwMode="auto">
            <a:xfrm>
              <a:off x="7618656" y="6012350"/>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Oval 40">
              <a:extLst>
                <a:ext uri="{FF2B5EF4-FFF2-40B4-BE49-F238E27FC236}">
                  <a16:creationId xmlns:a16="http://schemas.microsoft.com/office/drawing/2014/main" id="{55931DFE-7645-4733-A10F-8E7F6DE26966}"/>
                </a:ext>
              </a:extLst>
            </p:cNvPr>
            <p:cNvSpPr/>
            <p:nvPr/>
          </p:nvSpPr>
          <p:spPr bwMode="auto">
            <a:xfrm>
              <a:off x="8169423" y="5178399"/>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Oval 41">
              <a:extLst>
                <a:ext uri="{FF2B5EF4-FFF2-40B4-BE49-F238E27FC236}">
                  <a16:creationId xmlns:a16="http://schemas.microsoft.com/office/drawing/2014/main" id="{EA6038A3-24B5-4E15-96FC-7E9F417FD806}"/>
                </a:ext>
              </a:extLst>
            </p:cNvPr>
            <p:cNvSpPr/>
            <p:nvPr/>
          </p:nvSpPr>
          <p:spPr bwMode="auto">
            <a:xfrm>
              <a:off x="8193506" y="5202482"/>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3" name="Cylinder 513">
            <a:extLst>
              <a:ext uri="{FF2B5EF4-FFF2-40B4-BE49-F238E27FC236}">
                <a16:creationId xmlns:a16="http://schemas.microsoft.com/office/drawing/2014/main" id="{B743B9F4-6AFA-4BB5-A86F-D183736BF6B1}"/>
              </a:ext>
            </a:extLst>
          </p:cNvPr>
          <p:cNvSpPr/>
          <p:nvPr/>
        </p:nvSpPr>
        <p:spPr bwMode="auto">
          <a:xfrm>
            <a:off x="7857953" y="3348069"/>
            <a:ext cx="324644" cy="426503"/>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dirty="0">
              <a:solidFill>
                <a:srgbClr val="0078D7"/>
              </a:solidFill>
              <a:latin typeface="Segoe UI Light"/>
              <a:ea typeface="Segoe UI" pitchFamily="34" charset="0"/>
              <a:cs typeface="Segoe UI" pitchFamily="34" charset="0"/>
            </a:endParaRPr>
          </a:p>
        </p:txBody>
      </p:sp>
      <p:sp>
        <p:nvSpPr>
          <p:cNvPr id="44" name="Cylinder 513">
            <a:extLst>
              <a:ext uri="{FF2B5EF4-FFF2-40B4-BE49-F238E27FC236}">
                <a16:creationId xmlns:a16="http://schemas.microsoft.com/office/drawing/2014/main" id="{4B636B37-0731-4990-B214-7BAB854AC5AE}"/>
              </a:ext>
            </a:extLst>
          </p:cNvPr>
          <p:cNvSpPr/>
          <p:nvPr/>
        </p:nvSpPr>
        <p:spPr bwMode="auto">
          <a:xfrm>
            <a:off x="8239590" y="3348069"/>
            <a:ext cx="324644" cy="426503"/>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dirty="0">
              <a:solidFill>
                <a:srgbClr val="0078D7"/>
              </a:solidFill>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FC2DD0E4-7D76-4418-A07D-7AB75027D334}"/>
              </a:ext>
            </a:extLst>
          </p:cNvPr>
          <p:cNvGrpSpPr/>
          <p:nvPr/>
        </p:nvGrpSpPr>
        <p:grpSpPr>
          <a:xfrm>
            <a:off x="8622957" y="3369422"/>
            <a:ext cx="402639" cy="361232"/>
            <a:chOff x="1275510" y="6072184"/>
            <a:chExt cx="508602" cy="456298"/>
          </a:xfrm>
        </p:grpSpPr>
        <p:grpSp>
          <p:nvGrpSpPr>
            <p:cNvPr id="46" name="Group 45">
              <a:extLst>
                <a:ext uri="{FF2B5EF4-FFF2-40B4-BE49-F238E27FC236}">
                  <a16:creationId xmlns:a16="http://schemas.microsoft.com/office/drawing/2014/main" id="{22BD93FA-7ABA-4D46-B1B2-BA131742D732}"/>
                </a:ext>
              </a:extLst>
            </p:cNvPr>
            <p:cNvGrpSpPr/>
            <p:nvPr/>
          </p:nvGrpSpPr>
          <p:grpSpPr>
            <a:xfrm>
              <a:off x="1275510" y="6224584"/>
              <a:ext cx="508602" cy="151498"/>
              <a:chOff x="551886" y="4945335"/>
              <a:chExt cx="508602" cy="151498"/>
            </a:xfrm>
          </p:grpSpPr>
          <p:sp>
            <p:nvSpPr>
              <p:cNvPr id="55" name="Rectangle 54">
                <a:extLst>
                  <a:ext uri="{FF2B5EF4-FFF2-40B4-BE49-F238E27FC236}">
                    <a16:creationId xmlns:a16="http://schemas.microsoft.com/office/drawing/2014/main" id="{375EEFA8-98A6-406D-B5F3-6C32F05E9F4A}"/>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F77A72CC-E56C-463D-93BB-19091DAD8ED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CF85967F-CCD0-4886-96A9-FADE6427FA0B}"/>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47" name="Group 46">
              <a:extLst>
                <a:ext uri="{FF2B5EF4-FFF2-40B4-BE49-F238E27FC236}">
                  <a16:creationId xmlns:a16="http://schemas.microsoft.com/office/drawing/2014/main" id="{7FDF280E-A83D-433B-9EDA-66595D4BCBFF}"/>
                </a:ext>
              </a:extLst>
            </p:cNvPr>
            <p:cNvGrpSpPr/>
            <p:nvPr/>
          </p:nvGrpSpPr>
          <p:grpSpPr>
            <a:xfrm>
              <a:off x="1275510" y="6376984"/>
              <a:ext cx="508602" cy="151498"/>
              <a:chOff x="551886" y="4945335"/>
              <a:chExt cx="508602" cy="151498"/>
            </a:xfrm>
          </p:grpSpPr>
          <p:sp>
            <p:nvSpPr>
              <p:cNvPr id="52" name="Rectangle 51">
                <a:extLst>
                  <a:ext uri="{FF2B5EF4-FFF2-40B4-BE49-F238E27FC236}">
                    <a16:creationId xmlns:a16="http://schemas.microsoft.com/office/drawing/2014/main" id="{81F4A358-3BA8-4E6B-AD68-B4A15D235EFD}"/>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3" name="Oval 52">
                <a:extLst>
                  <a:ext uri="{FF2B5EF4-FFF2-40B4-BE49-F238E27FC236}">
                    <a16:creationId xmlns:a16="http://schemas.microsoft.com/office/drawing/2014/main" id="{6B64422B-2A08-4881-A3ED-A5A66402CF7F}"/>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3FE3F8DC-67DA-4D00-B7BB-E6CF01D49F67}"/>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48" name="Group 47">
              <a:extLst>
                <a:ext uri="{FF2B5EF4-FFF2-40B4-BE49-F238E27FC236}">
                  <a16:creationId xmlns:a16="http://schemas.microsoft.com/office/drawing/2014/main" id="{3170145F-7D1D-4963-8769-FA46A8A89F4D}"/>
                </a:ext>
              </a:extLst>
            </p:cNvPr>
            <p:cNvGrpSpPr/>
            <p:nvPr/>
          </p:nvGrpSpPr>
          <p:grpSpPr>
            <a:xfrm>
              <a:off x="1275510" y="6072184"/>
              <a:ext cx="508602" cy="151498"/>
              <a:chOff x="551886" y="4945335"/>
              <a:chExt cx="508602" cy="151498"/>
            </a:xfrm>
          </p:grpSpPr>
          <p:sp>
            <p:nvSpPr>
              <p:cNvPr id="49" name="Rectangle 48">
                <a:extLst>
                  <a:ext uri="{FF2B5EF4-FFF2-40B4-BE49-F238E27FC236}">
                    <a16:creationId xmlns:a16="http://schemas.microsoft.com/office/drawing/2014/main" id="{9A8720F7-8CCF-4285-806B-A09CF7CEB77C}"/>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0" name="Oval 49">
                <a:extLst>
                  <a:ext uri="{FF2B5EF4-FFF2-40B4-BE49-F238E27FC236}">
                    <a16:creationId xmlns:a16="http://schemas.microsoft.com/office/drawing/2014/main" id="{9F4BA58A-4AC0-476B-809C-E7960D988487}"/>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1" name="Straight Connector 50">
                <a:extLst>
                  <a:ext uri="{FF2B5EF4-FFF2-40B4-BE49-F238E27FC236}">
                    <a16:creationId xmlns:a16="http://schemas.microsoft.com/office/drawing/2014/main" id="{3A99AD09-052E-4976-B9F6-44AEA4DFAFFE}"/>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58" name="Group 57">
            <a:extLst>
              <a:ext uri="{FF2B5EF4-FFF2-40B4-BE49-F238E27FC236}">
                <a16:creationId xmlns:a16="http://schemas.microsoft.com/office/drawing/2014/main" id="{39B04C75-F1CD-4970-B176-915341CEDD37}"/>
              </a:ext>
            </a:extLst>
          </p:cNvPr>
          <p:cNvGrpSpPr/>
          <p:nvPr/>
        </p:nvGrpSpPr>
        <p:grpSpPr>
          <a:xfrm>
            <a:off x="9675720" y="3369422"/>
            <a:ext cx="402639" cy="361232"/>
            <a:chOff x="1275510" y="6072184"/>
            <a:chExt cx="508602" cy="456298"/>
          </a:xfrm>
        </p:grpSpPr>
        <p:grpSp>
          <p:nvGrpSpPr>
            <p:cNvPr id="59" name="Group 58">
              <a:extLst>
                <a:ext uri="{FF2B5EF4-FFF2-40B4-BE49-F238E27FC236}">
                  <a16:creationId xmlns:a16="http://schemas.microsoft.com/office/drawing/2014/main" id="{7256E3FA-26AF-45FD-AB57-B266DCEF72A9}"/>
                </a:ext>
              </a:extLst>
            </p:cNvPr>
            <p:cNvGrpSpPr/>
            <p:nvPr/>
          </p:nvGrpSpPr>
          <p:grpSpPr>
            <a:xfrm>
              <a:off x="1275510" y="6224584"/>
              <a:ext cx="508602" cy="151498"/>
              <a:chOff x="551886" y="4945335"/>
              <a:chExt cx="508602" cy="151498"/>
            </a:xfrm>
          </p:grpSpPr>
          <p:sp>
            <p:nvSpPr>
              <p:cNvPr id="68" name="Rectangle 67">
                <a:extLst>
                  <a:ext uri="{FF2B5EF4-FFF2-40B4-BE49-F238E27FC236}">
                    <a16:creationId xmlns:a16="http://schemas.microsoft.com/office/drawing/2014/main" id="{5109B06B-DB7E-49D9-B69F-B19AA7C46851}"/>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9" name="Oval 68">
                <a:extLst>
                  <a:ext uri="{FF2B5EF4-FFF2-40B4-BE49-F238E27FC236}">
                    <a16:creationId xmlns:a16="http://schemas.microsoft.com/office/drawing/2014/main" id="{8774935C-C5BA-4595-B4DB-AF33A04EC5B3}"/>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0" name="Straight Connector 69">
                <a:extLst>
                  <a:ext uri="{FF2B5EF4-FFF2-40B4-BE49-F238E27FC236}">
                    <a16:creationId xmlns:a16="http://schemas.microsoft.com/office/drawing/2014/main" id="{A47DF091-297E-4DB0-A16D-4DAB1623ADC7}"/>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60" name="Group 59">
              <a:extLst>
                <a:ext uri="{FF2B5EF4-FFF2-40B4-BE49-F238E27FC236}">
                  <a16:creationId xmlns:a16="http://schemas.microsoft.com/office/drawing/2014/main" id="{83A26853-4DB0-4739-85BB-0D17E85B9B16}"/>
                </a:ext>
              </a:extLst>
            </p:cNvPr>
            <p:cNvGrpSpPr/>
            <p:nvPr/>
          </p:nvGrpSpPr>
          <p:grpSpPr>
            <a:xfrm>
              <a:off x="1275510" y="6376984"/>
              <a:ext cx="508602" cy="151498"/>
              <a:chOff x="551886" y="4945335"/>
              <a:chExt cx="508602" cy="151498"/>
            </a:xfrm>
          </p:grpSpPr>
          <p:sp>
            <p:nvSpPr>
              <p:cNvPr id="65" name="Rectangle 64">
                <a:extLst>
                  <a:ext uri="{FF2B5EF4-FFF2-40B4-BE49-F238E27FC236}">
                    <a16:creationId xmlns:a16="http://schemas.microsoft.com/office/drawing/2014/main" id="{3E733DBB-14C5-41D1-8C38-8709C94CCFFF}"/>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a:extLst>
                  <a:ext uri="{FF2B5EF4-FFF2-40B4-BE49-F238E27FC236}">
                    <a16:creationId xmlns:a16="http://schemas.microsoft.com/office/drawing/2014/main" id="{AF1A7EDC-B0E0-4E34-9C99-E5F9EDAE50CA}"/>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519224F5-2C85-40FE-9FFE-3063E6F6CA93}"/>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61" name="Group 60">
              <a:extLst>
                <a:ext uri="{FF2B5EF4-FFF2-40B4-BE49-F238E27FC236}">
                  <a16:creationId xmlns:a16="http://schemas.microsoft.com/office/drawing/2014/main" id="{080E1A67-B0EF-434C-9628-9A038494E981}"/>
                </a:ext>
              </a:extLst>
            </p:cNvPr>
            <p:cNvGrpSpPr/>
            <p:nvPr/>
          </p:nvGrpSpPr>
          <p:grpSpPr>
            <a:xfrm>
              <a:off x="1275510" y="6072184"/>
              <a:ext cx="508602" cy="151498"/>
              <a:chOff x="551886" y="4945335"/>
              <a:chExt cx="508602" cy="151498"/>
            </a:xfrm>
          </p:grpSpPr>
          <p:sp>
            <p:nvSpPr>
              <p:cNvPr id="62" name="Rectangle 61">
                <a:extLst>
                  <a:ext uri="{FF2B5EF4-FFF2-40B4-BE49-F238E27FC236}">
                    <a16:creationId xmlns:a16="http://schemas.microsoft.com/office/drawing/2014/main" id="{3B9408DA-3134-4569-B6B1-B3C9B09BABA1}"/>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a:extLst>
                  <a:ext uri="{FF2B5EF4-FFF2-40B4-BE49-F238E27FC236}">
                    <a16:creationId xmlns:a16="http://schemas.microsoft.com/office/drawing/2014/main" id="{FB83EEAD-633F-4DDD-A82A-DE0EC4441E2C}"/>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65043161-9037-40BE-B3C8-B92689B1CB7F}"/>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71" name="Group 70">
            <a:extLst>
              <a:ext uri="{FF2B5EF4-FFF2-40B4-BE49-F238E27FC236}">
                <a16:creationId xmlns:a16="http://schemas.microsoft.com/office/drawing/2014/main" id="{F68DCC5E-6A60-431B-8EC5-E597DFF6B32A}"/>
              </a:ext>
            </a:extLst>
          </p:cNvPr>
          <p:cNvGrpSpPr/>
          <p:nvPr/>
        </p:nvGrpSpPr>
        <p:grpSpPr>
          <a:xfrm>
            <a:off x="9191285" y="3344332"/>
            <a:ext cx="318746" cy="411413"/>
            <a:chOff x="9965461" y="3472155"/>
            <a:chExt cx="318746" cy="411413"/>
          </a:xfrm>
        </p:grpSpPr>
        <p:sp>
          <p:nvSpPr>
            <p:cNvPr id="72" name="Freeform 5">
              <a:extLst>
                <a:ext uri="{FF2B5EF4-FFF2-40B4-BE49-F238E27FC236}">
                  <a16:creationId xmlns:a16="http://schemas.microsoft.com/office/drawing/2014/main" id="{09A5008C-3338-44FA-AE71-9480FC129AEC}"/>
                </a:ext>
              </a:extLst>
            </p:cNvPr>
            <p:cNvSpPr>
              <a:spLocks/>
            </p:cNvSpPr>
            <p:nvPr/>
          </p:nvSpPr>
          <p:spPr bwMode="auto">
            <a:xfrm rot="2578785">
              <a:off x="10026310" y="3472155"/>
              <a:ext cx="200966" cy="204354"/>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3" name="Freeform 6">
              <a:extLst>
                <a:ext uri="{FF2B5EF4-FFF2-40B4-BE49-F238E27FC236}">
                  <a16:creationId xmlns:a16="http://schemas.microsoft.com/office/drawing/2014/main" id="{9DABFA64-93A8-4193-8BC8-C98C2FFE1B74}"/>
                </a:ext>
              </a:extLst>
            </p:cNvPr>
            <p:cNvSpPr>
              <a:spLocks/>
            </p:cNvSpPr>
            <p:nvPr/>
          </p:nvSpPr>
          <p:spPr bwMode="auto">
            <a:xfrm rot="2578785">
              <a:off x="10012156" y="3683730"/>
              <a:ext cx="228063" cy="199838"/>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 name="Freeform 7">
              <a:extLst>
                <a:ext uri="{FF2B5EF4-FFF2-40B4-BE49-F238E27FC236}">
                  <a16:creationId xmlns:a16="http://schemas.microsoft.com/office/drawing/2014/main" id="{947F8908-9B9A-4ECC-B32C-3CB30CE7D024}"/>
                </a:ext>
              </a:extLst>
            </p:cNvPr>
            <p:cNvSpPr>
              <a:spLocks/>
            </p:cNvSpPr>
            <p:nvPr/>
          </p:nvSpPr>
          <p:spPr bwMode="auto">
            <a:xfrm rot="2578785">
              <a:off x="9965461" y="3757695"/>
              <a:ext cx="50806" cy="79032"/>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5" name="Freeform 8">
              <a:extLst>
                <a:ext uri="{FF2B5EF4-FFF2-40B4-BE49-F238E27FC236}">
                  <a16:creationId xmlns:a16="http://schemas.microsoft.com/office/drawing/2014/main" id="{6F0E5632-DAE0-4965-A4D0-C2BAD5491797}"/>
                </a:ext>
              </a:extLst>
            </p:cNvPr>
            <p:cNvSpPr>
              <a:spLocks/>
            </p:cNvSpPr>
            <p:nvPr/>
          </p:nvSpPr>
          <p:spPr bwMode="auto">
            <a:xfrm rot="2578785">
              <a:off x="10233401" y="3506029"/>
              <a:ext cx="50806" cy="80161"/>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76" name="Connector: Elbow 75">
            <a:extLst>
              <a:ext uri="{FF2B5EF4-FFF2-40B4-BE49-F238E27FC236}">
                <a16:creationId xmlns:a16="http://schemas.microsoft.com/office/drawing/2014/main" id="{DC7B9862-532A-4FEF-A7C5-55C6B4A8656A}"/>
              </a:ext>
            </a:extLst>
          </p:cNvPr>
          <p:cNvCxnSpPr>
            <a:stCxn id="5" idx="2"/>
            <a:endCxn id="43" idx="2"/>
          </p:cNvCxnSpPr>
          <p:nvPr/>
        </p:nvCxnSpPr>
        <p:spPr>
          <a:xfrm rot="16200000" flipH="1">
            <a:off x="7305108" y="3008475"/>
            <a:ext cx="426357" cy="679333"/>
          </a:xfrm>
          <a:prstGeom prst="bentConnector2">
            <a:avLst/>
          </a:prstGeom>
          <a:noFill/>
          <a:ln w="12700" cap="flat" cmpd="sng" algn="ctr">
            <a:solidFill>
              <a:srgbClr val="0078D7"/>
            </a:solidFill>
            <a:prstDash val="solid"/>
            <a:headEnd type="none"/>
            <a:tailEnd type="triangle"/>
          </a:ln>
          <a:effectLst/>
        </p:spPr>
      </p:cxnSp>
      <p:cxnSp>
        <p:nvCxnSpPr>
          <p:cNvPr id="77" name="Connector: Elbow 76">
            <a:extLst>
              <a:ext uri="{FF2B5EF4-FFF2-40B4-BE49-F238E27FC236}">
                <a16:creationId xmlns:a16="http://schemas.microsoft.com/office/drawing/2014/main" id="{87FA39A8-4145-4B32-9EB0-D0B69361CD0C}"/>
              </a:ext>
            </a:extLst>
          </p:cNvPr>
          <p:cNvCxnSpPr>
            <a:stCxn id="44" idx="1"/>
            <a:endCxn id="5" idx="3"/>
          </p:cNvCxnSpPr>
          <p:nvPr/>
        </p:nvCxnSpPr>
        <p:spPr>
          <a:xfrm rot="16200000" flipV="1">
            <a:off x="7919108" y="2865265"/>
            <a:ext cx="443937" cy="521672"/>
          </a:xfrm>
          <a:prstGeom prst="bentConnector2">
            <a:avLst/>
          </a:prstGeom>
          <a:noFill/>
          <a:ln w="12700" cap="flat" cmpd="sng" algn="ctr">
            <a:solidFill>
              <a:srgbClr val="0078D7"/>
            </a:solidFill>
            <a:prstDash val="solid"/>
            <a:headEnd type="none"/>
            <a:tailEnd type="triangle"/>
          </a:ln>
          <a:effectLst/>
        </p:spPr>
      </p:cxnSp>
      <p:graphicFrame>
        <p:nvGraphicFramePr>
          <p:cNvPr id="78" name="Diagram 77">
            <a:extLst>
              <a:ext uri="{FF2B5EF4-FFF2-40B4-BE49-F238E27FC236}">
                <a16:creationId xmlns:a16="http://schemas.microsoft.com/office/drawing/2014/main" id="{617BDB3C-9D44-43E1-831E-49CE22C4C6DD}"/>
              </a:ext>
            </a:extLst>
          </p:cNvPr>
          <p:cNvGraphicFramePr/>
          <p:nvPr>
            <p:extLst>
              <p:ext uri="{D42A27DB-BD31-4B8C-83A1-F6EECF244321}">
                <p14:modId xmlns:p14="http://schemas.microsoft.com/office/powerpoint/2010/main" val="147184624"/>
              </p:ext>
            </p:extLst>
          </p:nvPr>
        </p:nvGraphicFramePr>
        <p:xfrm>
          <a:off x="688119" y="1414610"/>
          <a:ext cx="5684748" cy="44786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9" name="TextBox 78">
            <a:extLst>
              <a:ext uri="{FF2B5EF4-FFF2-40B4-BE49-F238E27FC236}">
                <a16:creationId xmlns:a16="http://schemas.microsoft.com/office/drawing/2014/main" id="{DBBE7F17-9CA9-478A-ABE3-F8179FB24DA8}"/>
              </a:ext>
            </a:extLst>
          </p:cNvPr>
          <p:cNvSpPr txBox="1"/>
          <p:nvPr/>
        </p:nvSpPr>
        <p:spPr>
          <a:xfrm>
            <a:off x="10316745" y="1885702"/>
            <a:ext cx="1403240" cy="276999"/>
          </a:xfrm>
          <a:prstGeom prst="rect">
            <a:avLst/>
          </a:prstGeom>
          <a:noFill/>
        </p:spPr>
        <p:txBody>
          <a:bodyPr wrap="square" rtlCol="0">
            <a:spAutoFit/>
          </a:bodyPr>
          <a:lstStyle/>
          <a:p>
            <a:pPr algn="ctr" defTabSz="914554">
              <a:defRPr/>
            </a:pPr>
            <a:r>
              <a:rPr lang="en-US" sz="1200" kern="0" dirty="0">
                <a:solidFill>
                  <a:srgbClr val="0078D7"/>
                </a:solidFill>
                <a:latin typeface="Segoe UI Semilight" panose="020B0402040204020203" pitchFamily="34" charset="0"/>
                <a:cs typeface="Segoe UI Semilight" panose="020B0402040204020203" pitchFamily="34" charset="0"/>
              </a:rPr>
              <a:t>Azure storage</a:t>
            </a:r>
          </a:p>
        </p:txBody>
      </p:sp>
      <p:grpSp>
        <p:nvGrpSpPr>
          <p:cNvPr id="80" name="Group 79">
            <a:extLst>
              <a:ext uri="{FF2B5EF4-FFF2-40B4-BE49-F238E27FC236}">
                <a16:creationId xmlns:a16="http://schemas.microsoft.com/office/drawing/2014/main" id="{EF3519F0-B28D-426B-85E4-BA996B8FF0A7}"/>
              </a:ext>
            </a:extLst>
          </p:cNvPr>
          <p:cNvGrpSpPr/>
          <p:nvPr/>
        </p:nvGrpSpPr>
        <p:grpSpPr>
          <a:xfrm>
            <a:off x="10398874" y="987558"/>
            <a:ext cx="1328495" cy="841347"/>
            <a:chOff x="9268353" y="1843485"/>
            <a:chExt cx="1328495" cy="841347"/>
          </a:xfrm>
        </p:grpSpPr>
        <p:sp>
          <p:nvSpPr>
            <p:cNvPr id="81" name="TextBox 80">
              <a:extLst>
                <a:ext uri="{FF2B5EF4-FFF2-40B4-BE49-F238E27FC236}">
                  <a16:creationId xmlns:a16="http://schemas.microsoft.com/office/drawing/2014/main" id="{5F35E4EB-8A0D-4CC1-B104-6E014394CFF2}"/>
                </a:ext>
              </a:extLst>
            </p:cNvPr>
            <p:cNvSpPr txBox="1"/>
            <p:nvPr/>
          </p:nvSpPr>
          <p:spPr>
            <a:xfrm>
              <a:off x="9484659" y="2287828"/>
              <a:ext cx="903130" cy="223140"/>
            </a:xfrm>
            <a:prstGeom prst="rect">
              <a:avLst/>
            </a:prstGeom>
            <a:solidFill>
              <a:srgbClr val="FFFFFF"/>
            </a:solidFill>
            <a:ln w="12700">
              <a:solidFill>
                <a:srgbClr val="0078D7"/>
              </a:solidFill>
            </a:ln>
          </p:spPr>
          <p:txBody>
            <a:bodyPr wrap="none" lIns="68579" tIns="34291" rIns="68579" bIns="34291" rtlCol="0">
              <a:spAutoFit/>
            </a:bodyPr>
            <a:lstStyle/>
            <a:p>
              <a:pPr marL="0" marR="0" lvl="0" indent="0" defTabSz="91428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78D7"/>
                  </a:solidFill>
                  <a:effectLst/>
                  <a:uLnTx/>
                  <a:uFillTx/>
                </a:rPr>
                <a:t>DB1_Backup2</a:t>
              </a:r>
            </a:p>
          </p:txBody>
        </p:sp>
        <p:sp>
          <p:nvSpPr>
            <p:cNvPr id="82" name="Freeform 146">
              <a:extLst>
                <a:ext uri="{FF2B5EF4-FFF2-40B4-BE49-F238E27FC236}">
                  <a16:creationId xmlns:a16="http://schemas.microsoft.com/office/drawing/2014/main" id="{2EC30B9F-4C0C-4EC2-8D0B-76F7A94DD351}"/>
                </a:ext>
              </a:extLst>
            </p:cNvPr>
            <p:cNvSpPr>
              <a:spLocks noChangeAspect="1"/>
            </p:cNvSpPr>
            <p:nvPr/>
          </p:nvSpPr>
          <p:spPr bwMode="auto">
            <a:xfrm>
              <a:off x="9268353" y="1843485"/>
              <a:ext cx="1328495" cy="84134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cxnSp>
        <p:nvCxnSpPr>
          <p:cNvPr id="83" name="Straight Arrow Connector 82">
            <a:extLst>
              <a:ext uri="{FF2B5EF4-FFF2-40B4-BE49-F238E27FC236}">
                <a16:creationId xmlns:a16="http://schemas.microsoft.com/office/drawing/2014/main" id="{E571A604-5D14-4D76-8128-C60552B06706}"/>
              </a:ext>
            </a:extLst>
          </p:cNvPr>
          <p:cNvCxnSpPr>
            <a:stCxn id="63" idx="0"/>
            <a:endCxn id="12" idx="5"/>
          </p:cNvCxnSpPr>
          <p:nvPr/>
        </p:nvCxnSpPr>
        <p:spPr>
          <a:xfrm flipV="1">
            <a:off x="10012977" y="2839648"/>
            <a:ext cx="401206" cy="568015"/>
          </a:xfrm>
          <a:prstGeom prst="straightConnector1">
            <a:avLst/>
          </a:prstGeom>
          <a:noFill/>
          <a:ln w="9525" cap="flat" cmpd="sng" algn="ctr">
            <a:solidFill>
              <a:srgbClr val="0078D7"/>
            </a:solidFill>
            <a:prstDash val="dash"/>
            <a:headEnd type="none"/>
            <a:tailEnd type="triangle"/>
          </a:ln>
          <a:effectLst/>
        </p:spPr>
      </p:cxnSp>
      <p:cxnSp>
        <p:nvCxnSpPr>
          <p:cNvPr id="84" name="Straight Arrow Connector 83">
            <a:extLst>
              <a:ext uri="{FF2B5EF4-FFF2-40B4-BE49-F238E27FC236}">
                <a16:creationId xmlns:a16="http://schemas.microsoft.com/office/drawing/2014/main" id="{DD729D37-426B-42E3-966F-04979558F752}"/>
              </a:ext>
            </a:extLst>
          </p:cNvPr>
          <p:cNvCxnSpPr>
            <a:cxnSpLocks/>
            <a:stCxn id="62" idx="1"/>
            <a:endCxn id="82" idx="5"/>
          </p:cNvCxnSpPr>
          <p:nvPr/>
        </p:nvCxnSpPr>
        <p:spPr>
          <a:xfrm flipV="1">
            <a:off x="9675720" y="1535214"/>
            <a:ext cx="723218" cy="1894176"/>
          </a:xfrm>
          <a:prstGeom prst="straightConnector1">
            <a:avLst/>
          </a:prstGeom>
          <a:noFill/>
          <a:ln w="9525" cap="flat" cmpd="sng" algn="ctr">
            <a:solidFill>
              <a:srgbClr val="0078D7"/>
            </a:solidFill>
            <a:prstDash val="dash"/>
            <a:headEnd type="none"/>
            <a:tailEnd type="triangle"/>
          </a:ln>
          <a:effectLst/>
        </p:spPr>
      </p:cxnSp>
      <p:sp>
        <p:nvSpPr>
          <p:cNvPr id="85" name="TextBox 84">
            <a:extLst>
              <a:ext uri="{FF2B5EF4-FFF2-40B4-BE49-F238E27FC236}">
                <a16:creationId xmlns:a16="http://schemas.microsoft.com/office/drawing/2014/main" id="{241E9430-691F-4000-B9DE-0F2586CC171A}"/>
              </a:ext>
            </a:extLst>
          </p:cNvPr>
          <p:cNvSpPr txBox="1"/>
          <p:nvPr/>
        </p:nvSpPr>
        <p:spPr>
          <a:xfrm>
            <a:off x="7891947" y="2567983"/>
            <a:ext cx="890241" cy="461665"/>
          </a:xfrm>
          <a:prstGeom prst="rect">
            <a:avLst/>
          </a:prstGeom>
          <a:noFill/>
        </p:spPr>
        <p:txBody>
          <a:bodyPr wrap="square" lIns="182880" tIns="146304" rIns="182880" bIns="146304" rtlCol="0">
            <a:sp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DB1</a:t>
            </a:r>
          </a:p>
        </p:txBody>
      </p:sp>
      <p:sp>
        <p:nvSpPr>
          <p:cNvPr id="86" name="TextBox 85">
            <a:extLst>
              <a:ext uri="{FF2B5EF4-FFF2-40B4-BE49-F238E27FC236}">
                <a16:creationId xmlns:a16="http://schemas.microsoft.com/office/drawing/2014/main" id="{885F664D-1BFF-4F38-9236-685AA3D5E2A7}"/>
              </a:ext>
            </a:extLst>
          </p:cNvPr>
          <p:cNvSpPr txBox="1"/>
          <p:nvPr/>
        </p:nvSpPr>
        <p:spPr>
          <a:xfrm>
            <a:off x="6840587" y="3504985"/>
            <a:ext cx="1164117" cy="461665"/>
          </a:xfrm>
          <a:prstGeom prst="rect">
            <a:avLst/>
          </a:prstGeom>
          <a:noFill/>
        </p:spPr>
        <p:txBody>
          <a:bodyPr wrap="square" lIns="182880" tIns="146304" rIns="182880" bIns="146304" rtlCol="0">
            <a:sp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78D7"/>
                </a:solidFill>
                <a:effectLst/>
                <a:uLnTx/>
                <a:uFillTx/>
              </a:rPr>
              <a:t>DB1_GUID</a:t>
            </a:r>
          </a:p>
        </p:txBody>
      </p:sp>
    </p:spTree>
    <p:extLst>
      <p:ext uri="{BB962C8B-B14F-4D97-AF65-F5344CB8AC3E}">
        <p14:creationId xmlns:p14="http://schemas.microsoft.com/office/powerpoint/2010/main" val="634441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500"/>
                                        <p:tgtEl>
                                          <p:spTgt spid="77"/>
                                        </p:tgtEl>
                                      </p:cBhvr>
                                    </p:animEffect>
                                  </p:childTnLst>
                                </p:cTn>
                              </p:par>
                              <p:par>
                                <p:cTn id="8" presetID="8" presetClass="emph" presetSubtype="0" fill="hold" nodeType="withEffect">
                                  <p:stCondLst>
                                    <p:cond delay="0"/>
                                  </p:stCondLst>
                                  <p:childTnLst>
                                    <p:animRot by="21600000">
                                      <p:cBhvr>
                                        <p:cTn id="9" dur="1000" fill="hold"/>
                                        <p:tgtEl>
                                          <p:spTgt spid="71"/>
                                        </p:tgtEl>
                                        <p:attrNameLst>
                                          <p:attrName>r</p:attrName>
                                        </p:attrNameLst>
                                      </p:cBhvr>
                                    </p:animRot>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000"/>
                                        <p:tgtEl>
                                          <p:spTgt spid="6"/>
                                        </p:tgtEl>
                                      </p:cBhvr>
                                    </p:animEffect>
                                    <p:anim calcmode="lin" valueType="num">
                                      <p:cBhvr>
                                        <p:cTn id="16" dur="1000" fill="hold"/>
                                        <p:tgtEl>
                                          <p:spTgt spid="6"/>
                                        </p:tgtEl>
                                        <p:attrNameLst>
                                          <p:attrName>ppt_x</p:attrName>
                                        </p:attrNameLst>
                                      </p:cBhvr>
                                      <p:tavLst>
                                        <p:tav tm="0">
                                          <p:val>
                                            <p:strVal val="#ppt_x"/>
                                          </p:val>
                                        </p:tav>
                                        <p:tav tm="100000">
                                          <p:val>
                                            <p:strVal val="#ppt_x"/>
                                          </p:val>
                                        </p:tav>
                                      </p:tavLst>
                                    </p:anim>
                                    <p:anim calcmode="lin" valueType="num">
                                      <p:cBhvr>
                                        <p:cTn id="17" dur="10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85"/>
                                        </p:tgtEl>
                                        <p:attrNameLst>
                                          <p:attrName>style.visibility</p:attrName>
                                        </p:attrNameLst>
                                      </p:cBhvr>
                                      <p:to>
                                        <p:strVal val="visible"/>
                                      </p:to>
                                    </p:set>
                                    <p:animEffect transition="in" filter="fade">
                                      <p:cBhvr>
                                        <p:cTn id="20" dur="1000"/>
                                        <p:tgtEl>
                                          <p:spTgt spid="85"/>
                                        </p:tgtEl>
                                      </p:cBhvr>
                                    </p:animEffect>
                                    <p:anim calcmode="lin" valueType="num">
                                      <p:cBhvr>
                                        <p:cTn id="21" dur="1000" fill="hold"/>
                                        <p:tgtEl>
                                          <p:spTgt spid="85"/>
                                        </p:tgtEl>
                                        <p:attrNameLst>
                                          <p:attrName>ppt_x</p:attrName>
                                        </p:attrNameLst>
                                      </p:cBhvr>
                                      <p:tavLst>
                                        <p:tav tm="0">
                                          <p:val>
                                            <p:strVal val="#ppt_x"/>
                                          </p:val>
                                        </p:tav>
                                        <p:tav tm="100000">
                                          <p:val>
                                            <p:strVal val="#ppt_x"/>
                                          </p:val>
                                        </p:tav>
                                      </p:tavLst>
                                    </p:anim>
                                    <p:anim calcmode="lin" valueType="num">
                                      <p:cBhvr>
                                        <p:cTn id="22" dur="1000" fill="hold"/>
                                        <p:tgtEl>
                                          <p:spTgt spid="85"/>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1000"/>
                                        <p:tgtEl>
                                          <p:spTgt spid="10"/>
                                        </p:tgtEl>
                                      </p:cBhvr>
                                    </p:animEffect>
                                    <p:anim calcmode="lin" valueType="num">
                                      <p:cBhvr>
                                        <p:cTn id="28" dur="1000" fill="hold"/>
                                        <p:tgtEl>
                                          <p:spTgt spid="10"/>
                                        </p:tgtEl>
                                        <p:attrNameLst>
                                          <p:attrName>ppt_x</p:attrName>
                                        </p:attrNameLst>
                                      </p:cBhvr>
                                      <p:tavLst>
                                        <p:tav tm="0">
                                          <p:val>
                                            <p:strVal val="#ppt_x"/>
                                          </p:val>
                                        </p:tav>
                                        <p:tav tm="100000">
                                          <p:val>
                                            <p:strVal val="#ppt_x"/>
                                          </p:val>
                                        </p:tav>
                                      </p:tavLst>
                                    </p:anim>
                                    <p:anim calcmode="lin" valueType="num">
                                      <p:cBhvr>
                                        <p:cTn id="29" dur="1000" fill="hold"/>
                                        <p:tgtEl>
                                          <p:spTgt spid="10"/>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1000"/>
                                        <p:tgtEl>
                                          <p:spTgt spid="83"/>
                                        </p:tgtEl>
                                      </p:cBhvr>
                                    </p:animEffect>
                                    <p:anim calcmode="lin" valueType="num">
                                      <p:cBhvr>
                                        <p:cTn id="33" dur="1000" fill="hold"/>
                                        <p:tgtEl>
                                          <p:spTgt spid="83"/>
                                        </p:tgtEl>
                                        <p:attrNameLst>
                                          <p:attrName>ppt_x</p:attrName>
                                        </p:attrNameLst>
                                      </p:cBhvr>
                                      <p:tavLst>
                                        <p:tav tm="0">
                                          <p:val>
                                            <p:strVal val="#ppt_x"/>
                                          </p:val>
                                        </p:tav>
                                        <p:tav tm="100000">
                                          <p:val>
                                            <p:strVal val="#ppt_x"/>
                                          </p:val>
                                        </p:tav>
                                      </p:tavLst>
                                    </p:anim>
                                    <p:anim calcmode="lin" valueType="num">
                                      <p:cBhvr>
                                        <p:cTn id="34" dur="1000" fill="hold"/>
                                        <p:tgtEl>
                                          <p:spTgt spid="83"/>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80"/>
                                        </p:tgtEl>
                                        <p:attrNameLst>
                                          <p:attrName>style.visibility</p:attrName>
                                        </p:attrNameLst>
                                      </p:cBhvr>
                                      <p:to>
                                        <p:strVal val="visible"/>
                                      </p:to>
                                    </p:set>
                                    <p:animEffect transition="in" filter="fade">
                                      <p:cBhvr>
                                        <p:cTn id="37" dur="1000"/>
                                        <p:tgtEl>
                                          <p:spTgt spid="80"/>
                                        </p:tgtEl>
                                      </p:cBhvr>
                                    </p:animEffect>
                                    <p:anim calcmode="lin" valueType="num">
                                      <p:cBhvr>
                                        <p:cTn id="38" dur="1000" fill="hold"/>
                                        <p:tgtEl>
                                          <p:spTgt spid="80"/>
                                        </p:tgtEl>
                                        <p:attrNameLst>
                                          <p:attrName>ppt_x</p:attrName>
                                        </p:attrNameLst>
                                      </p:cBhvr>
                                      <p:tavLst>
                                        <p:tav tm="0">
                                          <p:val>
                                            <p:strVal val="#ppt_x"/>
                                          </p:val>
                                        </p:tav>
                                        <p:tav tm="100000">
                                          <p:val>
                                            <p:strVal val="#ppt_x"/>
                                          </p:val>
                                        </p:tav>
                                      </p:tavLst>
                                    </p:anim>
                                    <p:anim calcmode="lin" valueType="num">
                                      <p:cBhvr>
                                        <p:cTn id="39" dur="1000" fill="hold"/>
                                        <p:tgtEl>
                                          <p:spTgt spid="80"/>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1000"/>
                                        <p:tgtEl>
                                          <p:spTgt spid="9"/>
                                        </p:tgtEl>
                                      </p:cBhvr>
                                    </p:animEffect>
                                    <p:anim calcmode="lin" valueType="num">
                                      <p:cBhvr>
                                        <p:cTn id="43" dur="1000" fill="hold"/>
                                        <p:tgtEl>
                                          <p:spTgt spid="9"/>
                                        </p:tgtEl>
                                        <p:attrNameLst>
                                          <p:attrName>ppt_x</p:attrName>
                                        </p:attrNameLst>
                                      </p:cBhvr>
                                      <p:tavLst>
                                        <p:tav tm="0">
                                          <p:val>
                                            <p:strVal val="#ppt_x"/>
                                          </p:val>
                                        </p:tav>
                                        <p:tav tm="100000">
                                          <p:val>
                                            <p:strVal val="#ppt_x"/>
                                          </p:val>
                                        </p:tav>
                                      </p:tavLst>
                                    </p:anim>
                                    <p:anim calcmode="lin" valueType="num">
                                      <p:cBhvr>
                                        <p:cTn id="44" dur="1000" fill="hold"/>
                                        <p:tgtEl>
                                          <p:spTgt spid="9"/>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84"/>
                                        </p:tgtEl>
                                        <p:attrNameLst>
                                          <p:attrName>style.visibility</p:attrName>
                                        </p:attrNameLst>
                                      </p:cBhvr>
                                      <p:to>
                                        <p:strVal val="visible"/>
                                      </p:to>
                                    </p:set>
                                    <p:animEffect transition="in" filter="fade">
                                      <p:cBhvr>
                                        <p:cTn id="47" dur="1000"/>
                                        <p:tgtEl>
                                          <p:spTgt spid="84"/>
                                        </p:tgtEl>
                                      </p:cBhvr>
                                    </p:animEffect>
                                    <p:anim calcmode="lin" valueType="num">
                                      <p:cBhvr>
                                        <p:cTn id="48" dur="1000" fill="hold"/>
                                        <p:tgtEl>
                                          <p:spTgt spid="84"/>
                                        </p:tgtEl>
                                        <p:attrNameLst>
                                          <p:attrName>ppt_x</p:attrName>
                                        </p:attrNameLst>
                                      </p:cBhvr>
                                      <p:tavLst>
                                        <p:tav tm="0">
                                          <p:val>
                                            <p:strVal val="#ppt_x"/>
                                          </p:val>
                                        </p:tav>
                                        <p:tav tm="100000">
                                          <p:val>
                                            <p:strVal val="#ppt_x"/>
                                          </p:val>
                                        </p:tav>
                                      </p:tavLst>
                                    </p:anim>
                                    <p:anim calcmode="lin" valueType="num">
                                      <p:cBhvr>
                                        <p:cTn id="49" dur="1000" fill="hold"/>
                                        <p:tgtEl>
                                          <p:spTgt spid="84"/>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1000"/>
                                        <p:tgtEl>
                                          <p:spTgt spid="79"/>
                                        </p:tgtEl>
                                      </p:cBhvr>
                                    </p:animEffect>
                                    <p:anim calcmode="lin" valueType="num">
                                      <p:cBhvr>
                                        <p:cTn id="53" dur="1000" fill="hold"/>
                                        <p:tgtEl>
                                          <p:spTgt spid="79"/>
                                        </p:tgtEl>
                                        <p:attrNameLst>
                                          <p:attrName>ppt_x</p:attrName>
                                        </p:attrNameLst>
                                      </p:cBhvr>
                                      <p:tavLst>
                                        <p:tav tm="0">
                                          <p:val>
                                            <p:strVal val="#ppt_x"/>
                                          </p:val>
                                        </p:tav>
                                        <p:tav tm="100000">
                                          <p:val>
                                            <p:strVal val="#ppt_x"/>
                                          </p:val>
                                        </p:tav>
                                      </p:tavLst>
                                    </p:anim>
                                    <p:anim calcmode="lin" valueType="num">
                                      <p:cBhvr>
                                        <p:cTn id="54"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nodeType="clickEffect">
                                  <p:stCondLst>
                                    <p:cond delay="0"/>
                                  </p:stCondLst>
                                  <p:childTnLst>
                                    <p:set>
                                      <p:cBhvr>
                                        <p:cTn id="58" dur="1" fill="hold">
                                          <p:stCondLst>
                                            <p:cond delay="0"/>
                                          </p:stCondLst>
                                        </p:cTn>
                                        <p:tgtEl>
                                          <p:spTgt spid="76"/>
                                        </p:tgtEl>
                                        <p:attrNameLst>
                                          <p:attrName>style.visibility</p:attrName>
                                        </p:attrNameLst>
                                      </p:cBhvr>
                                      <p:to>
                                        <p:strVal val="visible"/>
                                      </p:to>
                                    </p:set>
                                    <p:animEffect transition="in" filter="wipe(left)">
                                      <p:cBhvr>
                                        <p:cTn id="59" dur="500"/>
                                        <p:tgtEl>
                                          <p:spTgt spid="76"/>
                                        </p:tgtEl>
                                      </p:cBhvr>
                                    </p:animEffect>
                                  </p:childTnLst>
                                </p:cTn>
                              </p:par>
                              <p:par>
                                <p:cTn id="60" presetID="42" presetClass="entr" presetSubtype="0" fill="hold" grpId="0" nodeType="withEffect">
                                  <p:stCondLst>
                                    <p:cond delay="0"/>
                                  </p:stCondLst>
                                  <p:childTnLst>
                                    <p:set>
                                      <p:cBhvr>
                                        <p:cTn id="61" dur="1" fill="hold">
                                          <p:stCondLst>
                                            <p:cond delay="0"/>
                                          </p:stCondLst>
                                        </p:cTn>
                                        <p:tgtEl>
                                          <p:spTgt spid="86"/>
                                        </p:tgtEl>
                                        <p:attrNameLst>
                                          <p:attrName>style.visibility</p:attrName>
                                        </p:attrNameLst>
                                      </p:cBhvr>
                                      <p:to>
                                        <p:strVal val="visible"/>
                                      </p:to>
                                    </p:set>
                                    <p:animEffect transition="in" filter="fade">
                                      <p:cBhvr>
                                        <p:cTn id="62" dur="1000"/>
                                        <p:tgtEl>
                                          <p:spTgt spid="86"/>
                                        </p:tgtEl>
                                      </p:cBhvr>
                                    </p:animEffect>
                                    <p:anim calcmode="lin" valueType="num">
                                      <p:cBhvr>
                                        <p:cTn id="63" dur="1000" fill="hold"/>
                                        <p:tgtEl>
                                          <p:spTgt spid="86"/>
                                        </p:tgtEl>
                                        <p:attrNameLst>
                                          <p:attrName>ppt_x</p:attrName>
                                        </p:attrNameLst>
                                      </p:cBhvr>
                                      <p:tavLst>
                                        <p:tav tm="0">
                                          <p:val>
                                            <p:strVal val="#ppt_x"/>
                                          </p:val>
                                        </p:tav>
                                        <p:tav tm="100000">
                                          <p:val>
                                            <p:strVal val="#ppt_x"/>
                                          </p:val>
                                        </p:tav>
                                      </p:tavLst>
                                    </p:anim>
                                    <p:anim calcmode="lin" valueType="num">
                                      <p:cBhvr>
                                        <p:cTn id="64" dur="1000" fill="hold"/>
                                        <p:tgtEl>
                                          <p:spTgt spid="86"/>
                                        </p:tgtEl>
                                        <p:attrNameLst>
                                          <p:attrName>ppt_y</p:attrName>
                                        </p:attrNameLst>
                                      </p:cBhvr>
                                      <p:tavLst>
                                        <p:tav tm="0">
                                          <p:val>
                                            <p:strVal val="#ppt_y+.1"/>
                                          </p:val>
                                        </p:tav>
                                        <p:tav tm="100000">
                                          <p:val>
                                            <p:strVal val="#ppt_y"/>
                                          </p:val>
                                        </p:tav>
                                      </p:tavLst>
                                    </p:anim>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43" grpId="0" animBg="1"/>
      <p:bldP spid="79" grpId="0"/>
      <p:bldP spid="85" grpId="0"/>
      <p:bldP spid="86"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64662-7A48-4243-8DD0-F3BC7494DF84}"/>
              </a:ext>
            </a:extLst>
          </p:cNvPr>
          <p:cNvSpPr>
            <a:spLocks noGrp="1"/>
          </p:cNvSpPr>
          <p:nvPr>
            <p:ph type="title"/>
          </p:nvPr>
        </p:nvSpPr>
        <p:spPr>
          <a:xfrm>
            <a:off x="655638" y="320040"/>
            <a:ext cx="10880725" cy="923330"/>
          </a:xfrm>
        </p:spPr>
        <p:txBody>
          <a:bodyPr/>
          <a:lstStyle/>
          <a:p>
            <a:r>
              <a:rPr lang="en-US" dirty="0"/>
              <a:t>Recover an Azure SQL database by using automated database backups</a:t>
            </a:r>
          </a:p>
        </p:txBody>
      </p:sp>
      <p:graphicFrame>
        <p:nvGraphicFramePr>
          <p:cNvPr id="6" name="Content Placeholder 5">
            <a:extLst>
              <a:ext uri="{FF2B5EF4-FFF2-40B4-BE49-F238E27FC236}">
                <a16:creationId xmlns:a16="http://schemas.microsoft.com/office/drawing/2014/main" id="{7504E345-8A22-4FAF-B750-E90E175EF302}"/>
              </a:ext>
            </a:extLst>
          </p:cNvPr>
          <p:cNvGraphicFramePr>
            <a:graphicFrameLocks noGrp="1"/>
          </p:cNvGraphicFramePr>
          <p:nvPr>
            <p:ph sz="quarter" idx="13"/>
            <p:extLst>
              <p:ext uri="{D42A27DB-BD31-4B8C-83A1-F6EECF244321}">
                <p14:modId xmlns:p14="http://schemas.microsoft.com/office/powerpoint/2010/main" val="174766765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30268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64662-7A48-4243-8DD0-F3BC7494DF84}"/>
              </a:ext>
            </a:extLst>
          </p:cNvPr>
          <p:cNvSpPr>
            <a:spLocks noGrp="1"/>
          </p:cNvSpPr>
          <p:nvPr>
            <p:ph type="title"/>
          </p:nvPr>
        </p:nvSpPr>
        <p:spPr/>
        <p:txBody>
          <a:bodyPr/>
          <a:lstStyle/>
          <a:p>
            <a:r>
              <a:rPr lang="en-US" dirty="0"/>
              <a:t>Restore Deleted Database</a:t>
            </a:r>
          </a:p>
        </p:txBody>
      </p:sp>
      <p:grpSp>
        <p:nvGrpSpPr>
          <p:cNvPr id="4" name="Group 3">
            <a:extLst>
              <a:ext uri="{FF2B5EF4-FFF2-40B4-BE49-F238E27FC236}">
                <a16:creationId xmlns:a16="http://schemas.microsoft.com/office/drawing/2014/main" id="{465C25D9-48D0-4DCE-9AE6-533146F1101A}"/>
              </a:ext>
            </a:extLst>
          </p:cNvPr>
          <p:cNvGrpSpPr/>
          <p:nvPr/>
        </p:nvGrpSpPr>
        <p:grpSpPr>
          <a:xfrm>
            <a:off x="7436901" y="2631404"/>
            <a:ext cx="3175798" cy="801456"/>
            <a:chOff x="550247" y="4875607"/>
            <a:chExt cx="3218853" cy="785813"/>
          </a:xfrm>
        </p:grpSpPr>
        <p:grpSp>
          <p:nvGrpSpPr>
            <p:cNvPr id="5" name="Group 4">
              <a:extLst>
                <a:ext uri="{FF2B5EF4-FFF2-40B4-BE49-F238E27FC236}">
                  <a16:creationId xmlns:a16="http://schemas.microsoft.com/office/drawing/2014/main" id="{EAC34684-9031-4FAF-AF9E-234AD2B09444}"/>
                </a:ext>
              </a:extLst>
            </p:cNvPr>
            <p:cNvGrpSpPr/>
            <p:nvPr/>
          </p:nvGrpSpPr>
          <p:grpSpPr>
            <a:xfrm>
              <a:off x="3129020" y="5028007"/>
              <a:ext cx="640080" cy="481013"/>
              <a:chOff x="1843088" y="4511677"/>
              <a:chExt cx="703263" cy="481013"/>
            </a:xfrm>
          </p:grpSpPr>
          <p:sp>
            <p:nvSpPr>
              <p:cNvPr id="18" name="Freeform 47">
                <a:extLst>
                  <a:ext uri="{FF2B5EF4-FFF2-40B4-BE49-F238E27FC236}">
                    <a16:creationId xmlns:a16="http://schemas.microsoft.com/office/drawing/2014/main" id="{BF8B6FC7-20A1-486E-8510-C97600F4965E}"/>
                  </a:ext>
                </a:extLst>
              </p:cNvPr>
              <p:cNvSpPr>
                <a:spLocks/>
              </p:cNvSpPr>
              <p:nvPr/>
            </p:nvSpPr>
            <p:spPr bwMode="auto">
              <a:xfrm>
                <a:off x="1843088" y="4511677"/>
                <a:ext cx="677863" cy="481013"/>
              </a:xfrm>
              <a:custGeom>
                <a:avLst/>
                <a:gdLst>
                  <a:gd name="T0" fmla="*/ 7 w 183"/>
                  <a:gd name="T1" fmla="*/ 129 h 130"/>
                  <a:gd name="T2" fmla="*/ 13 w 183"/>
                  <a:gd name="T3" fmla="*/ 31 h 130"/>
                  <a:gd name="T4" fmla="*/ 22 w 183"/>
                  <a:gd name="T5" fmla="*/ 24 h 130"/>
                  <a:gd name="T6" fmla="*/ 183 w 183"/>
                  <a:gd name="T7" fmla="*/ 35 h 130"/>
                  <a:gd name="T8" fmla="*/ 183 w 183"/>
                  <a:gd name="T9" fmla="*/ 25 h 130"/>
                  <a:gd name="T10" fmla="*/ 179 w 183"/>
                  <a:gd name="T11" fmla="*/ 17 h 130"/>
                  <a:gd name="T12" fmla="*/ 174 w 183"/>
                  <a:gd name="T13" fmla="*/ 9 h 130"/>
                  <a:gd name="T14" fmla="*/ 174 w 183"/>
                  <a:gd name="T15" fmla="*/ 8 h 130"/>
                  <a:gd name="T16" fmla="*/ 166 w 183"/>
                  <a:gd name="T17" fmla="*/ 0 h 130"/>
                  <a:gd name="T18" fmla="*/ 98 w 183"/>
                  <a:gd name="T19" fmla="*/ 0 h 130"/>
                  <a:gd name="T20" fmla="*/ 90 w 183"/>
                  <a:gd name="T21" fmla="*/ 8 h 130"/>
                  <a:gd name="T22" fmla="*/ 90 w 183"/>
                  <a:gd name="T23" fmla="*/ 9 h 130"/>
                  <a:gd name="T24" fmla="*/ 82 w 183"/>
                  <a:gd name="T25" fmla="*/ 17 h 130"/>
                  <a:gd name="T26" fmla="*/ 8 w 183"/>
                  <a:gd name="T27" fmla="*/ 17 h 130"/>
                  <a:gd name="T28" fmla="*/ 0 w 183"/>
                  <a:gd name="T29" fmla="*/ 25 h 130"/>
                  <a:gd name="T30" fmla="*/ 0 w 183"/>
                  <a:gd name="T31" fmla="*/ 122 h 130"/>
                  <a:gd name="T32" fmla="*/ 7 w 183"/>
                  <a:gd name="T33" fmla="*/ 130 h 130"/>
                  <a:gd name="T34" fmla="*/ 7 w 183"/>
                  <a:gd name="T35" fmla="*/ 12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3" h="130">
                    <a:moveTo>
                      <a:pt x="7" y="129"/>
                    </a:moveTo>
                    <a:cubicBezTo>
                      <a:pt x="13" y="31"/>
                      <a:pt x="13" y="31"/>
                      <a:pt x="13" y="31"/>
                    </a:cubicBezTo>
                    <a:cubicBezTo>
                      <a:pt x="14" y="27"/>
                      <a:pt x="17" y="24"/>
                      <a:pt x="22" y="24"/>
                    </a:cubicBezTo>
                    <a:cubicBezTo>
                      <a:pt x="183" y="35"/>
                      <a:pt x="183" y="35"/>
                      <a:pt x="183" y="35"/>
                    </a:cubicBezTo>
                    <a:cubicBezTo>
                      <a:pt x="183" y="25"/>
                      <a:pt x="183" y="25"/>
                      <a:pt x="183" y="25"/>
                    </a:cubicBezTo>
                    <a:cubicBezTo>
                      <a:pt x="183" y="21"/>
                      <a:pt x="181" y="17"/>
                      <a:pt x="179" y="17"/>
                    </a:cubicBezTo>
                    <a:cubicBezTo>
                      <a:pt x="176" y="17"/>
                      <a:pt x="174" y="13"/>
                      <a:pt x="174" y="9"/>
                    </a:cubicBezTo>
                    <a:cubicBezTo>
                      <a:pt x="174" y="8"/>
                      <a:pt x="174" y="8"/>
                      <a:pt x="174" y="8"/>
                    </a:cubicBezTo>
                    <a:cubicBezTo>
                      <a:pt x="174" y="3"/>
                      <a:pt x="171" y="0"/>
                      <a:pt x="166" y="0"/>
                    </a:cubicBezTo>
                    <a:cubicBezTo>
                      <a:pt x="98" y="0"/>
                      <a:pt x="98" y="0"/>
                      <a:pt x="98" y="0"/>
                    </a:cubicBezTo>
                    <a:cubicBezTo>
                      <a:pt x="94" y="0"/>
                      <a:pt x="90" y="3"/>
                      <a:pt x="90" y="8"/>
                    </a:cubicBezTo>
                    <a:cubicBezTo>
                      <a:pt x="90" y="9"/>
                      <a:pt x="90" y="9"/>
                      <a:pt x="90" y="9"/>
                    </a:cubicBezTo>
                    <a:cubicBezTo>
                      <a:pt x="90" y="13"/>
                      <a:pt x="87" y="17"/>
                      <a:pt x="82" y="17"/>
                    </a:cubicBezTo>
                    <a:cubicBezTo>
                      <a:pt x="8" y="17"/>
                      <a:pt x="8" y="17"/>
                      <a:pt x="8" y="17"/>
                    </a:cubicBezTo>
                    <a:cubicBezTo>
                      <a:pt x="3" y="17"/>
                      <a:pt x="0" y="21"/>
                      <a:pt x="0" y="25"/>
                    </a:cubicBezTo>
                    <a:cubicBezTo>
                      <a:pt x="0" y="122"/>
                      <a:pt x="0" y="122"/>
                      <a:pt x="0" y="122"/>
                    </a:cubicBezTo>
                    <a:cubicBezTo>
                      <a:pt x="0" y="126"/>
                      <a:pt x="3" y="130"/>
                      <a:pt x="7" y="130"/>
                    </a:cubicBezTo>
                    <a:cubicBezTo>
                      <a:pt x="7" y="130"/>
                      <a:pt x="7" y="129"/>
                      <a:pt x="7" y="129"/>
                    </a:cubicBezTo>
                    <a:close/>
                  </a:path>
                </a:pathLst>
              </a:custGeom>
              <a:solidFill>
                <a:srgbClr val="A9DE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9" name="Freeform 48">
                <a:extLst>
                  <a:ext uri="{FF2B5EF4-FFF2-40B4-BE49-F238E27FC236}">
                    <a16:creationId xmlns:a16="http://schemas.microsoft.com/office/drawing/2014/main" id="{880F68B9-54B1-47FB-BF67-958577FAC8AC}"/>
                  </a:ext>
                </a:extLst>
              </p:cNvPr>
              <p:cNvSpPr>
                <a:spLocks/>
              </p:cNvSpPr>
              <p:nvPr/>
            </p:nvSpPr>
            <p:spPr bwMode="auto">
              <a:xfrm>
                <a:off x="1887538" y="4614865"/>
                <a:ext cx="658813" cy="377825"/>
              </a:xfrm>
              <a:custGeom>
                <a:avLst/>
                <a:gdLst>
                  <a:gd name="T0" fmla="*/ 166 w 178"/>
                  <a:gd name="T1" fmla="*/ 102 h 102"/>
                  <a:gd name="T2" fmla="*/ 0 w 178"/>
                  <a:gd name="T3" fmla="*/ 102 h 102"/>
                  <a:gd name="T4" fmla="*/ 7 w 178"/>
                  <a:gd name="T5" fmla="*/ 5 h 102"/>
                  <a:gd name="T6" fmla="*/ 13 w 178"/>
                  <a:gd name="T7" fmla="*/ 0 h 102"/>
                  <a:gd name="T8" fmla="*/ 13 w 178"/>
                  <a:gd name="T9" fmla="*/ 0 h 102"/>
                  <a:gd name="T10" fmla="*/ 174 w 178"/>
                  <a:gd name="T11" fmla="*/ 11 h 102"/>
                  <a:gd name="T12" fmla="*/ 178 w 178"/>
                  <a:gd name="T13" fmla="*/ 17 h 102"/>
                  <a:gd name="T14" fmla="*/ 172 w 178"/>
                  <a:gd name="T15" fmla="*/ 96 h 102"/>
                  <a:gd name="T16" fmla="*/ 172 w 178"/>
                  <a:gd name="T17" fmla="*/ 96 h 102"/>
                  <a:gd name="T18" fmla="*/ 172 w 178"/>
                  <a:gd name="T19" fmla="*/ 96 h 102"/>
                  <a:gd name="T20" fmla="*/ 166 w 178"/>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102">
                    <a:moveTo>
                      <a:pt x="166" y="102"/>
                    </a:moveTo>
                    <a:cubicBezTo>
                      <a:pt x="0" y="102"/>
                      <a:pt x="0" y="102"/>
                      <a:pt x="0" y="102"/>
                    </a:cubicBezTo>
                    <a:cubicBezTo>
                      <a:pt x="7" y="5"/>
                      <a:pt x="7" y="5"/>
                      <a:pt x="7" y="5"/>
                    </a:cubicBezTo>
                    <a:cubicBezTo>
                      <a:pt x="7" y="2"/>
                      <a:pt x="10" y="0"/>
                      <a:pt x="13" y="0"/>
                    </a:cubicBezTo>
                    <a:cubicBezTo>
                      <a:pt x="13" y="0"/>
                      <a:pt x="13" y="0"/>
                      <a:pt x="13" y="0"/>
                    </a:cubicBezTo>
                    <a:cubicBezTo>
                      <a:pt x="174" y="11"/>
                      <a:pt x="174" y="11"/>
                      <a:pt x="174" y="11"/>
                    </a:cubicBezTo>
                    <a:cubicBezTo>
                      <a:pt x="176" y="12"/>
                      <a:pt x="178" y="14"/>
                      <a:pt x="178" y="17"/>
                    </a:cubicBezTo>
                    <a:cubicBezTo>
                      <a:pt x="172" y="96"/>
                      <a:pt x="172" y="96"/>
                      <a:pt x="172" y="96"/>
                    </a:cubicBezTo>
                    <a:cubicBezTo>
                      <a:pt x="172" y="96"/>
                      <a:pt x="172" y="96"/>
                      <a:pt x="172" y="96"/>
                    </a:cubicBezTo>
                    <a:cubicBezTo>
                      <a:pt x="172" y="96"/>
                      <a:pt x="172" y="96"/>
                      <a:pt x="172" y="96"/>
                    </a:cubicBezTo>
                    <a:cubicBezTo>
                      <a:pt x="172" y="99"/>
                      <a:pt x="170" y="102"/>
                      <a:pt x="166" y="102"/>
                    </a:cubicBezTo>
                    <a:close/>
                  </a:path>
                </a:pathLst>
              </a:custGeom>
              <a:solidFill>
                <a:srgbClr val="A9DE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nvGrpSpPr>
            <p:cNvPr id="6" name="Group 5">
              <a:extLst>
                <a:ext uri="{FF2B5EF4-FFF2-40B4-BE49-F238E27FC236}">
                  <a16:creationId xmlns:a16="http://schemas.microsoft.com/office/drawing/2014/main" id="{47470459-659D-44A7-A698-14D6F5322C46}"/>
                </a:ext>
              </a:extLst>
            </p:cNvPr>
            <p:cNvGrpSpPr/>
            <p:nvPr/>
          </p:nvGrpSpPr>
          <p:grpSpPr>
            <a:xfrm>
              <a:off x="2687323" y="4992288"/>
              <a:ext cx="731520" cy="552450"/>
              <a:chOff x="1589088" y="4659315"/>
              <a:chExt cx="798513" cy="552450"/>
            </a:xfrm>
          </p:grpSpPr>
          <p:sp>
            <p:nvSpPr>
              <p:cNvPr id="16" name="Freeform 49">
                <a:extLst>
                  <a:ext uri="{FF2B5EF4-FFF2-40B4-BE49-F238E27FC236}">
                    <a16:creationId xmlns:a16="http://schemas.microsoft.com/office/drawing/2014/main" id="{706516D6-F81B-478F-B259-D917AFFFFC4B}"/>
                  </a:ext>
                </a:extLst>
              </p:cNvPr>
              <p:cNvSpPr>
                <a:spLocks/>
              </p:cNvSpPr>
              <p:nvPr/>
            </p:nvSpPr>
            <p:spPr bwMode="auto">
              <a:xfrm>
                <a:off x="1589088" y="4659315"/>
                <a:ext cx="768350" cy="552450"/>
              </a:xfrm>
              <a:custGeom>
                <a:avLst/>
                <a:gdLst>
                  <a:gd name="T0" fmla="*/ 8 w 208"/>
                  <a:gd name="T1" fmla="*/ 147 h 149"/>
                  <a:gd name="T2" fmla="*/ 16 w 208"/>
                  <a:gd name="T3" fmla="*/ 36 h 149"/>
                  <a:gd name="T4" fmla="*/ 25 w 208"/>
                  <a:gd name="T5" fmla="*/ 28 h 149"/>
                  <a:gd name="T6" fmla="*/ 208 w 208"/>
                  <a:gd name="T7" fmla="*/ 41 h 149"/>
                  <a:gd name="T8" fmla="*/ 208 w 208"/>
                  <a:gd name="T9" fmla="*/ 29 h 149"/>
                  <a:gd name="T10" fmla="*/ 203 w 208"/>
                  <a:gd name="T11" fmla="*/ 20 h 149"/>
                  <a:gd name="T12" fmla="*/ 199 w 208"/>
                  <a:gd name="T13" fmla="*/ 11 h 149"/>
                  <a:gd name="T14" fmla="*/ 199 w 208"/>
                  <a:gd name="T15" fmla="*/ 9 h 149"/>
                  <a:gd name="T16" fmla="*/ 189 w 208"/>
                  <a:gd name="T17" fmla="*/ 0 h 149"/>
                  <a:gd name="T18" fmla="*/ 112 w 208"/>
                  <a:gd name="T19" fmla="*/ 0 h 149"/>
                  <a:gd name="T20" fmla="*/ 103 w 208"/>
                  <a:gd name="T21" fmla="*/ 9 h 149"/>
                  <a:gd name="T22" fmla="*/ 103 w 208"/>
                  <a:gd name="T23" fmla="*/ 11 h 149"/>
                  <a:gd name="T24" fmla="*/ 94 w 208"/>
                  <a:gd name="T25" fmla="*/ 20 h 149"/>
                  <a:gd name="T26" fmla="*/ 9 w 208"/>
                  <a:gd name="T27" fmla="*/ 20 h 149"/>
                  <a:gd name="T28" fmla="*/ 0 w 208"/>
                  <a:gd name="T29" fmla="*/ 29 h 149"/>
                  <a:gd name="T30" fmla="*/ 0 w 208"/>
                  <a:gd name="T31" fmla="*/ 140 h 149"/>
                  <a:gd name="T32" fmla="*/ 8 w 208"/>
                  <a:gd name="T33" fmla="*/ 149 h 149"/>
                  <a:gd name="T34" fmla="*/ 8 w 208"/>
                  <a:gd name="T35" fmla="*/ 14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49">
                    <a:moveTo>
                      <a:pt x="8" y="147"/>
                    </a:moveTo>
                    <a:cubicBezTo>
                      <a:pt x="16" y="36"/>
                      <a:pt x="16" y="36"/>
                      <a:pt x="16" y="36"/>
                    </a:cubicBezTo>
                    <a:cubicBezTo>
                      <a:pt x="16" y="31"/>
                      <a:pt x="20" y="28"/>
                      <a:pt x="25" y="28"/>
                    </a:cubicBezTo>
                    <a:cubicBezTo>
                      <a:pt x="208" y="41"/>
                      <a:pt x="208" y="41"/>
                      <a:pt x="208" y="41"/>
                    </a:cubicBezTo>
                    <a:cubicBezTo>
                      <a:pt x="208" y="29"/>
                      <a:pt x="208" y="29"/>
                      <a:pt x="208" y="29"/>
                    </a:cubicBezTo>
                    <a:cubicBezTo>
                      <a:pt x="208" y="24"/>
                      <a:pt x="206" y="20"/>
                      <a:pt x="203" y="20"/>
                    </a:cubicBezTo>
                    <a:cubicBezTo>
                      <a:pt x="201" y="20"/>
                      <a:pt x="199" y="16"/>
                      <a:pt x="199" y="11"/>
                    </a:cubicBezTo>
                    <a:cubicBezTo>
                      <a:pt x="199" y="9"/>
                      <a:pt x="199" y="9"/>
                      <a:pt x="199" y="9"/>
                    </a:cubicBezTo>
                    <a:cubicBezTo>
                      <a:pt x="199" y="4"/>
                      <a:pt x="194" y="0"/>
                      <a:pt x="189" y="0"/>
                    </a:cubicBezTo>
                    <a:cubicBezTo>
                      <a:pt x="112" y="0"/>
                      <a:pt x="112" y="0"/>
                      <a:pt x="112" y="0"/>
                    </a:cubicBezTo>
                    <a:cubicBezTo>
                      <a:pt x="107" y="0"/>
                      <a:pt x="103" y="4"/>
                      <a:pt x="103" y="9"/>
                    </a:cubicBezTo>
                    <a:cubicBezTo>
                      <a:pt x="103" y="11"/>
                      <a:pt x="103" y="11"/>
                      <a:pt x="103" y="11"/>
                    </a:cubicBezTo>
                    <a:cubicBezTo>
                      <a:pt x="103" y="16"/>
                      <a:pt x="99" y="20"/>
                      <a:pt x="94" y="20"/>
                    </a:cubicBezTo>
                    <a:cubicBezTo>
                      <a:pt x="9" y="20"/>
                      <a:pt x="9" y="20"/>
                      <a:pt x="9" y="20"/>
                    </a:cubicBezTo>
                    <a:cubicBezTo>
                      <a:pt x="4" y="20"/>
                      <a:pt x="0" y="24"/>
                      <a:pt x="0" y="29"/>
                    </a:cubicBezTo>
                    <a:cubicBezTo>
                      <a:pt x="0" y="140"/>
                      <a:pt x="0" y="140"/>
                      <a:pt x="0" y="140"/>
                    </a:cubicBezTo>
                    <a:cubicBezTo>
                      <a:pt x="0" y="144"/>
                      <a:pt x="4" y="148"/>
                      <a:pt x="8" y="149"/>
                    </a:cubicBezTo>
                    <a:cubicBezTo>
                      <a:pt x="8" y="148"/>
                      <a:pt x="8" y="148"/>
                      <a:pt x="8" y="147"/>
                    </a:cubicBezTo>
                    <a:close/>
                  </a:path>
                </a:pathLst>
              </a:custGeom>
              <a:solidFill>
                <a:srgbClr val="7ACFE2"/>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7" name="Freeform 50">
                <a:extLst>
                  <a:ext uri="{FF2B5EF4-FFF2-40B4-BE49-F238E27FC236}">
                    <a16:creationId xmlns:a16="http://schemas.microsoft.com/office/drawing/2014/main" id="{3A0FA751-CEFD-46B6-A5AE-2E8BE4C67F56}"/>
                  </a:ext>
                </a:extLst>
              </p:cNvPr>
              <p:cNvSpPr>
                <a:spLocks/>
              </p:cNvSpPr>
              <p:nvPr/>
            </p:nvSpPr>
            <p:spPr bwMode="auto">
              <a:xfrm>
                <a:off x="1639888" y="4778377"/>
                <a:ext cx="747713" cy="428625"/>
              </a:xfrm>
              <a:custGeom>
                <a:avLst/>
                <a:gdLst>
                  <a:gd name="T0" fmla="*/ 189 w 202"/>
                  <a:gd name="T1" fmla="*/ 116 h 116"/>
                  <a:gd name="T2" fmla="*/ 0 w 202"/>
                  <a:gd name="T3" fmla="*/ 116 h 116"/>
                  <a:gd name="T4" fmla="*/ 8 w 202"/>
                  <a:gd name="T5" fmla="*/ 6 h 116"/>
                  <a:gd name="T6" fmla="*/ 14 w 202"/>
                  <a:gd name="T7" fmla="*/ 0 h 116"/>
                  <a:gd name="T8" fmla="*/ 15 w 202"/>
                  <a:gd name="T9" fmla="*/ 0 h 116"/>
                  <a:gd name="T10" fmla="*/ 198 w 202"/>
                  <a:gd name="T11" fmla="*/ 13 h 116"/>
                  <a:gd name="T12" fmla="*/ 202 w 202"/>
                  <a:gd name="T13" fmla="*/ 19 h 116"/>
                  <a:gd name="T14" fmla="*/ 196 w 202"/>
                  <a:gd name="T15" fmla="*/ 109 h 116"/>
                  <a:gd name="T16" fmla="*/ 196 w 202"/>
                  <a:gd name="T17" fmla="*/ 110 h 116"/>
                  <a:gd name="T18" fmla="*/ 196 w 202"/>
                  <a:gd name="T19" fmla="*/ 110 h 116"/>
                  <a:gd name="T20" fmla="*/ 189 w 202"/>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116">
                    <a:moveTo>
                      <a:pt x="189" y="116"/>
                    </a:moveTo>
                    <a:cubicBezTo>
                      <a:pt x="0" y="116"/>
                      <a:pt x="0" y="116"/>
                      <a:pt x="0" y="116"/>
                    </a:cubicBezTo>
                    <a:cubicBezTo>
                      <a:pt x="8" y="6"/>
                      <a:pt x="8" y="6"/>
                      <a:pt x="8" y="6"/>
                    </a:cubicBezTo>
                    <a:cubicBezTo>
                      <a:pt x="8" y="3"/>
                      <a:pt x="11" y="0"/>
                      <a:pt x="14" y="0"/>
                    </a:cubicBezTo>
                    <a:cubicBezTo>
                      <a:pt x="15" y="0"/>
                      <a:pt x="15" y="0"/>
                      <a:pt x="15" y="0"/>
                    </a:cubicBezTo>
                    <a:cubicBezTo>
                      <a:pt x="198" y="13"/>
                      <a:pt x="198" y="13"/>
                      <a:pt x="198" y="13"/>
                    </a:cubicBezTo>
                    <a:cubicBezTo>
                      <a:pt x="200" y="14"/>
                      <a:pt x="202" y="17"/>
                      <a:pt x="202" y="19"/>
                    </a:cubicBezTo>
                    <a:cubicBezTo>
                      <a:pt x="196" y="109"/>
                      <a:pt x="196" y="109"/>
                      <a:pt x="196" y="109"/>
                    </a:cubicBezTo>
                    <a:cubicBezTo>
                      <a:pt x="196" y="110"/>
                      <a:pt x="196" y="110"/>
                      <a:pt x="196" y="110"/>
                    </a:cubicBezTo>
                    <a:cubicBezTo>
                      <a:pt x="196" y="110"/>
                      <a:pt x="196" y="110"/>
                      <a:pt x="196" y="110"/>
                    </a:cubicBezTo>
                    <a:cubicBezTo>
                      <a:pt x="196" y="113"/>
                      <a:pt x="193" y="116"/>
                      <a:pt x="189" y="116"/>
                    </a:cubicBezTo>
                    <a:close/>
                  </a:path>
                </a:pathLst>
              </a:custGeom>
              <a:solidFill>
                <a:srgbClr val="7ACFE2"/>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nvGrpSpPr>
            <p:cNvPr id="7" name="Group 6">
              <a:extLst>
                <a:ext uri="{FF2B5EF4-FFF2-40B4-BE49-F238E27FC236}">
                  <a16:creationId xmlns:a16="http://schemas.microsoft.com/office/drawing/2014/main" id="{9342A424-927B-496A-8333-C43E9AE1DDF6}"/>
                </a:ext>
              </a:extLst>
            </p:cNvPr>
            <p:cNvGrpSpPr/>
            <p:nvPr/>
          </p:nvGrpSpPr>
          <p:grpSpPr>
            <a:xfrm>
              <a:off x="2087570" y="4950219"/>
              <a:ext cx="925673" cy="636588"/>
              <a:chOff x="1270001" y="4818065"/>
              <a:chExt cx="981075" cy="674688"/>
            </a:xfrm>
          </p:grpSpPr>
          <p:sp>
            <p:nvSpPr>
              <p:cNvPr id="14" name="Freeform 51">
                <a:extLst>
                  <a:ext uri="{FF2B5EF4-FFF2-40B4-BE49-F238E27FC236}">
                    <a16:creationId xmlns:a16="http://schemas.microsoft.com/office/drawing/2014/main" id="{820D32EC-7D33-4EA5-B57D-3C2A9572FA12}"/>
                  </a:ext>
                </a:extLst>
              </p:cNvPr>
              <p:cNvSpPr>
                <a:spLocks/>
              </p:cNvSpPr>
              <p:nvPr/>
            </p:nvSpPr>
            <p:spPr bwMode="auto">
              <a:xfrm>
                <a:off x="1270001" y="4818065"/>
                <a:ext cx="942975" cy="674688"/>
              </a:xfrm>
              <a:custGeom>
                <a:avLst/>
                <a:gdLst>
                  <a:gd name="T0" fmla="*/ 9 w 255"/>
                  <a:gd name="T1" fmla="*/ 180 h 182"/>
                  <a:gd name="T2" fmla="*/ 18 w 255"/>
                  <a:gd name="T3" fmla="*/ 44 h 182"/>
                  <a:gd name="T4" fmla="*/ 30 w 255"/>
                  <a:gd name="T5" fmla="*/ 34 h 182"/>
                  <a:gd name="T6" fmla="*/ 255 w 255"/>
                  <a:gd name="T7" fmla="*/ 49 h 182"/>
                  <a:gd name="T8" fmla="*/ 255 w 255"/>
                  <a:gd name="T9" fmla="*/ 35 h 182"/>
                  <a:gd name="T10" fmla="*/ 249 w 255"/>
                  <a:gd name="T11" fmla="*/ 24 h 182"/>
                  <a:gd name="T12" fmla="*/ 243 w 255"/>
                  <a:gd name="T13" fmla="*/ 13 h 182"/>
                  <a:gd name="T14" fmla="*/ 243 w 255"/>
                  <a:gd name="T15" fmla="*/ 11 h 182"/>
                  <a:gd name="T16" fmla="*/ 232 w 255"/>
                  <a:gd name="T17" fmla="*/ 0 h 182"/>
                  <a:gd name="T18" fmla="*/ 137 w 255"/>
                  <a:gd name="T19" fmla="*/ 0 h 182"/>
                  <a:gd name="T20" fmla="*/ 126 w 255"/>
                  <a:gd name="T21" fmla="*/ 11 h 182"/>
                  <a:gd name="T22" fmla="*/ 126 w 255"/>
                  <a:gd name="T23" fmla="*/ 13 h 182"/>
                  <a:gd name="T24" fmla="*/ 115 w 255"/>
                  <a:gd name="T25" fmla="*/ 24 h 182"/>
                  <a:gd name="T26" fmla="*/ 11 w 255"/>
                  <a:gd name="T27" fmla="*/ 24 h 182"/>
                  <a:gd name="T28" fmla="*/ 0 w 255"/>
                  <a:gd name="T29" fmla="*/ 35 h 182"/>
                  <a:gd name="T30" fmla="*/ 0 w 255"/>
                  <a:gd name="T31" fmla="*/ 171 h 182"/>
                  <a:gd name="T32" fmla="*/ 9 w 255"/>
                  <a:gd name="T33" fmla="*/ 182 h 182"/>
                  <a:gd name="T34" fmla="*/ 9 w 255"/>
                  <a:gd name="T35" fmla="*/ 1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5" h="182">
                    <a:moveTo>
                      <a:pt x="9" y="180"/>
                    </a:moveTo>
                    <a:cubicBezTo>
                      <a:pt x="18" y="44"/>
                      <a:pt x="18" y="44"/>
                      <a:pt x="18" y="44"/>
                    </a:cubicBezTo>
                    <a:cubicBezTo>
                      <a:pt x="19" y="38"/>
                      <a:pt x="24" y="33"/>
                      <a:pt x="30" y="34"/>
                    </a:cubicBezTo>
                    <a:cubicBezTo>
                      <a:pt x="255" y="49"/>
                      <a:pt x="255" y="49"/>
                      <a:pt x="255" y="49"/>
                    </a:cubicBezTo>
                    <a:cubicBezTo>
                      <a:pt x="255" y="35"/>
                      <a:pt x="255" y="35"/>
                      <a:pt x="255" y="35"/>
                    </a:cubicBezTo>
                    <a:cubicBezTo>
                      <a:pt x="255" y="29"/>
                      <a:pt x="253" y="24"/>
                      <a:pt x="249" y="24"/>
                    </a:cubicBezTo>
                    <a:cubicBezTo>
                      <a:pt x="246" y="24"/>
                      <a:pt x="243" y="19"/>
                      <a:pt x="243" y="13"/>
                    </a:cubicBezTo>
                    <a:cubicBezTo>
                      <a:pt x="243" y="11"/>
                      <a:pt x="243" y="11"/>
                      <a:pt x="243" y="11"/>
                    </a:cubicBezTo>
                    <a:cubicBezTo>
                      <a:pt x="243" y="5"/>
                      <a:pt x="238" y="0"/>
                      <a:pt x="232" y="0"/>
                    </a:cubicBezTo>
                    <a:cubicBezTo>
                      <a:pt x="137" y="0"/>
                      <a:pt x="137" y="0"/>
                      <a:pt x="137" y="0"/>
                    </a:cubicBezTo>
                    <a:cubicBezTo>
                      <a:pt x="131" y="0"/>
                      <a:pt x="126" y="5"/>
                      <a:pt x="126" y="11"/>
                    </a:cubicBezTo>
                    <a:cubicBezTo>
                      <a:pt x="126" y="13"/>
                      <a:pt x="126" y="13"/>
                      <a:pt x="126" y="13"/>
                    </a:cubicBezTo>
                    <a:cubicBezTo>
                      <a:pt x="126" y="19"/>
                      <a:pt x="121" y="24"/>
                      <a:pt x="115" y="24"/>
                    </a:cubicBezTo>
                    <a:cubicBezTo>
                      <a:pt x="11" y="24"/>
                      <a:pt x="11" y="24"/>
                      <a:pt x="11" y="24"/>
                    </a:cubicBezTo>
                    <a:cubicBezTo>
                      <a:pt x="5" y="24"/>
                      <a:pt x="0" y="29"/>
                      <a:pt x="0" y="35"/>
                    </a:cubicBezTo>
                    <a:cubicBezTo>
                      <a:pt x="0" y="171"/>
                      <a:pt x="0" y="171"/>
                      <a:pt x="0" y="171"/>
                    </a:cubicBezTo>
                    <a:cubicBezTo>
                      <a:pt x="0" y="177"/>
                      <a:pt x="4" y="182"/>
                      <a:pt x="9" y="182"/>
                    </a:cubicBezTo>
                    <a:cubicBezTo>
                      <a:pt x="9" y="182"/>
                      <a:pt x="9" y="181"/>
                      <a:pt x="9" y="180"/>
                    </a:cubicBezTo>
                    <a:close/>
                  </a:path>
                </a:pathLst>
              </a:custGeom>
              <a:solidFill>
                <a:srgbClr val="5EC9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5" name="Freeform 52">
                <a:extLst>
                  <a:ext uri="{FF2B5EF4-FFF2-40B4-BE49-F238E27FC236}">
                    <a16:creationId xmlns:a16="http://schemas.microsoft.com/office/drawing/2014/main" id="{31C694CE-C111-4DA7-933C-29AA81AB2AC8}"/>
                  </a:ext>
                </a:extLst>
              </p:cNvPr>
              <p:cNvSpPr>
                <a:spLocks/>
              </p:cNvSpPr>
              <p:nvPr/>
            </p:nvSpPr>
            <p:spPr bwMode="auto">
              <a:xfrm>
                <a:off x="1333501" y="4962527"/>
                <a:ext cx="917575" cy="530225"/>
              </a:xfrm>
              <a:custGeom>
                <a:avLst/>
                <a:gdLst>
                  <a:gd name="T0" fmla="*/ 232 w 248"/>
                  <a:gd name="T1" fmla="*/ 143 h 143"/>
                  <a:gd name="T2" fmla="*/ 0 w 248"/>
                  <a:gd name="T3" fmla="*/ 143 h 143"/>
                  <a:gd name="T4" fmla="*/ 9 w 248"/>
                  <a:gd name="T5" fmla="*/ 8 h 143"/>
                  <a:gd name="T6" fmla="*/ 17 w 248"/>
                  <a:gd name="T7" fmla="*/ 0 h 143"/>
                  <a:gd name="T8" fmla="*/ 18 w 248"/>
                  <a:gd name="T9" fmla="*/ 0 h 143"/>
                  <a:gd name="T10" fmla="*/ 242 w 248"/>
                  <a:gd name="T11" fmla="*/ 15 h 143"/>
                  <a:gd name="T12" fmla="*/ 248 w 248"/>
                  <a:gd name="T13" fmla="*/ 24 h 143"/>
                  <a:gd name="T14" fmla="*/ 240 w 248"/>
                  <a:gd name="T15" fmla="*/ 134 h 143"/>
                  <a:gd name="T16" fmla="*/ 240 w 248"/>
                  <a:gd name="T17" fmla="*/ 134 h 143"/>
                  <a:gd name="T18" fmla="*/ 240 w 248"/>
                  <a:gd name="T19" fmla="*/ 135 h 143"/>
                  <a:gd name="T20" fmla="*/ 232 w 248"/>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3">
                    <a:moveTo>
                      <a:pt x="232" y="143"/>
                    </a:moveTo>
                    <a:cubicBezTo>
                      <a:pt x="0" y="143"/>
                      <a:pt x="0" y="143"/>
                      <a:pt x="0" y="143"/>
                    </a:cubicBezTo>
                    <a:cubicBezTo>
                      <a:pt x="9" y="8"/>
                      <a:pt x="9" y="8"/>
                      <a:pt x="9" y="8"/>
                    </a:cubicBezTo>
                    <a:cubicBezTo>
                      <a:pt x="9" y="3"/>
                      <a:pt x="13" y="0"/>
                      <a:pt x="17" y="0"/>
                    </a:cubicBezTo>
                    <a:cubicBezTo>
                      <a:pt x="18" y="0"/>
                      <a:pt x="18" y="0"/>
                      <a:pt x="18" y="0"/>
                    </a:cubicBezTo>
                    <a:cubicBezTo>
                      <a:pt x="242" y="15"/>
                      <a:pt x="242" y="15"/>
                      <a:pt x="242" y="15"/>
                    </a:cubicBezTo>
                    <a:cubicBezTo>
                      <a:pt x="246" y="17"/>
                      <a:pt x="248" y="20"/>
                      <a:pt x="248" y="24"/>
                    </a:cubicBezTo>
                    <a:cubicBezTo>
                      <a:pt x="240" y="134"/>
                      <a:pt x="240" y="134"/>
                      <a:pt x="240" y="134"/>
                    </a:cubicBezTo>
                    <a:cubicBezTo>
                      <a:pt x="240" y="134"/>
                      <a:pt x="240" y="134"/>
                      <a:pt x="240" y="134"/>
                    </a:cubicBezTo>
                    <a:cubicBezTo>
                      <a:pt x="240" y="135"/>
                      <a:pt x="240" y="135"/>
                      <a:pt x="240" y="135"/>
                    </a:cubicBezTo>
                    <a:cubicBezTo>
                      <a:pt x="240" y="139"/>
                      <a:pt x="236" y="143"/>
                      <a:pt x="232" y="143"/>
                    </a:cubicBezTo>
                    <a:close/>
                  </a:path>
                </a:pathLst>
              </a:custGeom>
              <a:solidFill>
                <a:srgbClr val="5EC9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nvGrpSpPr>
            <p:cNvPr id="8" name="Group 7">
              <a:extLst>
                <a:ext uri="{FF2B5EF4-FFF2-40B4-BE49-F238E27FC236}">
                  <a16:creationId xmlns:a16="http://schemas.microsoft.com/office/drawing/2014/main" id="{317F5E30-254D-4171-954D-88F29156DDAC}"/>
                </a:ext>
              </a:extLst>
            </p:cNvPr>
            <p:cNvGrpSpPr/>
            <p:nvPr/>
          </p:nvGrpSpPr>
          <p:grpSpPr>
            <a:xfrm>
              <a:off x="1359390" y="4903388"/>
              <a:ext cx="1054100" cy="730250"/>
              <a:chOff x="933451" y="5051427"/>
              <a:chExt cx="1054100" cy="730250"/>
            </a:xfrm>
          </p:grpSpPr>
          <p:sp>
            <p:nvSpPr>
              <p:cNvPr id="12" name="Freeform 53">
                <a:extLst>
                  <a:ext uri="{FF2B5EF4-FFF2-40B4-BE49-F238E27FC236}">
                    <a16:creationId xmlns:a16="http://schemas.microsoft.com/office/drawing/2014/main" id="{0D1A93F0-B27F-4F89-AB40-3F0A5EA51056}"/>
                  </a:ext>
                </a:extLst>
              </p:cNvPr>
              <p:cNvSpPr>
                <a:spLocks/>
              </p:cNvSpPr>
              <p:nvPr/>
            </p:nvSpPr>
            <p:spPr bwMode="auto">
              <a:xfrm>
                <a:off x="933451" y="5051427"/>
                <a:ext cx="1017588" cy="730250"/>
              </a:xfrm>
              <a:custGeom>
                <a:avLst/>
                <a:gdLst>
                  <a:gd name="T0" fmla="*/ 10 w 275"/>
                  <a:gd name="T1" fmla="*/ 194 h 197"/>
                  <a:gd name="T2" fmla="*/ 20 w 275"/>
                  <a:gd name="T3" fmla="*/ 48 h 197"/>
                  <a:gd name="T4" fmla="*/ 33 w 275"/>
                  <a:gd name="T5" fmla="*/ 37 h 197"/>
                  <a:gd name="T6" fmla="*/ 275 w 275"/>
                  <a:gd name="T7" fmla="*/ 54 h 197"/>
                  <a:gd name="T8" fmla="*/ 275 w 275"/>
                  <a:gd name="T9" fmla="*/ 39 h 197"/>
                  <a:gd name="T10" fmla="*/ 269 w 275"/>
                  <a:gd name="T11" fmla="*/ 27 h 197"/>
                  <a:gd name="T12" fmla="*/ 262 w 275"/>
                  <a:gd name="T13" fmla="*/ 14 h 197"/>
                  <a:gd name="T14" fmla="*/ 262 w 275"/>
                  <a:gd name="T15" fmla="*/ 12 h 197"/>
                  <a:gd name="T16" fmla="*/ 250 w 275"/>
                  <a:gd name="T17" fmla="*/ 0 h 197"/>
                  <a:gd name="T18" fmla="*/ 148 w 275"/>
                  <a:gd name="T19" fmla="*/ 0 h 197"/>
                  <a:gd name="T20" fmla="*/ 136 w 275"/>
                  <a:gd name="T21" fmla="*/ 12 h 197"/>
                  <a:gd name="T22" fmla="*/ 136 w 275"/>
                  <a:gd name="T23" fmla="*/ 14 h 197"/>
                  <a:gd name="T24" fmla="*/ 124 w 275"/>
                  <a:gd name="T25" fmla="*/ 27 h 197"/>
                  <a:gd name="T26" fmla="*/ 12 w 275"/>
                  <a:gd name="T27" fmla="*/ 27 h 197"/>
                  <a:gd name="T28" fmla="*/ 0 w 275"/>
                  <a:gd name="T29" fmla="*/ 39 h 197"/>
                  <a:gd name="T30" fmla="*/ 0 w 275"/>
                  <a:gd name="T31" fmla="*/ 185 h 197"/>
                  <a:gd name="T32" fmla="*/ 10 w 275"/>
                  <a:gd name="T33" fmla="*/ 197 h 197"/>
                  <a:gd name="T34" fmla="*/ 10 w 275"/>
                  <a:gd name="T35" fmla="*/ 19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 h="197">
                    <a:moveTo>
                      <a:pt x="10" y="194"/>
                    </a:moveTo>
                    <a:cubicBezTo>
                      <a:pt x="20" y="48"/>
                      <a:pt x="20" y="48"/>
                      <a:pt x="20" y="48"/>
                    </a:cubicBezTo>
                    <a:cubicBezTo>
                      <a:pt x="21" y="42"/>
                      <a:pt x="27" y="37"/>
                      <a:pt x="33" y="37"/>
                    </a:cubicBezTo>
                    <a:cubicBezTo>
                      <a:pt x="275" y="54"/>
                      <a:pt x="275" y="54"/>
                      <a:pt x="275" y="54"/>
                    </a:cubicBezTo>
                    <a:cubicBezTo>
                      <a:pt x="275" y="39"/>
                      <a:pt x="275" y="39"/>
                      <a:pt x="275" y="39"/>
                    </a:cubicBezTo>
                    <a:cubicBezTo>
                      <a:pt x="275" y="32"/>
                      <a:pt x="272" y="27"/>
                      <a:pt x="269" y="27"/>
                    </a:cubicBezTo>
                    <a:cubicBezTo>
                      <a:pt x="265" y="27"/>
                      <a:pt x="262" y="21"/>
                      <a:pt x="262" y="14"/>
                    </a:cubicBezTo>
                    <a:cubicBezTo>
                      <a:pt x="262" y="12"/>
                      <a:pt x="262" y="12"/>
                      <a:pt x="262" y="12"/>
                    </a:cubicBezTo>
                    <a:cubicBezTo>
                      <a:pt x="262" y="6"/>
                      <a:pt x="257" y="0"/>
                      <a:pt x="250" y="0"/>
                    </a:cubicBezTo>
                    <a:cubicBezTo>
                      <a:pt x="148" y="0"/>
                      <a:pt x="148" y="0"/>
                      <a:pt x="148" y="0"/>
                    </a:cubicBezTo>
                    <a:cubicBezTo>
                      <a:pt x="142" y="0"/>
                      <a:pt x="136" y="6"/>
                      <a:pt x="136" y="12"/>
                    </a:cubicBezTo>
                    <a:cubicBezTo>
                      <a:pt x="136" y="14"/>
                      <a:pt x="136" y="14"/>
                      <a:pt x="136" y="14"/>
                    </a:cubicBezTo>
                    <a:cubicBezTo>
                      <a:pt x="136" y="21"/>
                      <a:pt x="131" y="27"/>
                      <a:pt x="124" y="27"/>
                    </a:cubicBezTo>
                    <a:cubicBezTo>
                      <a:pt x="12" y="27"/>
                      <a:pt x="12" y="27"/>
                      <a:pt x="12" y="27"/>
                    </a:cubicBezTo>
                    <a:cubicBezTo>
                      <a:pt x="6" y="27"/>
                      <a:pt x="0" y="32"/>
                      <a:pt x="0" y="39"/>
                    </a:cubicBezTo>
                    <a:cubicBezTo>
                      <a:pt x="0" y="185"/>
                      <a:pt x="0" y="185"/>
                      <a:pt x="0" y="185"/>
                    </a:cubicBezTo>
                    <a:cubicBezTo>
                      <a:pt x="0" y="191"/>
                      <a:pt x="5" y="196"/>
                      <a:pt x="10" y="197"/>
                    </a:cubicBezTo>
                    <a:cubicBezTo>
                      <a:pt x="10" y="196"/>
                      <a:pt x="10" y="195"/>
                      <a:pt x="10" y="194"/>
                    </a:cubicBezTo>
                    <a:close/>
                  </a:path>
                </a:pathLst>
              </a:custGeom>
              <a:solidFill>
                <a:srgbClr val="34BF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3" name="Freeform 54">
                <a:extLst>
                  <a:ext uri="{FF2B5EF4-FFF2-40B4-BE49-F238E27FC236}">
                    <a16:creationId xmlns:a16="http://schemas.microsoft.com/office/drawing/2014/main" id="{B23A569C-B3CB-4C57-9E9A-7149206DB814}"/>
                  </a:ext>
                </a:extLst>
              </p:cNvPr>
              <p:cNvSpPr>
                <a:spLocks/>
              </p:cNvSpPr>
              <p:nvPr/>
            </p:nvSpPr>
            <p:spPr bwMode="auto">
              <a:xfrm>
                <a:off x="1004888" y="5211765"/>
                <a:ext cx="982663" cy="566738"/>
              </a:xfrm>
              <a:custGeom>
                <a:avLst/>
                <a:gdLst>
                  <a:gd name="T0" fmla="*/ 249 w 266"/>
                  <a:gd name="T1" fmla="*/ 153 h 153"/>
                  <a:gd name="T2" fmla="*/ 0 w 266"/>
                  <a:gd name="T3" fmla="*/ 153 h 153"/>
                  <a:gd name="T4" fmla="*/ 10 w 266"/>
                  <a:gd name="T5" fmla="*/ 8 h 153"/>
                  <a:gd name="T6" fmla="*/ 19 w 266"/>
                  <a:gd name="T7" fmla="*/ 0 h 153"/>
                  <a:gd name="T8" fmla="*/ 19 w 266"/>
                  <a:gd name="T9" fmla="*/ 0 h 153"/>
                  <a:gd name="T10" fmla="*/ 260 w 266"/>
                  <a:gd name="T11" fmla="*/ 16 h 153"/>
                  <a:gd name="T12" fmla="*/ 266 w 266"/>
                  <a:gd name="T13" fmla="*/ 25 h 153"/>
                  <a:gd name="T14" fmla="*/ 258 w 266"/>
                  <a:gd name="T15" fmla="*/ 144 h 153"/>
                  <a:gd name="T16" fmla="*/ 258 w 266"/>
                  <a:gd name="T17" fmla="*/ 144 h 153"/>
                  <a:gd name="T18" fmla="*/ 258 w 266"/>
                  <a:gd name="T19" fmla="*/ 144 h 153"/>
                  <a:gd name="T20" fmla="*/ 249 w 266"/>
                  <a:gd name="T2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6" h="153">
                    <a:moveTo>
                      <a:pt x="249" y="153"/>
                    </a:moveTo>
                    <a:cubicBezTo>
                      <a:pt x="0" y="153"/>
                      <a:pt x="0" y="153"/>
                      <a:pt x="0" y="153"/>
                    </a:cubicBezTo>
                    <a:cubicBezTo>
                      <a:pt x="10" y="8"/>
                      <a:pt x="10" y="8"/>
                      <a:pt x="10" y="8"/>
                    </a:cubicBezTo>
                    <a:cubicBezTo>
                      <a:pt x="10" y="3"/>
                      <a:pt x="14" y="0"/>
                      <a:pt x="19" y="0"/>
                    </a:cubicBezTo>
                    <a:cubicBezTo>
                      <a:pt x="19" y="0"/>
                      <a:pt x="19" y="0"/>
                      <a:pt x="19" y="0"/>
                    </a:cubicBezTo>
                    <a:cubicBezTo>
                      <a:pt x="260" y="16"/>
                      <a:pt x="260" y="16"/>
                      <a:pt x="260" y="16"/>
                    </a:cubicBezTo>
                    <a:cubicBezTo>
                      <a:pt x="264" y="18"/>
                      <a:pt x="266" y="21"/>
                      <a:pt x="266" y="25"/>
                    </a:cubicBezTo>
                    <a:cubicBezTo>
                      <a:pt x="258" y="144"/>
                      <a:pt x="258" y="144"/>
                      <a:pt x="258" y="144"/>
                    </a:cubicBezTo>
                    <a:cubicBezTo>
                      <a:pt x="258" y="144"/>
                      <a:pt x="258" y="144"/>
                      <a:pt x="258" y="144"/>
                    </a:cubicBezTo>
                    <a:cubicBezTo>
                      <a:pt x="258" y="144"/>
                      <a:pt x="258" y="144"/>
                      <a:pt x="258" y="144"/>
                    </a:cubicBezTo>
                    <a:cubicBezTo>
                      <a:pt x="258" y="149"/>
                      <a:pt x="254" y="153"/>
                      <a:pt x="249" y="153"/>
                    </a:cubicBezTo>
                    <a:close/>
                  </a:path>
                </a:pathLst>
              </a:custGeom>
              <a:solidFill>
                <a:srgbClr val="34BF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nvGrpSpPr>
            <p:cNvPr id="9" name="Group 8">
              <a:extLst>
                <a:ext uri="{FF2B5EF4-FFF2-40B4-BE49-F238E27FC236}">
                  <a16:creationId xmlns:a16="http://schemas.microsoft.com/office/drawing/2014/main" id="{553E2786-8E07-46A5-9625-2D6090A7CDB4}"/>
                </a:ext>
              </a:extLst>
            </p:cNvPr>
            <p:cNvGrpSpPr/>
            <p:nvPr/>
          </p:nvGrpSpPr>
          <p:grpSpPr>
            <a:xfrm>
              <a:off x="550247" y="4875607"/>
              <a:ext cx="1135063" cy="785813"/>
              <a:chOff x="623888" y="5259390"/>
              <a:chExt cx="1135063" cy="785813"/>
            </a:xfrm>
          </p:grpSpPr>
          <p:sp>
            <p:nvSpPr>
              <p:cNvPr id="10" name="Freeform 55">
                <a:extLst>
                  <a:ext uri="{FF2B5EF4-FFF2-40B4-BE49-F238E27FC236}">
                    <a16:creationId xmlns:a16="http://schemas.microsoft.com/office/drawing/2014/main" id="{B6C85745-6ED6-4423-B61C-07871F15B951}"/>
                  </a:ext>
                </a:extLst>
              </p:cNvPr>
              <p:cNvSpPr>
                <a:spLocks/>
              </p:cNvSpPr>
              <p:nvPr/>
            </p:nvSpPr>
            <p:spPr bwMode="auto">
              <a:xfrm>
                <a:off x="623888" y="5259390"/>
                <a:ext cx="1093788" cy="785813"/>
              </a:xfrm>
              <a:custGeom>
                <a:avLst/>
                <a:gdLst>
                  <a:gd name="T0" fmla="*/ 11 w 296"/>
                  <a:gd name="T1" fmla="*/ 209 h 212"/>
                  <a:gd name="T2" fmla="*/ 22 w 296"/>
                  <a:gd name="T3" fmla="*/ 52 h 212"/>
                  <a:gd name="T4" fmla="*/ 36 w 296"/>
                  <a:gd name="T5" fmla="*/ 40 h 212"/>
                  <a:gd name="T6" fmla="*/ 296 w 296"/>
                  <a:gd name="T7" fmla="*/ 58 h 212"/>
                  <a:gd name="T8" fmla="*/ 296 w 296"/>
                  <a:gd name="T9" fmla="*/ 42 h 212"/>
                  <a:gd name="T10" fmla="*/ 289 w 296"/>
                  <a:gd name="T11" fmla="*/ 29 h 212"/>
                  <a:gd name="T12" fmla="*/ 282 w 296"/>
                  <a:gd name="T13" fmla="*/ 16 h 212"/>
                  <a:gd name="T14" fmla="*/ 282 w 296"/>
                  <a:gd name="T15" fmla="*/ 13 h 212"/>
                  <a:gd name="T16" fmla="*/ 269 w 296"/>
                  <a:gd name="T17" fmla="*/ 0 h 212"/>
                  <a:gd name="T18" fmla="*/ 160 w 296"/>
                  <a:gd name="T19" fmla="*/ 0 h 212"/>
                  <a:gd name="T20" fmla="*/ 146 w 296"/>
                  <a:gd name="T21" fmla="*/ 13 h 212"/>
                  <a:gd name="T22" fmla="*/ 146 w 296"/>
                  <a:gd name="T23" fmla="*/ 16 h 212"/>
                  <a:gd name="T24" fmla="*/ 133 w 296"/>
                  <a:gd name="T25" fmla="*/ 29 h 212"/>
                  <a:gd name="T26" fmla="*/ 13 w 296"/>
                  <a:gd name="T27" fmla="*/ 29 h 212"/>
                  <a:gd name="T28" fmla="*/ 0 w 296"/>
                  <a:gd name="T29" fmla="*/ 42 h 212"/>
                  <a:gd name="T30" fmla="*/ 0 w 296"/>
                  <a:gd name="T31" fmla="*/ 199 h 212"/>
                  <a:gd name="T32" fmla="*/ 11 w 296"/>
                  <a:gd name="T33" fmla="*/ 212 h 212"/>
                  <a:gd name="T34" fmla="*/ 11 w 296"/>
                  <a:gd name="T35" fmla="*/ 20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12">
                    <a:moveTo>
                      <a:pt x="11" y="209"/>
                    </a:moveTo>
                    <a:cubicBezTo>
                      <a:pt x="22" y="52"/>
                      <a:pt x="22" y="52"/>
                      <a:pt x="22" y="52"/>
                    </a:cubicBezTo>
                    <a:cubicBezTo>
                      <a:pt x="22" y="45"/>
                      <a:pt x="28" y="39"/>
                      <a:pt x="36" y="40"/>
                    </a:cubicBezTo>
                    <a:cubicBezTo>
                      <a:pt x="296" y="58"/>
                      <a:pt x="296" y="58"/>
                      <a:pt x="296" y="58"/>
                    </a:cubicBezTo>
                    <a:cubicBezTo>
                      <a:pt x="296" y="42"/>
                      <a:pt x="296" y="42"/>
                      <a:pt x="296" y="42"/>
                    </a:cubicBezTo>
                    <a:cubicBezTo>
                      <a:pt x="296" y="34"/>
                      <a:pt x="293" y="29"/>
                      <a:pt x="289" y="29"/>
                    </a:cubicBezTo>
                    <a:cubicBezTo>
                      <a:pt x="285" y="29"/>
                      <a:pt x="282" y="23"/>
                      <a:pt x="282" y="16"/>
                    </a:cubicBezTo>
                    <a:cubicBezTo>
                      <a:pt x="282" y="13"/>
                      <a:pt x="282" y="13"/>
                      <a:pt x="282" y="13"/>
                    </a:cubicBezTo>
                    <a:cubicBezTo>
                      <a:pt x="282" y="6"/>
                      <a:pt x="276" y="0"/>
                      <a:pt x="269" y="0"/>
                    </a:cubicBezTo>
                    <a:cubicBezTo>
                      <a:pt x="160" y="0"/>
                      <a:pt x="160" y="0"/>
                      <a:pt x="160" y="0"/>
                    </a:cubicBezTo>
                    <a:cubicBezTo>
                      <a:pt x="152" y="0"/>
                      <a:pt x="146" y="6"/>
                      <a:pt x="146" y="13"/>
                    </a:cubicBezTo>
                    <a:cubicBezTo>
                      <a:pt x="146" y="16"/>
                      <a:pt x="146" y="16"/>
                      <a:pt x="146" y="16"/>
                    </a:cubicBezTo>
                    <a:cubicBezTo>
                      <a:pt x="146" y="23"/>
                      <a:pt x="141" y="29"/>
                      <a:pt x="133" y="29"/>
                    </a:cubicBezTo>
                    <a:cubicBezTo>
                      <a:pt x="13" y="29"/>
                      <a:pt x="13" y="29"/>
                      <a:pt x="13" y="29"/>
                    </a:cubicBezTo>
                    <a:cubicBezTo>
                      <a:pt x="6" y="29"/>
                      <a:pt x="0" y="34"/>
                      <a:pt x="0" y="42"/>
                    </a:cubicBezTo>
                    <a:cubicBezTo>
                      <a:pt x="0" y="199"/>
                      <a:pt x="0" y="199"/>
                      <a:pt x="0" y="199"/>
                    </a:cubicBezTo>
                    <a:cubicBezTo>
                      <a:pt x="0" y="206"/>
                      <a:pt x="5" y="211"/>
                      <a:pt x="11" y="212"/>
                    </a:cubicBezTo>
                    <a:cubicBezTo>
                      <a:pt x="11" y="211"/>
                      <a:pt x="11" y="210"/>
                      <a:pt x="11" y="209"/>
                    </a:cubicBezTo>
                    <a:close/>
                  </a:path>
                </a:pathLst>
              </a:custGeom>
              <a:solidFill>
                <a:srgbClr val="00AEEF"/>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1" name="Freeform 56">
                <a:extLst>
                  <a:ext uri="{FF2B5EF4-FFF2-40B4-BE49-F238E27FC236}">
                    <a16:creationId xmlns:a16="http://schemas.microsoft.com/office/drawing/2014/main" id="{1DA86F4D-BF02-49C6-9EEB-FE2018A1430D}"/>
                  </a:ext>
                </a:extLst>
              </p:cNvPr>
              <p:cNvSpPr>
                <a:spLocks/>
              </p:cNvSpPr>
              <p:nvPr/>
            </p:nvSpPr>
            <p:spPr bwMode="auto">
              <a:xfrm>
                <a:off x="696913" y="5429252"/>
                <a:ext cx="1062038" cy="611188"/>
              </a:xfrm>
              <a:custGeom>
                <a:avLst/>
                <a:gdLst>
                  <a:gd name="T0" fmla="*/ 269 w 287"/>
                  <a:gd name="T1" fmla="*/ 165 h 165"/>
                  <a:gd name="T2" fmla="*/ 0 w 287"/>
                  <a:gd name="T3" fmla="*/ 165 h 165"/>
                  <a:gd name="T4" fmla="*/ 10 w 287"/>
                  <a:gd name="T5" fmla="*/ 9 h 165"/>
                  <a:gd name="T6" fmla="*/ 20 w 287"/>
                  <a:gd name="T7" fmla="*/ 0 h 165"/>
                  <a:gd name="T8" fmla="*/ 21 w 287"/>
                  <a:gd name="T9" fmla="*/ 0 h 165"/>
                  <a:gd name="T10" fmla="*/ 281 w 287"/>
                  <a:gd name="T11" fmla="*/ 18 h 165"/>
                  <a:gd name="T12" fmla="*/ 287 w 287"/>
                  <a:gd name="T13" fmla="*/ 27 h 165"/>
                  <a:gd name="T14" fmla="*/ 278 w 287"/>
                  <a:gd name="T15" fmla="*/ 155 h 165"/>
                  <a:gd name="T16" fmla="*/ 278 w 287"/>
                  <a:gd name="T17" fmla="*/ 156 h 165"/>
                  <a:gd name="T18" fmla="*/ 278 w 287"/>
                  <a:gd name="T19" fmla="*/ 156 h 165"/>
                  <a:gd name="T20" fmla="*/ 269 w 287"/>
                  <a:gd name="T2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165">
                    <a:moveTo>
                      <a:pt x="269" y="165"/>
                    </a:moveTo>
                    <a:cubicBezTo>
                      <a:pt x="0" y="165"/>
                      <a:pt x="0" y="165"/>
                      <a:pt x="0" y="165"/>
                    </a:cubicBezTo>
                    <a:cubicBezTo>
                      <a:pt x="10" y="9"/>
                      <a:pt x="10" y="9"/>
                      <a:pt x="10" y="9"/>
                    </a:cubicBezTo>
                    <a:cubicBezTo>
                      <a:pt x="11" y="4"/>
                      <a:pt x="15" y="0"/>
                      <a:pt x="20" y="0"/>
                    </a:cubicBezTo>
                    <a:cubicBezTo>
                      <a:pt x="20" y="0"/>
                      <a:pt x="21" y="0"/>
                      <a:pt x="21" y="0"/>
                    </a:cubicBezTo>
                    <a:cubicBezTo>
                      <a:pt x="281" y="18"/>
                      <a:pt x="281" y="18"/>
                      <a:pt x="281" y="18"/>
                    </a:cubicBezTo>
                    <a:cubicBezTo>
                      <a:pt x="285" y="19"/>
                      <a:pt x="287" y="23"/>
                      <a:pt x="287" y="27"/>
                    </a:cubicBezTo>
                    <a:cubicBezTo>
                      <a:pt x="278" y="155"/>
                      <a:pt x="278" y="155"/>
                      <a:pt x="278" y="155"/>
                    </a:cubicBezTo>
                    <a:cubicBezTo>
                      <a:pt x="278" y="156"/>
                      <a:pt x="278" y="156"/>
                      <a:pt x="278" y="156"/>
                    </a:cubicBezTo>
                    <a:cubicBezTo>
                      <a:pt x="278" y="156"/>
                      <a:pt x="278" y="156"/>
                      <a:pt x="278" y="156"/>
                    </a:cubicBezTo>
                    <a:cubicBezTo>
                      <a:pt x="278" y="161"/>
                      <a:pt x="274" y="165"/>
                      <a:pt x="269" y="165"/>
                    </a:cubicBezTo>
                    <a:close/>
                  </a:path>
                </a:pathLst>
              </a:custGeom>
              <a:solidFill>
                <a:srgbClr val="00AEEF"/>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sp>
        <p:nvSpPr>
          <p:cNvPr id="20" name="Rectangle 19">
            <a:extLst>
              <a:ext uri="{FF2B5EF4-FFF2-40B4-BE49-F238E27FC236}">
                <a16:creationId xmlns:a16="http://schemas.microsoft.com/office/drawing/2014/main" id="{1E7DF91D-EE36-41AF-ABF6-9A9E384384E1}"/>
              </a:ext>
            </a:extLst>
          </p:cNvPr>
          <p:cNvSpPr/>
          <p:nvPr/>
        </p:nvSpPr>
        <p:spPr>
          <a:xfrm>
            <a:off x="720374" y="1419219"/>
            <a:ext cx="10606916" cy="461665"/>
          </a:xfrm>
          <a:prstGeom prst="rect">
            <a:avLst/>
          </a:prstGeom>
        </p:spPr>
        <p:txBody>
          <a:bodyPr wrap="square">
            <a:spAutoFit/>
          </a:bodyPr>
          <a:lstStyle/>
          <a:p>
            <a:pPr defTabSz="634036">
              <a:spcAft>
                <a:spcPts val="1224"/>
              </a:spcAft>
            </a:pPr>
            <a:r>
              <a:rPr lang="en-US" sz="2400" b="1" dirty="0">
                <a:solidFill>
                  <a:srgbClr val="505050">
                    <a:lumMod val="50000"/>
                  </a:srgbClr>
                </a:solidFill>
                <a:latin typeface="Segoe UI Light"/>
              </a:rPr>
              <a:t>Recovery after accidental database deletion:</a:t>
            </a:r>
          </a:p>
        </p:txBody>
      </p:sp>
      <p:pic>
        <p:nvPicPr>
          <p:cNvPr id="21" name="Picture 20">
            <a:extLst>
              <a:ext uri="{FF2B5EF4-FFF2-40B4-BE49-F238E27FC236}">
                <a16:creationId xmlns:a16="http://schemas.microsoft.com/office/drawing/2014/main" id="{6EF97822-1C45-4588-849D-8721ECD2A4C2}"/>
              </a:ext>
            </a:extLst>
          </p:cNvPr>
          <p:cNvPicPr>
            <a:picLocks noChangeAspect="1"/>
          </p:cNvPicPr>
          <p:nvPr/>
        </p:nvPicPr>
        <p:blipFill>
          <a:blip r:embed="rId3"/>
          <a:stretch>
            <a:fillRect/>
          </a:stretch>
        </p:blipFill>
        <p:spPr>
          <a:xfrm>
            <a:off x="7368315" y="2611621"/>
            <a:ext cx="1142685" cy="821239"/>
          </a:xfrm>
          <a:prstGeom prst="rect">
            <a:avLst/>
          </a:prstGeom>
        </p:spPr>
      </p:pic>
      <p:sp>
        <p:nvSpPr>
          <p:cNvPr id="22" name="Freeform 31">
            <a:extLst>
              <a:ext uri="{FF2B5EF4-FFF2-40B4-BE49-F238E27FC236}">
                <a16:creationId xmlns:a16="http://schemas.microsoft.com/office/drawing/2014/main" id="{52A065FD-0B2D-47AF-BA6E-6618385A8919}"/>
              </a:ext>
            </a:extLst>
          </p:cNvPr>
          <p:cNvSpPr>
            <a:spLocks noEditPoints="1"/>
          </p:cNvSpPr>
          <p:nvPr/>
        </p:nvSpPr>
        <p:spPr bwMode="auto">
          <a:xfrm rot="8623650">
            <a:off x="7715634" y="2929173"/>
            <a:ext cx="420948" cy="362404"/>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FFFFFF"/>
          </a:solidFill>
          <a:ln>
            <a:noFill/>
          </a:ln>
        </p:spPr>
        <p:txBody>
          <a:bodyPr vert="horz" wrap="square" lIns="91439" tIns="45719" rIns="91439" bIns="45719" numCol="1" anchor="t" anchorCtr="0" compatLnSpc="1">
            <a:prstTxWarp prst="textNoShape">
              <a:avLst/>
            </a:prstTxWarp>
          </a:bodyPr>
          <a:lstStyle/>
          <a:p>
            <a:pPr marL="0" marR="0" lvl="0" indent="0" defTabSz="93275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cxnSp>
        <p:nvCxnSpPr>
          <p:cNvPr id="23" name="Straight Arrow Connector 22">
            <a:extLst>
              <a:ext uri="{FF2B5EF4-FFF2-40B4-BE49-F238E27FC236}">
                <a16:creationId xmlns:a16="http://schemas.microsoft.com/office/drawing/2014/main" id="{54FE9F75-0390-4525-BC4A-7C011C247A0A}"/>
              </a:ext>
            </a:extLst>
          </p:cNvPr>
          <p:cNvCxnSpPr>
            <a:cxnSpLocks/>
          </p:cNvCxnSpPr>
          <p:nvPr/>
        </p:nvCxnSpPr>
        <p:spPr>
          <a:xfrm flipH="1" flipV="1">
            <a:off x="8051678" y="3518162"/>
            <a:ext cx="353763" cy="820415"/>
          </a:xfrm>
          <a:prstGeom prst="straightConnector1">
            <a:avLst/>
          </a:prstGeom>
          <a:noFill/>
          <a:ln w="57150" cap="flat" cmpd="sng" algn="ctr">
            <a:solidFill>
              <a:srgbClr val="FF0000"/>
            </a:solidFill>
            <a:prstDash val="solid"/>
            <a:headEnd type="none" w="med" len="med"/>
            <a:tailEnd type="triangle" w="med" len="med"/>
          </a:ln>
          <a:effectLst/>
        </p:spPr>
      </p:cxnSp>
      <p:cxnSp>
        <p:nvCxnSpPr>
          <p:cNvPr id="24" name="Straight Arrow Connector 23">
            <a:extLst>
              <a:ext uri="{FF2B5EF4-FFF2-40B4-BE49-F238E27FC236}">
                <a16:creationId xmlns:a16="http://schemas.microsoft.com/office/drawing/2014/main" id="{EDFC82E2-E386-4525-9DE5-9E1F23811BC3}"/>
              </a:ext>
            </a:extLst>
          </p:cNvPr>
          <p:cNvCxnSpPr>
            <a:cxnSpLocks/>
          </p:cNvCxnSpPr>
          <p:nvPr/>
        </p:nvCxnSpPr>
        <p:spPr>
          <a:xfrm flipH="1">
            <a:off x="10029157" y="3457403"/>
            <a:ext cx="287879" cy="808694"/>
          </a:xfrm>
          <a:prstGeom prst="straightConnector1">
            <a:avLst/>
          </a:prstGeom>
          <a:noFill/>
          <a:ln w="57150" cap="flat" cmpd="sng" algn="ctr">
            <a:solidFill>
              <a:srgbClr val="FF0000"/>
            </a:solidFill>
            <a:prstDash val="solid"/>
            <a:headEnd type="none" w="med" len="med"/>
            <a:tailEnd type="triangle" w="med" len="med"/>
          </a:ln>
          <a:effectLst/>
        </p:spPr>
      </p:cxnSp>
      <p:sp>
        <p:nvSpPr>
          <p:cNvPr id="25" name="TextBox 24">
            <a:extLst>
              <a:ext uri="{FF2B5EF4-FFF2-40B4-BE49-F238E27FC236}">
                <a16:creationId xmlns:a16="http://schemas.microsoft.com/office/drawing/2014/main" id="{E844AE87-3BFD-4F0A-9B32-3A800E5C21AF}"/>
              </a:ext>
            </a:extLst>
          </p:cNvPr>
          <p:cNvSpPr txBox="1"/>
          <p:nvPr/>
        </p:nvSpPr>
        <p:spPr>
          <a:xfrm>
            <a:off x="10363200" y="3499320"/>
            <a:ext cx="1408102" cy="753369"/>
          </a:xfrm>
          <a:prstGeom prst="rect">
            <a:avLst/>
          </a:prstGeom>
          <a:noFill/>
        </p:spPr>
        <p:txBody>
          <a:bodyPr wrap="square" rtlCol="0">
            <a:spAutoFit/>
          </a:bodyPr>
          <a:lstStyle/>
          <a:p>
            <a:pPr defTabSz="932754"/>
            <a:r>
              <a:rPr lang="en-US" sz="1400" dirty="0">
                <a:solidFill>
                  <a:srgbClr val="000000"/>
                </a:solidFill>
                <a:latin typeface="Segoe UI Light"/>
              </a:rPr>
              <a:t>Self-service restore to point of deletion</a:t>
            </a:r>
          </a:p>
        </p:txBody>
      </p:sp>
      <p:sp>
        <p:nvSpPr>
          <p:cNvPr id="26" name="TextBox 25">
            <a:extLst>
              <a:ext uri="{FF2B5EF4-FFF2-40B4-BE49-F238E27FC236}">
                <a16:creationId xmlns:a16="http://schemas.microsoft.com/office/drawing/2014/main" id="{A48BAF6F-3DFC-467B-B20C-72BA389A594B}"/>
              </a:ext>
            </a:extLst>
          </p:cNvPr>
          <p:cNvSpPr txBox="1"/>
          <p:nvPr/>
        </p:nvSpPr>
        <p:spPr>
          <a:xfrm>
            <a:off x="7078775" y="1376889"/>
            <a:ext cx="4130228" cy="408075"/>
          </a:xfrm>
          <a:prstGeom prst="rect">
            <a:avLst/>
          </a:prstGeom>
          <a:noFill/>
        </p:spPr>
        <p:txBody>
          <a:bodyPr wrap="square" rtlCol="0">
            <a:spAutoFit/>
          </a:bodyPr>
          <a:lstStyle/>
          <a:p>
            <a:pPr algn="ctr" defTabSz="932754"/>
            <a:r>
              <a:rPr lang="en-US" sz="2000">
                <a:solidFill>
                  <a:srgbClr val="505050">
                    <a:lumMod val="50000"/>
                  </a:srgbClr>
                </a:solidFill>
                <a:latin typeface="Segoe UI Light"/>
              </a:rPr>
              <a:t>Backups retained for 7/35/35 days</a:t>
            </a:r>
          </a:p>
        </p:txBody>
      </p:sp>
      <p:sp>
        <p:nvSpPr>
          <p:cNvPr id="27" name="Flowchart: Magnetic Disk 10">
            <a:extLst>
              <a:ext uri="{FF2B5EF4-FFF2-40B4-BE49-F238E27FC236}">
                <a16:creationId xmlns:a16="http://schemas.microsoft.com/office/drawing/2014/main" id="{8D40C58B-2B14-4D06-A23B-2C6FA6BEA689}"/>
              </a:ext>
            </a:extLst>
          </p:cNvPr>
          <p:cNvSpPr>
            <a:spLocks noChangeAspect="1"/>
          </p:cNvSpPr>
          <p:nvPr/>
        </p:nvSpPr>
        <p:spPr bwMode="auto">
          <a:xfrm>
            <a:off x="9737125" y="4326703"/>
            <a:ext cx="604451" cy="72855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a:ln>
                  <a:solidFill>
                    <a:prstClr val="white">
                      <a:alpha val="0"/>
                    </a:prstClr>
                  </a:solidFill>
                </a:ln>
                <a:solidFill>
                  <a:prstClr val="white"/>
                </a:solidFill>
                <a:effectLst/>
                <a:uLnTx/>
                <a:uFillTx/>
                <a:latin typeface="Segoe UI Light"/>
                <a:ea typeface="Segoe UI" panose="020B0502040204020203" pitchFamily="34" charset="0"/>
                <a:cs typeface="Segoe UI" panose="020B0502040204020203" pitchFamily="34" charset="0"/>
              </a:rPr>
              <a:t>DB1’</a:t>
            </a:r>
          </a:p>
        </p:txBody>
      </p:sp>
      <p:sp>
        <p:nvSpPr>
          <p:cNvPr id="28" name="Flowchart: Magnetic Disk 10">
            <a:extLst>
              <a:ext uri="{FF2B5EF4-FFF2-40B4-BE49-F238E27FC236}">
                <a16:creationId xmlns:a16="http://schemas.microsoft.com/office/drawing/2014/main" id="{8BA48B22-DD78-4EC2-8C3C-28E505A5FD41}"/>
              </a:ext>
            </a:extLst>
          </p:cNvPr>
          <p:cNvSpPr>
            <a:spLocks noChangeAspect="1"/>
          </p:cNvSpPr>
          <p:nvPr/>
        </p:nvSpPr>
        <p:spPr bwMode="auto">
          <a:xfrm>
            <a:off x="8254934" y="4326703"/>
            <a:ext cx="604451" cy="72855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algn="ctr" defTabSz="951028" fontAlgn="base">
              <a:spcBef>
                <a:spcPct val="0"/>
              </a:spcBef>
              <a:spcAft>
                <a:spcPct val="0"/>
              </a:spcAft>
              <a:defRPr/>
            </a:pPr>
            <a:r>
              <a:rPr lang="en-US" sz="2040" b="1" kern="0">
                <a:ln>
                  <a:solidFill>
                    <a:prstClr val="white">
                      <a:alpha val="0"/>
                    </a:prstClr>
                  </a:solidFill>
                </a:ln>
                <a:solidFill>
                  <a:prstClr val="white"/>
                </a:solidFill>
                <a:latin typeface="Segoe UI Light"/>
                <a:ea typeface="Segoe UI" panose="020B0502040204020203" pitchFamily="34" charset="0"/>
                <a:cs typeface="Segoe UI" panose="020B0502040204020203" pitchFamily="34" charset="0"/>
              </a:rPr>
              <a:t>DB1’</a:t>
            </a:r>
          </a:p>
        </p:txBody>
      </p:sp>
      <p:grpSp>
        <p:nvGrpSpPr>
          <p:cNvPr id="29" name="Group 28">
            <a:extLst>
              <a:ext uri="{FF2B5EF4-FFF2-40B4-BE49-F238E27FC236}">
                <a16:creationId xmlns:a16="http://schemas.microsoft.com/office/drawing/2014/main" id="{16CA97D4-B81F-4795-AA1C-0A80C551BC9E}"/>
              </a:ext>
            </a:extLst>
          </p:cNvPr>
          <p:cNvGrpSpPr/>
          <p:nvPr/>
        </p:nvGrpSpPr>
        <p:grpSpPr>
          <a:xfrm>
            <a:off x="6900448" y="1937366"/>
            <a:ext cx="4681952" cy="361431"/>
            <a:chOff x="6726013" y="2113845"/>
            <a:chExt cx="4745426" cy="354376"/>
          </a:xfrm>
        </p:grpSpPr>
        <p:sp>
          <p:nvSpPr>
            <p:cNvPr id="30" name="Rectangle 29">
              <a:extLst>
                <a:ext uri="{FF2B5EF4-FFF2-40B4-BE49-F238E27FC236}">
                  <a16:creationId xmlns:a16="http://schemas.microsoft.com/office/drawing/2014/main" id="{5FACA402-3652-4CC9-924D-964F91C88666}"/>
                </a:ext>
              </a:extLst>
            </p:cNvPr>
            <p:cNvSpPr/>
            <p:nvPr/>
          </p:nvSpPr>
          <p:spPr>
            <a:xfrm>
              <a:off x="6726013" y="2140598"/>
              <a:ext cx="583814" cy="307777"/>
            </a:xfrm>
            <a:prstGeom prst="rect">
              <a:avLst/>
            </a:prstGeom>
            <a:ln w="9525">
              <a:noFill/>
            </a:ln>
          </p:spPr>
          <p:txBody>
            <a:bodyPr wrap="none">
              <a:spAutoFit/>
            </a:bodyPr>
            <a:lstStyle/>
            <a:p>
              <a:pPr marL="0" marR="0" lvl="0" indent="0" defTabSz="93275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Light"/>
                </a:rPr>
                <a:t>Now </a:t>
              </a:r>
            </a:p>
          </p:txBody>
        </p:sp>
        <p:sp>
          <p:nvSpPr>
            <p:cNvPr id="31" name="Rectangle 30">
              <a:extLst>
                <a:ext uri="{FF2B5EF4-FFF2-40B4-BE49-F238E27FC236}">
                  <a16:creationId xmlns:a16="http://schemas.microsoft.com/office/drawing/2014/main" id="{2E399FB3-5DAF-47DA-AE8B-B2971C81DC29}"/>
                </a:ext>
              </a:extLst>
            </p:cNvPr>
            <p:cNvSpPr/>
            <p:nvPr/>
          </p:nvSpPr>
          <p:spPr>
            <a:xfrm>
              <a:off x="10735340" y="2128254"/>
              <a:ext cx="736099" cy="307777"/>
            </a:xfrm>
            <a:prstGeom prst="rect">
              <a:avLst/>
            </a:prstGeom>
            <a:ln w="9525">
              <a:noFill/>
            </a:ln>
          </p:spPr>
          <p:txBody>
            <a:bodyPr wrap="none">
              <a:spAutoFit/>
            </a:bodyPr>
            <a:lstStyle/>
            <a:p>
              <a:pPr marL="0" marR="0" lvl="0" indent="0" defTabSz="93275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Light"/>
                </a:rPr>
                <a:t>-7 days</a:t>
              </a:r>
            </a:p>
          </p:txBody>
        </p:sp>
        <p:sp>
          <p:nvSpPr>
            <p:cNvPr id="32" name="Right Arrow 18">
              <a:extLst>
                <a:ext uri="{FF2B5EF4-FFF2-40B4-BE49-F238E27FC236}">
                  <a16:creationId xmlns:a16="http://schemas.microsoft.com/office/drawing/2014/main" id="{A0CD3443-E10D-47E4-8F46-E215AB883C1C}"/>
                </a:ext>
              </a:extLst>
            </p:cNvPr>
            <p:cNvSpPr/>
            <p:nvPr/>
          </p:nvSpPr>
          <p:spPr>
            <a:xfrm>
              <a:off x="7273256" y="2113845"/>
              <a:ext cx="3453063" cy="354376"/>
            </a:xfrm>
            <a:prstGeom prst="rightArrow">
              <a:avLst/>
            </a:prstGeom>
            <a:solidFill>
              <a:srgbClr val="FFFFFF">
                <a:lumMod val="50000"/>
              </a:srgbClr>
            </a:solidFill>
            <a:ln w="10795" cap="flat" cmpd="sng" algn="ctr">
              <a:solidFill>
                <a:srgbClr val="FFFFFF">
                  <a:lumMod val="50000"/>
                </a:srgbClr>
              </a:solidFill>
              <a:prstDash val="solid"/>
            </a:ln>
            <a:effectLst/>
          </p:spPr>
          <p:txBody>
            <a:bodyPr rtlCol="0" anchor="ct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Time</a:t>
              </a:r>
            </a:p>
          </p:txBody>
        </p:sp>
      </p:grpSp>
      <p:sp>
        <p:nvSpPr>
          <p:cNvPr id="33" name="Freeform 25">
            <a:extLst>
              <a:ext uri="{FF2B5EF4-FFF2-40B4-BE49-F238E27FC236}">
                <a16:creationId xmlns:a16="http://schemas.microsoft.com/office/drawing/2014/main" id="{9CD9EA2D-81F1-4267-9D38-CC0442439048}"/>
              </a:ext>
            </a:extLst>
          </p:cNvPr>
          <p:cNvSpPr>
            <a:spLocks noEditPoints="1"/>
          </p:cNvSpPr>
          <p:nvPr/>
        </p:nvSpPr>
        <p:spPr bwMode="auto">
          <a:xfrm>
            <a:off x="7942109" y="4069481"/>
            <a:ext cx="1221686" cy="1264519"/>
          </a:xfrm>
          <a:custGeom>
            <a:avLst/>
            <a:gdLst>
              <a:gd name="T0" fmla="*/ 275 w 334"/>
              <a:gd name="T1" fmla="*/ 59 h 334"/>
              <a:gd name="T2" fmla="*/ 60 w 334"/>
              <a:gd name="T3" fmla="*/ 59 h 334"/>
              <a:gd name="T4" fmla="*/ 60 w 334"/>
              <a:gd name="T5" fmla="*/ 275 h 334"/>
              <a:gd name="T6" fmla="*/ 275 w 334"/>
              <a:gd name="T7" fmla="*/ 275 h 334"/>
              <a:gd name="T8" fmla="*/ 275 w 334"/>
              <a:gd name="T9" fmla="*/ 59 h 334"/>
              <a:gd name="T10" fmla="*/ 255 w 334"/>
              <a:gd name="T11" fmla="*/ 79 h 334"/>
              <a:gd name="T12" fmla="*/ 266 w 334"/>
              <a:gd name="T13" fmla="*/ 242 h 334"/>
              <a:gd name="T14" fmla="*/ 92 w 334"/>
              <a:gd name="T15" fmla="*/ 68 h 334"/>
              <a:gd name="T16" fmla="*/ 255 w 334"/>
              <a:gd name="T17" fmla="*/ 79 h 334"/>
              <a:gd name="T18" fmla="*/ 79 w 334"/>
              <a:gd name="T19" fmla="*/ 255 h 334"/>
              <a:gd name="T20" fmla="*/ 72 w 334"/>
              <a:gd name="T21" fmla="*/ 87 h 334"/>
              <a:gd name="T22" fmla="*/ 247 w 334"/>
              <a:gd name="T23" fmla="*/ 263 h 334"/>
              <a:gd name="T24" fmla="*/ 79 w 334"/>
              <a:gd name="T25" fmla="*/ 255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4" h="334">
                <a:moveTo>
                  <a:pt x="275" y="59"/>
                </a:moveTo>
                <a:cubicBezTo>
                  <a:pt x="216" y="0"/>
                  <a:pt x="119" y="0"/>
                  <a:pt x="60" y="59"/>
                </a:cubicBezTo>
                <a:cubicBezTo>
                  <a:pt x="0" y="119"/>
                  <a:pt x="0" y="215"/>
                  <a:pt x="60" y="275"/>
                </a:cubicBezTo>
                <a:cubicBezTo>
                  <a:pt x="119" y="334"/>
                  <a:pt x="216" y="334"/>
                  <a:pt x="275" y="275"/>
                </a:cubicBezTo>
                <a:cubicBezTo>
                  <a:pt x="334" y="215"/>
                  <a:pt x="334" y="119"/>
                  <a:pt x="275" y="59"/>
                </a:cubicBezTo>
                <a:close/>
                <a:moveTo>
                  <a:pt x="255" y="79"/>
                </a:moveTo>
                <a:cubicBezTo>
                  <a:pt x="300" y="123"/>
                  <a:pt x="303" y="194"/>
                  <a:pt x="266" y="242"/>
                </a:cubicBezTo>
                <a:cubicBezTo>
                  <a:pt x="92" y="68"/>
                  <a:pt x="92" y="68"/>
                  <a:pt x="92" y="68"/>
                </a:cubicBezTo>
                <a:cubicBezTo>
                  <a:pt x="140" y="31"/>
                  <a:pt x="211" y="34"/>
                  <a:pt x="255" y="79"/>
                </a:cubicBezTo>
                <a:close/>
                <a:moveTo>
                  <a:pt x="79" y="255"/>
                </a:moveTo>
                <a:cubicBezTo>
                  <a:pt x="33" y="209"/>
                  <a:pt x="31" y="136"/>
                  <a:pt x="72" y="87"/>
                </a:cubicBezTo>
                <a:cubicBezTo>
                  <a:pt x="247" y="263"/>
                  <a:pt x="247" y="263"/>
                  <a:pt x="247" y="263"/>
                </a:cubicBezTo>
                <a:cubicBezTo>
                  <a:pt x="198" y="303"/>
                  <a:pt x="125" y="301"/>
                  <a:pt x="79" y="255"/>
                </a:cubicBezTo>
                <a:close/>
              </a:path>
            </a:pathLst>
          </a:custGeom>
          <a:solidFill>
            <a:srgbClr val="EE3424"/>
          </a:solidFill>
          <a:ln w="7938"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4" name="Rectangle 33">
            <a:extLst>
              <a:ext uri="{FF2B5EF4-FFF2-40B4-BE49-F238E27FC236}">
                <a16:creationId xmlns:a16="http://schemas.microsoft.com/office/drawing/2014/main" id="{ABD1C212-10B7-4A7D-89FB-B9B0BEB052F5}"/>
              </a:ext>
            </a:extLst>
          </p:cNvPr>
          <p:cNvSpPr/>
          <p:nvPr/>
        </p:nvSpPr>
        <p:spPr bwMode="auto">
          <a:xfrm>
            <a:off x="655635" y="2157038"/>
            <a:ext cx="6044191" cy="6476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342900" marR="0" lvl="0" indent="-342900" defTabSz="93274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Restores the database to the point of deletion. (earlier backups are deleted).</a:t>
            </a:r>
            <a:endParaRPr kumimoji="0" lang="EN-US" sz="2000" b="0" i="0" u="none" strike="noStrike" kern="0" cap="none" spc="0" normalizeH="0" baseline="0" noProof="0" dirty="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3190D37A-CE71-413E-AD94-0B990DF0F2E7}"/>
              </a:ext>
            </a:extLst>
          </p:cNvPr>
          <p:cNvSpPr/>
          <p:nvPr/>
        </p:nvSpPr>
        <p:spPr bwMode="auto">
          <a:xfrm>
            <a:off x="655635" y="3071307"/>
            <a:ext cx="6044191" cy="6476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342900" marR="0" lvl="0" indent="-342900" defTabSz="93274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Creates a new database on the server used by the original database.</a:t>
            </a:r>
          </a:p>
        </p:txBody>
      </p:sp>
      <p:sp>
        <p:nvSpPr>
          <p:cNvPr id="36" name="Rectangle 35">
            <a:extLst>
              <a:ext uri="{FF2B5EF4-FFF2-40B4-BE49-F238E27FC236}">
                <a16:creationId xmlns:a16="http://schemas.microsoft.com/office/drawing/2014/main" id="{31E3C136-1D45-4A06-8FA8-4A8204E4EA55}"/>
              </a:ext>
            </a:extLst>
          </p:cNvPr>
          <p:cNvSpPr/>
          <p:nvPr/>
        </p:nvSpPr>
        <p:spPr bwMode="auto">
          <a:xfrm>
            <a:off x="655635" y="3985578"/>
            <a:ext cx="6044191" cy="647609"/>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342900" marR="0" lvl="0" indent="-342900" defTabSz="93274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Segoe UI"/>
                <a:ea typeface="+mn-ea"/>
                <a:cs typeface="+mn-cs"/>
              </a:rPr>
              <a:t>You can choose to failover to the restored database or use scripts to recover data.</a:t>
            </a:r>
            <a:endParaRPr kumimoji="0" lang="EN-US" sz="2000" b="0" i="0" u="none" strike="noStrike" kern="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1758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par>
                                <p:cTn id="8" presetID="8" presetClass="emph" presetSubtype="0" fill="hold" grpId="0" nodeType="withEffect">
                                  <p:stCondLst>
                                    <p:cond delay="0"/>
                                  </p:stCondLst>
                                  <p:childTnLst>
                                    <p:animRot by="21600000">
                                      <p:cBhvr>
                                        <p:cTn id="9" dur="2000" fill="hold"/>
                                        <p:tgtEl>
                                          <p:spTgt spid="22"/>
                                        </p:tgtEl>
                                        <p:attrNameLst>
                                          <p:attrName>r</p:attrName>
                                        </p:attrNameLst>
                                      </p:cBhvr>
                                    </p:animRo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nodeType="clickEffect">
                                  <p:stCondLst>
                                    <p:cond delay="0"/>
                                  </p:stCondLst>
                                  <p:childTnLst>
                                    <p:set>
                                      <p:cBhvr>
                                        <p:cTn id="13" dur="1" fill="hold">
                                          <p:stCondLst>
                                            <p:cond delay="0"/>
                                          </p:stCondLst>
                                        </p:cTn>
                                        <p:tgtEl>
                                          <p:spTgt spid="23"/>
                                        </p:tgtEl>
                                        <p:attrNameLst>
                                          <p:attrName>style.visibility</p:attrName>
                                        </p:attrNameLst>
                                      </p:cBhvr>
                                      <p:to>
                                        <p:strVal val="hidden"/>
                                      </p:to>
                                    </p:set>
                                  </p:childTnLst>
                                </p:cTn>
                              </p:par>
                            </p:childTnLst>
                          </p:cTn>
                        </p:par>
                        <p:par>
                          <p:cTn id="14" fill="hold">
                            <p:stCondLst>
                              <p:cond delay="0"/>
                            </p:stCondLst>
                            <p:childTnLst>
                              <p:par>
                                <p:cTn id="15" presetID="10" presetClass="exit" presetSubtype="0" fill="hold" nodeType="afterEffect">
                                  <p:stCondLst>
                                    <p:cond delay="0"/>
                                  </p:stCondLst>
                                  <p:childTnLst>
                                    <p:animEffect transition="out" filter="fade">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par>
                                <p:cTn id="18" presetID="1" presetClass="exit" presetSubtype="0" fill="hold" grpId="1" nodeType="withEffect">
                                  <p:stCondLst>
                                    <p:cond delay="0"/>
                                  </p:stCondLst>
                                  <p:childTnLst>
                                    <p:set>
                                      <p:cBhvr>
                                        <p:cTn id="19" dur="1" fill="hold">
                                          <p:stCondLst>
                                            <p:cond delay="0"/>
                                          </p:stCondLst>
                                        </p:cTn>
                                        <p:tgtEl>
                                          <p:spTgt spid="22"/>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42" presetClass="path" presetSubtype="0" accel="50000" decel="50000" fill="hold" nodeType="clickEffect">
                                  <p:stCondLst>
                                    <p:cond delay="0"/>
                                  </p:stCondLst>
                                  <p:childTnLst>
                                    <p:animMotion origin="layout" path="M -1.875E-6 7.40741E-7 L 0.18789 0.00347 " pathEditMode="relative" rAng="0" ptsTypes="AA">
                                      <p:cBhvr>
                                        <p:cTn id="23" dur="2000" fill="hold"/>
                                        <p:tgtEl>
                                          <p:spTgt spid="21"/>
                                        </p:tgtEl>
                                        <p:attrNameLst>
                                          <p:attrName>ppt_x</p:attrName>
                                          <p:attrName>ppt_y</p:attrName>
                                        </p:attrNameLst>
                                      </p:cBhvr>
                                      <p:rCtr x="9388" y="162"/>
                                    </p:animMotion>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wipe(up)">
                                      <p:cBhvr>
                                        <p:cTn id="28" dur="500"/>
                                        <p:tgtEl>
                                          <p:spTgt spid="2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2" grpId="1" animBg="1"/>
      <p:bldP spid="25" grpId="0"/>
      <p:bldP spid="2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64662-7A48-4243-8DD0-F3BC7494DF84}"/>
              </a:ext>
            </a:extLst>
          </p:cNvPr>
          <p:cNvSpPr>
            <a:spLocks noGrp="1"/>
          </p:cNvSpPr>
          <p:nvPr>
            <p:ph type="title"/>
          </p:nvPr>
        </p:nvSpPr>
        <p:spPr/>
        <p:txBody>
          <a:bodyPr/>
          <a:lstStyle/>
          <a:p>
            <a:r>
              <a:rPr lang="en-US" dirty="0"/>
              <a:t>Factors Affecting Recovery Time</a:t>
            </a:r>
          </a:p>
        </p:txBody>
      </p:sp>
      <p:graphicFrame>
        <p:nvGraphicFramePr>
          <p:cNvPr id="4" name="Content Placeholder 3">
            <a:extLst>
              <a:ext uri="{FF2B5EF4-FFF2-40B4-BE49-F238E27FC236}">
                <a16:creationId xmlns:a16="http://schemas.microsoft.com/office/drawing/2014/main" id="{AFB5F888-008B-4020-8CE2-89D3A395718A}"/>
              </a:ext>
            </a:extLst>
          </p:cNvPr>
          <p:cNvGraphicFramePr>
            <a:graphicFrameLocks noGrp="1"/>
          </p:cNvGraphicFramePr>
          <p:nvPr>
            <p:ph sz="quarter" idx="13"/>
            <p:extLst>
              <p:ext uri="{D42A27DB-BD31-4B8C-83A1-F6EECF244321}">
                <p14:modId xmlns:p14="http://schemas.microsoft.com/office/powerpoint/2010/main" val="2011683050"/>
              </p:ext>
            </p:extLst>
          </p:nvPr>
        </p:nvGraphicFramePr>
        <p:xfrm>
          <a:off x="655638" y="1143000"/>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71291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US" b="1" dirty="0"/>
              <a:t>Point in Time Restore</a:t>
            </a:r>
          </a:p>
          <a:p>
            <a:pPr lvl="1"/>
            <a:r>
              <a:rPr lang="en-US" dirty="0"/>
              <a:t>Perform a point in time restore of a databas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048029213"/>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Point in time restore of an Azure SQL Databas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b="1" dirty="0"/>
              <a:t>Exercise 1</a:t>
            </a:r>
            <a:r>
              <a:rPr lang="en-US" dirty="0"/>
              <a:t>: Perform a point in time restore over the original database.</a:t>
            </a:r>
          </a:p>
          <a:p>
            <a:pPr marL="342900" indent="-342900">
              <a:buFont typeface="Arial" panose="020B0604020202020204" pitchFamily="34" charset="0"/>
              <a:buChar char="•"/>
            </a:pPr>
            <a:r>
              <a:rPr lang="en-US" b="1" dirty="0"/>
              <a:t>Exercise 2</a:t>
            </a:r>
            <a:r>
              <a:rPr lang="en-US" dirty="0"/>
              <a:t>: Rename old and new databases.</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861621179"/>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808899121"/>
              </p:ext>
            </p:extLst>
          </p:nvPr>
        </p:nvGraphicFramePr>
        <p:xfrm>
          <a:off x="655638" y="1408113"/>
          <a:ext cx="10880725" cy="2173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4A71D5C7-A7D6-46CE-B888-CF65241F6B98}"/>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9" y="2979777"/>
            <a:ext cx="7573962" cy="604798"/>
          </a:xfrm>
        </p:spPr>
        <p:txBody>
          <a:bodyPr/>
          <a:lstStyle/>
          <a:p>
            <a:r>
              <a:rPr lang="en-US" dirty="0"/>
              <a:t>Lesson 2: Disaster Recovery Features in Azure SQL Database</a:t>
            </a:r>
          </a:p>
        </p:txBody>
      </p:sp>
    </p:spTree>
    <p:extLst>
      <p:ext uri="{BB962C8B-B14F-4D97-AF65-F5344CB8AC3E}">
        <p14:creationId xmlns:p14="http://schemas.microsoft.com/office/powerpoint/2010/main" val="2894004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various disaster recovery options within Azure SQL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dirty="0"/>
              <a:t>Geo-Restore</a:t>
            </a:r>
            <a:br>
              <a:rPr lang="en-US" dirty="0"/>
            </a:br>
            <a:endParaRPr lang="en-US" dirty="0"/>
          </a:p>
        </p:txBody>
      </p:sp>
      <p:graphicFrame>
        <p:nvGraphicFramePr>
          <p:cNvPr id="92" name="Content Placeholder 91">
            <a:extLst>
              <a:ext uri="{FF2B5EF4-FFF2-40B4-BE49-F238E27FC236}">
                <a16:creationId xmlns:a16="http://schemas.microsoft.com/office/drawing/2014/main" id="{ECC6120E-4E3B-44BF-9498-F9EE5662E276}"/>
              </a:ext>
            </a:extLst>
          </p:cNvPr>
          <p:cNvGraphicFramePr>
            <a:graphicFrameLocks noGrp="1"/>
          </p:cNvGraphicFramePr>
          <p:nvPr>
            <p:ph sz="quarter" idx="13"/>
            <p:extLst>
              <p:ext uri="{D42A27DB-BD31-4B8C-83A1-F6EECF244321}">
                <p14:modId xmlns:p14="http://schemas.microsoft.com/office/powerpoint/2010/main" val="406156639"/>
              </p:ext>
            </p:extLst>
          </p:nvPr>
        </p:nvGraphicFramePr>
        <p:xfrm>
          <a:off x="655637" y="1408114"/>
          <a:ext cx="5440363"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65EC7809-FFFF-4901-80F1-BEB794F1F16F}"/>
              </a:ext>
            </a:extLst>
          </p:cNvPr>
          <p:cNvSpPr txBox="1"/>
          <p:nvPr/>
        </p:nvSpPr>
        <p:spPr>
          <a:xfrm>
            <a:off x="8208611" y="1794348"/>
            <a:ext cx="1363215" cy="280677"/>
          </a:xfrm>
          <a:prstGeom prst="rect">
            <a:avLst/>
          </a:prstGeom>
          <a:noFill/>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Geo- replicated</a:t>
            </a:r>
          </a:p>
        </p:txBody>
      </p:sp>
      <p:sp>
        <p:nvSpPr>
          <p:cNvPr id="6" name="TextBox 5">
            <a:extLst>
              <a:ext uri="{FF2B5EF4-FFF2-40B4-BE49-F238E27FC236}">
                <a16:creationId xmlns:a16="http://schemas.microsoft.com/office/drawing/2014/main" id="{DDA0629D-5F2B-4556-BE64-7D34299CC058}"/>
              </a:ext>
            </a:extLst>
          </p:cNvPr>
          <p:cNvSpPr txBox="1"/>
          <p:nvPr/>
        </p:nvSpPr>
        <p:spPr>
          <a:xfrm>
            <a:off x="8032355" y="5873536"/>
            <a:ext cx="2068198" cy="276999"/>
          </a:xfrm>
          <a:prstGeom prst="rect">
            <a:avLst/>
          </a:prstGeom>
          <a:noFill/>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Restore to any Azure region</a:t>
            </a:r>
          </a:p>
        </p:txBody>
      </p:sp>
      <p:sp>
        <p:nvSpPr>
          <p:cNvPr id="7" name="TextBox 6">
            <a:extLst>
              <a:ext uri="{FF2B5EF4-FFF2-40B4-BE49-F238E27FC236}">
                <a16:creationId xmlns:a16="http://schemas.microsoft.com/office/drawing/2014/main" id="{1F692426-4C6E-46F3-80CC-5138C77F6045}"/>
              </a:ext>
            </a:extLst>
          </p:cNvPr>
          <p:cNvSpPr txBox="1"/>
          <p:nvPr/>
        </p:nvSpPr>
        <p:spPr>
          <a:xfrm>
            <a:off x="6373106" y="2422144"/>
            <a:ext cx="1403240" cy="461665"/>
          </a:xfrm>
          <a:prstGeom prst="rect">
            <a:avLst/>
          </a:prstGeom>
          <a:noFill/>
        </p:spPr>
        <p:txBody>
          <a:bodyPr wrap="square" rtlCol="0">
            <a:spAutoFit/>
          </a:bodyPr>
          <a:lstStyle/>
          <a:p>
            <a:pPr algn="ctr" defTabSz="914554">
              <a:defRPr/>
            </a:pPr>
            <a:r>
              <a:rPr lang="en-US" sz="1200" kern="0">
                <a:solidFill>
                  <a:srgbClr val="0078D7"/>
                </a:solidFill>
                <a:latin typeface="Segoe UI Semilight" panose="020B0402040204020203" pitchFamily="34" charset="0"/>
                <a:cs typeface="Segoe UI Semilight" panose="020B0402040204020203" pitchFamily="34" charset="0"/>
              </a:rPr>
              <a:t>Azure SQL Database backups</a:t>
            </a:r>
          </a:p>
        </p:txBody>
      </p:sp>
      <p:grpSp>
        <p:nvGrpSpPr>
          <p:cNvPr id="8" name="Group 7">
            <a:extLst>
              <a:ext uri="{FF2B5EF4-FFF2-40B4-BE49-F238E27FC236}">
                <a16:creationId xmlns:a16="http://schemas.microsoft.com/office/drawing/2014/main" id="{E75A9523-6F7C-4F8F-B385-A120D51F159B}"/>
              </a:ext>
            </a:extLst>
          </p:cNvPr>
          <p:cNvGrpSpPr/>
          <p:nvPr/>
        </p:nvGrpSpPr>
        <p:grpSpPr>
          <a:xfrm>
            <a:off x="6455235" y="1524000"/>
            <a:ext cx="1328495" cy="841347"/>
            <a:chOff x="5622083" y="1843485"/>
            <a:chExt cx="1328495" cy="841347"/>
          </a:xfrm>
        </p:grpSpPr>
        <p:sp>
          <p:nvSpPr>
            <p:cNvPr id="9" name="TextBox 8">
              <a:extLst>
                <a:ext uri="{FF2B5EF4-FFF2-40B4-BE49-F238E27FC236}">
                  <a16:creationId xmlns:a16="http://schemas.microsoft.com/office/drawing/2014/main" id="{B3C5B47C-2DA1-4EF6-BA76-9FAAF972486B}"/>
                </a:ext>
              </a:extLst>
            </p:cNvPr>
            <p:cNvSpPr txBox="1"/>
            <p:nvPr/>
          </p:nvSpPr>
          <p:spPr>
            <a:xfrm>
              <a:off x="5837671" y="2287828"/>
              <a:ext cx="867761" cy="226194"/>
            </a:xfrm>
            <a:prstGeom prst="rect">
              <a:avLst/>
            </a:prstGeom>
            <a:solidFill>
              <a:srgbClr val="FFFFFF"/>
            </a:solidFill>
            <a:ln w="12700">
              <a:solidFill>
                <a:srgbClr val="0078D7"/>
              </a:solidFill>
            </a:ln>
          </p:spPr>
          <p:txBody>
            <a:bodyPr wrap="none" lIns="68579" tIns="34291" rIns="68579" bIns="34291" rtlCol="0">
              <a:spAutoFit/>
            </a:bodyPr>
            <a:lstStyle/>
            <a:p>
              <a:pPr marL="0" marR="0" lvl="0" indent="0" defTabSz="91428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rPr>
                <a:t>sabcp01bl21</a:t>
              </a:r>
            </a:p>
          </p:txBody>
        </p:sp>
        <p:sp>
          <p:nvSpPr>
            <p:cNvPr id="10" name="Freeform 146">
              <a:extLst>
                <a:ext uri="{FF2B5EF4-FFF2-40B4-BE49-F238E27FC236}">
                  <a16:creationId xmlns:a16="http://schemas.microsoft.com/office/drawing/2014/main" id="{9AE976FF-2CDD-4128-BB91-7789CFC26AB7}"/>
                </a:ext>
              </a:extLst>
            </p:cNvPr>
            <p:cNvSpPr>
              <a:spLocks noChangeAspect="1"/>
            </p:cNvSpPr>
            <p:nvPr/>
          </p:nvSpPr>
          <p:spPr bwMode="auto">
            <a:xfrm>
              <a:off x="5622083" y="1843485"/>
              <a:ext cx="1328495" cy="84134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AFDC98FA-FB88-434F-80B8-8B10005F72D9}"/>
              </a:ext>
            </a:extLst>
          </p:cNvPr>
          <p:cNvSpPr txBox="1"/>
          <p:nvPr/>
        </p:nvSpPr>
        <p:spPr>
          <a:xfrm>
            <a:off x="10019376" y="2422144"/>
            <a:ext cx="1403240" cy="276999"/>
          </a:xfrm>
          <a:prstGeom prst="rect">
            <a:avLst/>
          </a:prstGeom>
          <a:noFill/>
        </p:spPr>
        <p:txBody>
          <a:bodyPr wrap="square" rtlCol="0">
            <a:spAutoFit/>
          </a:bodyPr>
          <a:lstStyle/>
          <a:p>
            <a:pPr algn="ctr" defTabSz="914554">
              <a:defRPr/>
            </a:pPr>
            <a:r>
              <a:rPr lang="en-US" sz="1200" kern="0">
                <a:solidFill>
                  <a:srgbClr val="0078D7"/>
                </a:solidFill>
                <a:latin typeface="Segoe UI Semilight" panose="020B0402040204020203" pitchFamily="34" charset="0"/>
                <a:cs typeface="Segoe UI Semilight" panose="020B0402040204020203" pitchFamily="34" charset="0"/>
              </a:rPr>
              <a:t>Azure storage</a:t>
            </a:r>
          </a:p>
        </p:txBody>
      </p:sp>
      <p:grpSp>
        <p:nvGrpSpPr>
          <p:cNvPr id="12" name="Group 11">
            <a:extLst>
              <a:ext uri="{FF2B5EF4-FFF2-40B4-BE49-F238E27FC236}">
                <a16:creationId xmlns:a16="http://schemas.microsoft.com/office/drawing/2014/main" id="{76A8BF05-36B4-4848-90C1-5353627232C3}"/>
              </a:ext>
            </a:extLst>
          </p:cNvPr>
          <p:cNvGrpSpPr/>
          <p:nvPr/>
        </p:nvGrpSpPr>
        <p:grpSpPr>
          <a:xfrm>
            <a:off x="10101505" y="1524000"/>
            <a:ext cx="1328495" cy="841347"/>
            <a:chOff x="9268353" y="1843485"/>
            <a:chExt cx="1328495" cy="841347"/>
          </a:xfrm>
        </p:grpSpPr>
        <p:sp>
          <p:nvSpPr>
            <p:cNvPr id="13" name="TextBox 12">
              <a:extLst>
                <a:ext uri="{FF2B5EF4-FFF2-40B4-BE49-F238E27FC236}">
                  <a16:creationId xmlns:a16="http://schemas.microsoft.com/office/drawing/2014/main" id="{EB70BF69-73D4-40E1-8185-F7E7CE4DA0E0}"/>
                </a:ext>
              </a:extLst>
            </p:cNvPr>
            <p:cNvSpPr txBox="1"/>
            <p:nvPr/>
          </p:nvSpPr>
          <p:spPr>
            <a:xfrm>
              <a:off x="9484659" y="2287828"/>
              <a:ext cx="867761" cy="226194"/>
            </a:xfrm>
            <a:prstGeom prst="rect">
              <a:avLst/>
            </a:prstGeom>
            <a:solidFill>
              <a:srgbClr val="FFFFFF"/>
            </a:solidFill>
            <a:ln w="12700">
              <a:solidFill>
                <a:srgbClr val="0078D7"/>
              </a:solidFill>
            </a:ln>
          </p:spPr>
          <p:txBody>
            <a:bodyPr wrap="none" lIns="68579" tIns="34291" rIns="68579" bIns="34291" rtlCol="0">
              <a:spAutoFit/>
            </a:bodyPr>
            <a:lstStyle/>
            <a:p>
              <a:pPr marL="0" marR="0" lvl="0" indent="0" defTabSz="91428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78D7"/>
                  </a:solidFill>
                  <a:effectLst/>
                  <a:uLnTx/>
                  <a:uFillTx/>
                </a:rPr>
                <a:t>sabcp01bl21</a:t>
              </a:r>
            </a:p>
          </p:txBody>
        </p:sp>
        <p:sp>
          <p:nvSpPr>
            <p:cNvPr id="14" name="Freeform 146">
              <a:extLst>
                <a:ext uri="{FF2B5EF4-FFF2-40B4-BE49-F238E27FC236}">
                  <a16:creationId xmlns:a16="http://schemas.microsoft.com/office/drawing/2014/main" id="{D883BEC0-F7BA-44F9-87B6-6BA594A2F2D8}"/>
                </a:ext>
              </a:extLst>
            </p:cNvPr>
            <p:cNvSpPr>
              <a:spLocks noChangeAspect="1"/>
            </p:cNvSpPr>
            <p:nvPr/>
          </p:nvSpPr>
          <p:spPr bwMode="auto">
            <a:xfrm>
              <a:off x="9268353" y="1843485"/>
              <a:ext cx="1328495" cy="84134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a:extLst>
              <a:ext uri="{FF2B5EF4-FFF2-40B4-BE49-F238E27FC236}">
                <a16:creationId xmlns:a16="http://schemas.microsoft.com/office/drawing/2014/main" id="{7F86424E-EAC7-41D2-B60B-3F3741E2132A}"/>
              </a:ext>
            </a:extLst>
          </p:cNvPr>
          <p:cNvGrpSpPr/>
          <p:nvPr/>
        </p:nvGrpSpPr>
        <p:grpSpPr>
          <a:xfrm>
            <a:off x="6546965" y="3373672"/>
            <a:ext cx="4554898" cy="2499864"/>
            <a:chOff x="6516974" y="4720106"/>
            <a:chExt cx="3309198" cy="1816186"/>
          </a:xfrm>
        </p:grpSpPr>
        <p:sp>
          <p:nvSpPr>
            <p:cNvPr id="16" name="Freeform: Shape 15">
              <a:extLst>
                <a:ext uri="{FF2B5EF4-FFF2-40B4-BE49-F238E27FC236}">
                  <a16:creationId xmlns:a16="http://schemas.microsoft.com/office/drawing/2014/main" id="{087FD3C5-49CB-4D8B-8D5B-7A0BF6547B6F}"/>
                </a:ext>
              </a:extLst>
            </p:cNvPr>
            <p:cNvSpPr>
              <a:spLocks/>
            </p:cNvSpPr>
            <p:nvPr/>
          </p:nvSpPr>
          <p:spPr bwMode="auto">
            <a:xfrm>
              <a:off x="6516974" y="4720106"/>
              <a:ext cx="3309198" cy="1816186"/>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D2D2D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 name="Oval 16">
              <a:extLst>
                <a:ext uri="{FF2B5EF4-FFF2-40B4-BE49-F238E27FC236}">
                  <a16:creationId xmlns:a16="http://schemas.microsoft.com/office/drawing/2014/main" id="{9F80059D-43C9-41AE-9041-DBEE6194C971}"/>
                </a:ext>
              </a:extLst>
            </p:cNvPr>
            <p:cNvSpPr/>
            <p:nvPr/>
          </p:nvSpPr>
          <p:spPr bwMode="auto">
            <a:xfrm>
              <a:off x="6888779" y="5343315"/>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Oval 17">
              <a:extLst>
                <a:ext uri="{FF2B5EF4-FFF2-40B4-BE49-F238E27FC236}">
                  <a16:creationId xmlns:a16="http://schemas.microsoft.com/office/drawing/2014/main" id="{D677D826-154F-4D00-9198-E4EAFD4E3D32}"/>
                </a:ext>
              </a:extLst>
            </p:cNvPr>
            <p:cNvSpPr/>
            <p:nvPr/>
          </p:nvSpPr>
          <p:spPr bwMode="auto">
            <a:xfrm>
              <a:off x="7104259" y="5466000"/>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Oval 18">
              <a:extLst>
                <a:ext uri="{FF2B5EF4-FFF2-40B4-BE49-F238E27FC236}">
                  <a16:creationId xmlns:a16="http://schemas.microsoft.com/office/drawing/2014/main" id="{AED765B2-036C-4183-8F3F-1E9921A01AF7}"/>
                </a:ext>
              </a:extLst>
            </p:cNvPr>
            <p:cNvSpPr/>
            <p:nvPr/>
          </p:nvSpPr>
          <p:spPr bwMode="auto">
            <a:xfrm>
              <a:off x="7259444" y="5199459"/>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Oval 19">
              <a:extLst>
                <a:ext uri="{FF2B5EF4-FFF2-40B4-BE49-F238E27FC236}">
                  <a16:creationId xmlns:a16="http://schemas.microsoft.com/office/drawing/2014/main" id="{BE0B865F-26EB-40AD-95A0-7ADD0C28CD0E}"/>
                </a:ext>
              </a:extLst>
            </p:cNvPr>
            <p:cNvSpPr/>
            <p:nvPr/>
          </p:nvSpPr>
          <p:spPr bwMode="auto">
            <a:xfrm>
              <a:off x="7414226" y="5300710"/>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Oval 20">
              <a:extLst>
                <a:ext uri="{FF2B5EF4-FFF2-40B4-BE49-F238E27FC236}">
                  <a16:creationId xmlns:a16="http://schemas.microsoft.com/office/drawing/2014/main" id="{49F17E82-A1F4-4FD9-87CF-7183D0BD8DD6}"/>
                </a:ext>
              </a:extLst>
            </p:cNvPr>
            <p:cNvSpPr/>
            <p:nvPr/>
          </p:nvSpPr>
          <p:spPr bwMode="auto">
            <a:xfrm>
              <a:off x="9400479" y="6229226"/>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Oval 21">
              <a:extLst>
                <a:ext uri="{FF2B5EF4-FFF2-40B4-BE49-F238E27FC236}">
                  <a16:creationId xmlns:a16="http://schemas.microsoft.com/office/drawing/2014/main" id="{87EA5CD0-9A18-41D1-806E-270D1E852830}"/>
                </a:ext>
              </a:extLst>
            </p:cNvPr>
            <p:cNvSpPr/>
            <p:nvPr/>
          </p:nvSpPr>
          <p:spPr bwMode="auto">
            <a:xfrm>
              <a:off x="9363450" y="6026468"/>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Oval 22">
              <a:extLst>
                <a:ext uri="{FF2B5EF4-FFF2-40B4-BE49-F238E27FC236}">
                  <a16:creationId xmlns:a16="http://schemas.microsoft.com/office/drawing/2014/main" id="{74E44C89-B24D-4C89-9CA1-27000E730200}"/>
                </a:ext>
              </a:extLst>
            </p:cNvPr>
            <p:cNvSpPr/>
            <p:nvPr/>
          </p:nvSpPr>
          <p:spPr bwMode="auto">
            <a:xfrm>
              <a:off x="9100283" y="5824008"/>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 name="Oval 23">
              <a:extLst>
                <a:ext uri="{FF2B5EF4-FFF2-40B4-BE49-F238E27FC236}">
                  <a16:creationId xmlns:a16="http://schemas.microsoft.com/office/drawing/2014/main" id="{875B8CE1-A2BE-4E03-8B5F-4BD65276BA5C}"/>
                </a:ext>
              </a:extLst>
            </p:cNvPr>
            <p:cNvSpPr/>
            <p:nvPr/>
          </p:nvSpPr>
          <p:spPr bwMode="auto">
            <a:xfrm>
              <a:off x="9319253" y="5420669"/>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 name="Oval 24">
              <a:extLst>
                <a:ext uri="{FF2B5EF4-FFF2-40B4-BE49-F238E27FC236}">
                  <a16:creationId xmlns:a16="http://schemas.microsoft.com/office/drawing/2014/main" id="{BF9487DD-F926-4B1A-A47D-35560BDAC678}"/>
                </a:ext>
              </a:extLst>
            </p:cNvPr>
            <p:cNvSpPr/>
            <p:nvPr/>
          </p:nvSpPr>
          <p:spPr bwMode="auto">
            <a:xfrm>
              <a:off x="9056103" y="5341864"/>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 name="Oval 25">
              <a:extLst>
                <a:ext uri="{FF2B5EF4-FFF2-40B4-BE49-F238E27FC236}">
                  <a16:creationId xmlns:a16="http://schemas.microsoft.com/office/drawing/2014/main" id="{F1F65443-7509-4268-BB34-8BC87E85A59B}"/>
                </a:ext>
              </a:extLst>
            </p:cNvPr>
            <p:cNvSpPr/>
            <p:nvPr/>
          </p:nvSpPr>
          <p:spPr bwMode="auto">
            <a:xfrm>
              <a:off x="9543814" y="5144835"/>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Oval 26">
              <a:extLst>
                <a:ext uri="{FF2B5EF4-FFF2-40B4-BE49-F238E27FC236}">
                  <a16:creationId xmlns:a16="http://schemas.microsoft.com/office/drawing/2014/main" id="{E91428BD-6E60-426A-8F22-D21E26D81DC6}"/>
                </a:ext>
              </a:extLst>
            </p:cNvPr>
            <p:cNvSpPr/>
            <p:nvPr/>
          </p:nvSpPr>
          <p:spPr bwMode="auto">
            <a:xfrm>
              <a:off x="9359892" y="5185455"/>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Oval 27">
              <a:extLst>
                <a:ext uri="{FF2B5EF4-FFF2-40B4-BE49-F238E27FC236}">
                  <a16:creationId xmlns:a16="http://schemas.microsoft.com/office/drawing/2014/main" id="{1D633545-28DA-4EE7-8013-C52F527D8F61}"/>
                </a:ext>
              </a:extLst>
            </p:cNvPr>
            <p:cNvSpPr/>
            <p:nvPr/>
          </p:nvSpPr>
          <p:spPr bwMode="auto">
            <a:xfrm>
              <a:off x="9144413" y="5062763"/>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9" name="Oval 28">
              <a:extLst>
                <a:ext uri="{FF2B5EF4-FFF2-40B4-BE49-F238E27FC236}">
                  <a16:creationId xmlns:a16="http://schemas.microsoft.com/office/drawing/2014/main" id="{98F9CF27-02D4-471C-931F-AEFA23E1B1AD}"/>
                </a:ext>
              </a:extLst>
            </p:cNvPr>
            <p:cNvSpPr/>
            <p:nvPr/>
          </p:nvSpPr>
          <p:spPr bwMode="auto">
            <a:xfrm>
              <a:off x="7594573" y="5988267"/>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Oval 29">
              <a:extLst>
                <a:ext uri="{FF2B5EF4-FFF2-40B4-BE49-F238E27FC236}">
                  <a16:creationId xmlns:a16="http://schemas.microsoft.com/office/drawing/2014/main" id="{28A6F7CE-B4A5-46A3-A43C-B5F700A36C46}"/>
                </a:ext>
              </a:extLst>
            </p:cNvPr>
            <p:cNvSpPr/>
            <p:nvPr/>
          </p:nvSpPr>
          <p:spPr bwMode="auto">
            <a:xfrm>
              <a:off x="6912862" y="5367398"/>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1" name="Oval 30">
              <a:extLst>
                <a:ext uri="{FF2B5EF4-FFF2-40B4-BE49-F238E27FC236}">
                  <a16:creationId xmlns:a16="http://schemas.microsoft.com/office/drawing/2014/main" id="{AC816069-6F70-4BC8-A8AF-B9D1D1274D25}"/>
                </a:ext>
              </a:extLst>
            </p:cNvPr>
            <p:cNvSpPr/>
            <p:nvPr/>
          </p:nvSpPr>
          <p:spPr bwMode="auto">
            <a:xfrm>
              <a:off x="7128342" y="5490083"/>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Oval 31">
              <a:extLst>
                <a:ext uri="{FF2B5EF4-FFF2-40B4-BE49-F238E27FC236}">
                  <a16:creationId xmlns:a16="http://schemas.microsoft.com/office/drawing/2014/main" id="{289F2A01-45B7-44F4-A5F4-D059741540C6}"/>
                </a:ext>
              </a:extLst>
            </p:cNvPr>
            <p:cNvSpPr/>
            <p:nvPr/>
          </p:nvSpPr>
          <p:spPr bwMode="auto">
            <a:xfrm>
              <a:off x="7283527" y="5223542"/>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 name="Oval 32">
              <a:extLst>
                <a:ext uri="{FF2B5EF4-FFF2-40B4-BE49-F238E27FC236}">
                  <a16:creationId xmlns:a16="http://schemas.microsoft.com/office/drawing/2014/main" id="{5D8084E6-A458-45A1-B950-D5BB3C7F2497}"/>
                </a:ext>
              </a:extLst>
            </p:cNvPr>
            <p:cNvSpPr/>
            <p:nvPr/>
          </p:nvSpPr>
          <p:spPr bwMode="auto">
            <a:xfrm>
              <a:off x="7438309" y="5324793"/>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Oval 33">
              <a:extLst>
                <a:ext uri="{FF2B5EF4-FFF2-40B4-BE49-F238E27FC236}">
                  <a16:creationId xmlns:a16="http://schemas.microsoft.com/office/drawing/2014/main" id="{297A3626-D789-404F-9708-9E0ADF2C8D2F}"/>
                </a:ext>
              </a:extLst>
            </p:cNvPr>
            <p:cNvSpPr/>
            <p:nvPr/>
          </p:nvSpPr>
          <p:spPr bwMode="auto">
            <a:xfrm>
              <a:off x="9424562" y="6253309"/>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5" name="Oval 34">
              <a:extLst>
                <a:ext uri="{FF2B5EF4-FFF2-40B4-BE49-F238E27FC236}">
                  <a16:creationId xmlns:a16="http://schemas.microsoft.com/office/drawing/2014/main" id="{82A9FA5E-4F2F-403A-91E7-47841D45C606}"/>
                </a:ext>
              </a:extLst>
            </p:cNvPr>
            <p:cNvSpPr/>
            <p:nvPr/>
          </p:nvSpPr>
          <p:spPr bwMode="auto">
            <a:xfrm>
              <a:off x="9387533" y="6050551"/>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Oval 35">
              <a:extLst>
                <a:ext uri="{FF2B5EF4-FFF2-40B4-BE49-F238E27FC236}">
                  <a16:creationId xmlns:a16="http://schemas.microsoft.com/office/drawing/2014/main" id="{D74AD5F6-DEB5-4853-926C-7C60D3A622D7}"/>
                </a:ext>
              </a:extLst>
            </p:cNvPr>
            <p:cNvSpPr/>
            <p:nvPr/>
          </p:nvSpPr>
          <p:spPr bwMode="auto">
            <a:xfrm>
              <a:off x="9124366" y="5848091"/>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 name="Oval 36">
              <a:extLst>
                <a:ext uri="{FF2B5EF4-FFF2-40B4-BE49-F238E27FC236}">
                  <a16:creationId xmlns:a16="http://schemas.microsoft.com/office/drawing/2014/main" id="{269489CE-46E6-4598-9204-0784BBE9D35F}"/>
                </a:ext>
              </a:extLst>
            </p:cNvPr>
            <p:cNvSpPr/>
            <p:nvPr/>
          </p:nvSpPr>
          <p:spPr bwMode="auto">
            <a:xfrm>
              <a:off x="9343336" y="5444752"/>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8" name="Oval 37">
              <a:extLst>
                <a:ext uri="{FF2B5EF4-FFF2-40B4-BE49-F238E27FC236}">
                  <a16:creationId xmlns:a16="http://schemas.microsoft.com/office/drawing/2014/main" id="{E4C8AA83-B252-4DD8-8067-9E59D5546A9C}"/>
                </a:ext>
              </a:extLst>
            </p:cNvPr>
            <p:cNvSpPr/>
            <p:nvPr/>
          </p:nvSpPr>
          <p:spPr bwMode="auto">
            <a:xfrm>
              <a:off x="9080186" y="5365947"/>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 name="Oval 38">
              <a:extLst>
                <a:ext uri="{FF2B5EF4-FFF2-40B4-BE49-F238E27FC236}">
                  <a16:creationId xmlns:a16="http://schemas.microsoft.com/office/drawing/2014/main" id="{85B17748-C91B-44BD-902F-2C05646E9031}"/>
                </a:ext>
              </a:extLst>
            </p:cNvPr>
            <p:cNvSpPr/>
            <p:nvPr/>
          </p:nvSpPr>
          <p:spPr bwMode="auto">
            <a:xfrm>
              <a:off x="9567897" y="5168918"/>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0" name="Oval 39">
              <a:extLst>
                <a:ext uri="{FF2B5EF4-FFF2-40B4-BE49-F238E27FC236}">
                  <a16:creationId xmlns:a16="http://schemas.microsoft.com/office/drawing/2014/main" id="{4EF07C0A-DC08-478F-BDD5-26444B7FB2BC}"/>
                </a:ext>
              </a:extLst>
            </p:cNvPr>
            <p:cNvSpPr/>
            <p:nvPr/>
          </p:nvSpPr>
          <p:spPr bwMode="auto">
            <a:xfrm>
              <a:off x="9383975" y="5209538"/>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Oval 40">
              <a:extLst>
                <a:ext uri="{FF2B5EF4-FFF2-40B4-BE49-F238E27FC236}">
                  <a16:creationId xmlns:a16="http://schemas.microsoft.com/office/drawing/2014/main" id="{87949E6E-722F-42D3-A9D9-9167F6C40C2A}"/>
                </a:ext>
              </a:extLst>
            </p:cNvPr>
            <p:cNvSpPr/>
            <p:nvPr/>
          </p:nvSpPr>
          <p:spPr bwMode="auto">
            <a:xfrm>
              <a:off x="9168496" y="5086846"/>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Oval 41">
              <a:extLst>
                <a:ext uri="{FF2B5EF4-FFF2-40B4-BE49-F238E27FC236}">
                  <a16:creationId xmlns:a16="http://schemas.microsoft.com/office/drawing/2014/main" id="{496359FC-634F-4D09-B21F-E9569131888D}"/>
                </a:ext>
              </a:extLst>
            </p:cNvPr>
            <p:cNvSpPr/>
            <p:nvPr/>
          </p:nvSpPr>
          <p:spPr bwMode="auto">
            <a:xfrm>
              <a:off x="7618656" y="6012350"/>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Oval 42">
              <a:extLst>
                <a:ext uri="{FF2B5EF4-FFF2-40B4-BE49-F238E27FC236}">
                  <a16:creationId xmlns:a16="http://schemas.microsoft.com/office/drawing/2014/main" id="{E3DCE4E9-B9B2-4656-8C14-1369C55AD358}"/>
                </a:ext>
              </a:extLst>
            </p:cNvPr>
            <p:cNvSpPr/>
            <p:nvPr/>
          </p:nvSpPr>
          <p:spPr bwMode="auto">
            <a:xfrm>
              <a:off x="8219381" y="5220519"/>
              <a:ext cx="90287" cy="90287"/>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Oval 43">
              <a:extLst>
                <a:ext uri="{FF2B5EF4-FFF2-40B4-BE49-F238E27FC236}">
                  <a16:creationId xmlns:a16="http://schemas.microsoft.com/office/drawing/2014/main" id="{75032BA5-1265-4753-9037-9AD026ED855C}"/>
                </a:ext>
              </a:extLst>
            </p:cNvPr>
            <p:cNvSpPr/>
            <p:nvPr/>
          </p:nvSpPr>
          <p:spPr bwMode="auto">
            <a:xfrm>
              <a:off x="8243464" y="5244601"/>
              <a:ext cx="42120" cy="4212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39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5" name="Cylinder 513">
            <a:extLst>
              <a:ext uri="{FF2B5EF4-FFF2-40B4-BE49-F238E27FC236}">
                <a16:creationId xmlns:a16="http://schemas.microsoft.com/office/drawing/2014/main" id="{BE2F2CF4-830C-4C6A-AD61-69D2E391D6A9}"/>
              </a:ext>
            </a:extLst>
          </p:cNvPr>
          <p:cNvSpPr/>
          <p:nvPr/>
        </p:nvSpPr>
        <p:spPr bwMode="auto">
          <a:xfrm>
            <a:off x="8135696" y="2457306"/>
            <a:ext cx="324644" cy="426503"/>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46" name="Group 45">
            <a:extLst>
              <a:ext uri="{FF2B5EF4-FFF2-40B4-BE49-F238E27FC236}">
                <a16:creationId xmlns:a16="http://schemas.microsoft.com/office/drawing/2014/main" id="{5982FC51-53E7-41C1-A9E5-614D980B36D5}"/>
              </a:ext>
            </a:extLst>
          </p:cNvPr>
          <p:cNvGrpSpPr/>
          <p:nvPr/>
        </p:nvGrpSpPr>
        <p:grpSpPr>
          <a:xfrm>
            <a:off x="8519063" y="2478659"/>
            <a:ext cx="402639" cy="361232"/>
            <a:chOff x="1275510" y="6072184"/>
            <a:chExt cx="508602" cy="456298"/>
          </a:xfrm>
        </p:grpSpPr>
        <p:grpSp>
          <p:nvGrpSpPr>
            <p:cNvPr id="47" name="Group 46">
              <a:extLst>
                <a:ext uri="{FF2B5EF4-FFF2-40B4-BE49-F238E27FC236}">
                  <a16:creationId xmlns:a16="http://schemas.microsoft.com/office/drawing/2014/main" id="{6A7B2389-70F4-4204-802D-F8017B6FBD73}"/>
                </a:ext>
              </a:extLst>
            </p:cNvPr>
            <p:cNvGrpSpPr/>
            <p:nvPr/>
          </p:nvGrpSpPr>
          <p:grpSpPr>
            <a:xfrm>
              <a:off x="1275510" y="6224584"/>
              <a:ext cx="508602" cy="151498"/>
              <a:chOff x="551886" y="4945335"/>
              <a:chExt cx="508602" cy="151498"/>
            </a:xfrm>
          </p:grpSpPr>
          <p:sp>
            <p:nvSpPr>
              <p:cNvPr id="56" name="Rectangle 55">
                <a:extLst>
                  <a:ext uri="{FF2B5EF4-FFF2-40B4-BE49-F238E27FC236}">
                    <a16:creationId xmlns:a16="http://schemas.microsoft.com/office/drawing/2014/main" id="{F530F6CA-8C59-4B0D-9F1C-B4963C3DA28C}"/>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a:extLst>
                  <a:ext uri="{FF2B5EF4-FFF2-40B4-BE49-F238E27FC236}">
                    <a16:creationId xmlns:a16="http://schemas.microsoft.com/office/drawing/2014/main" id="{09CDF16D-3D67-49D8-B13A-DC1C4B54CFED}"/>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F3390C5A-EA8D-484F-9664-716701F35505}"/>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48" name="Group 47">
              <a:extLst>
                <a:ext uri="{FF2B5EF4-FFF2-40B4-BE49-F238E27FC236}">
                  <a16:creationId xmlns:a16="http://schemas.microsoft.com/office/drawing/2014/main" id="{01604AF0-FD3C-4867-B0E5-7612489C3416}"/>
                </a:ext>
              </a:extLst>
            </p:cNvPr>
            <p:cNvGrpSpPr/>
            <p:nvPr/>
          </p:nvGrpSpPr>
          <p:grpSpPr>
            <a:xfrm>
              <a:off x="1275510" y="6376984"/>
              <a:ext cx="508602" cy="151498"/>
              <a:chOff x="551886" y="4945335"/>
              <a:chExt cx="508602" cy="151498"/>
            </a:xfrm>
          </p:grpSpPr>
          <p:sp>
            <p:nvSpPr>
              <p:cNvPr id="53" name="Rectangle 52">
                <a:extLst>
                  <a:ext uri="{FF2B5EF4-FFF2-40B4-BE49-F238E27FC236}">
                    <a16:creationId xmlns:a16="http://schemas.microsoft.com/office/drawing/2014/main" id="{BCD05A13-E35A-4097-90EC-A3425484902F}"/>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4" name="Oval 53">
                <a:extLst>
                  <a:ext uri="{FF2B5EF4-FFF2-40B4-BE49-F238E27FC236}">
                    <a16:creationId xmlns:a16="http://schemas.microsoft.com/office/drawing/2014/main" id="{5D561930-6719-41A4-83D8-AF9FAA659C99}"/>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5" name="Straight Connector 54">
                <a:extLst>
                  <a:ext uri="{FF2B5EF4-FFF2-40B4-BE49-F238E27FC236}">
                    <a16:creationId xmlns:a16="http://schemas.microsoft.com/office/drawing/2014/main" id="{AD95EDED-1874-4DF6-9C1A-2C6E3A41FEA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49" name="Group 48">
              <a:extLst>
                <a:ext uri="{FF2B5EF4-FFF2-40B4-BE49-F238E27FC236}">
                  <a16:creationId xmlns:a16="http://schemas.microsoft.com/office/drawing/2014/main" id="{361A4055-FA91-4FF5-A890-6A17A4E90661}"/>
                </a:ext>
              </a:extLst>
            </p:cNvPr>
            <p:cNvGrpSpPr/>
            <p:nvPr/>
          </p:nvGrpSpPr>
          <p:grpSpPr>
            <a:xfrm>
              <a:off x="1275510" y="6072184"/>
              <a:ext cx="508602" cy="151498"/>
              <a:chOff x="551886" y="4945335"/>
              <a:chExt cx="508602" cy="151498"/>
            </a:xfrm>
          </p:grpSpPr>
          <p:sp>
            <p:nvSpPr>
              <p:cNvPr id="50" name="Rectangle 49">
                <a:extLst>
                  <a:ext uri="{FF2B5EF4-FFF2-40B4-BE49-F238E27FC236}">
                    <a16:creationId xmlns:a16="http://schemas.microsoft.com/office/drawing/2014/main" id="{0AD439FC-EF14-4BD0-A569-A83406E22273}"/>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1" name="Oval 50">
                <a:extLst>
                  <a:ext uri="{FF2B5EF4-FFF2-40B4-BE49-F238E27FC236}">
                    <a16:creationId xmlns:a16="http://schemas.microsoft.com/office/drawing/2014/main" id="{DEB5385F-A4B9-47DE-8A51-885772CD492E}"/>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2" name="Straight Connector 51">
                <a:extLst>
                  <a:ext uri="{FF2B5EF4-FFF2-40B4-BE49-F238E27FC236}">
                    <a16:creationId xmlns:a16="http://schemas.microsoft.com/office/drawing/2014/main" id="{5A7A5CD9-57B1-44A9-B62B-C524B0803150}"/>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cxnSp>
        <p:nvCxnSpPr>
          <p:cNvPr id="59" name="Straight Arrow Connector 58">
            <a:extLst>
              <a:ext uri="{FF2B5EF4-FFF2-40B4-BE49-F238E27FC236}">
                <a16:creationId xmlns:a16="http://schemas.microsoft.com/office/drawing/2014/main" id="{D86406EA-D67D-42B6-A724-00B077B99924}"/>
              </a:ext>
            </a:extLst>
          </p:cNvPr>
          <p:cNvCxnSpPr>
            <a:cxnSpLocks/>
          </p:cNvCxnSpPr>
          <p:nvPr/>
        </p:nvCxnSpPr>
        <p:spPr>
          <a:xfrm>
            <a:off x="7931903" y="2085909"/>
            <a:ext cx="1886694" cy="0"/>
          </a:xfrm>
          <a:prstGeom prst="straightConnector1">
            <a:avLst/>
          </a:prstGeom>
          <a:noFill/>
          <a:ln w="12700" cap="flat" cmpd="sng" algn="ctr">
            <a:solidFill>
              <a:srgbClr val="0078D7"/>
            </a:solidFill>
            <a:prstDash val="solid"/>
            <a:headEnd type="none"/>
            <a:tailEnd type="triangle"/>
          </a:ln>
          <a:effectLst/>
        </p:spPr>
      </p:cxnSp>
      <p:sp>
        <p:nvSpPr>
          <p:cNvPr id="60" name="Cylinder 513">
            <a:extLst>
              <a:ext uri="{FF2B5EF4-FFF2-40B4-BE49-F238E27FC236}">
                <a16:creationId xmlns:a16="http://schemas.microsoft.com/office/drawing/2014/main" id="{AFA33722-52B5-449A-818F-AE783FD9F514}"/>
              </a:ext>
            </a:extLst>
          </p:cNvPr>
          <p:cNvSpPr/>
          <p:nvPr/>
        </p:nvSpPr>
        <p:spPr bwMode="auto">
          <a:xfrm>
            <a:off x="10722177" y="5205832"/>
            <a:ext cx="186524" cy="245047"/>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61" name="Group 60">
            <a:extLst>
              <a:ext uri="{FF2B5EF4-FFF2-40B4-BE49-F238E27FC236}">
                <a16:creationId xmlns:a16="http://schemas.microsoft.com/office/drawing/2014/main" id="{BF3169AC-C653-477A-A0BA-48CB220DD4BF}"/>
              </a:ext>
            </a:extLst>
          </p:cNvPr>
          <p:cNvGrpSpPr/>
          <p:nvPr/>
        </p:nvGrpSpPr>
        <p:grpSpPr>
          <a:xfrm>
            <a:off x="10942440" y="5218100"/>
            <a:ext cx="231336" cy="207546"/>
            <a:chOff x="1275510" y="6072184"/>
            <a:chExt cx="508602" cy="456298"/>
          </a:xfrm>
        </p:grpSpPr>
        <p:grpSp>
          <p:nvGrpSpPr>
            <p:cNvPr id="62" name="Group 61">
              <a:extLst>
                <a:ext uri="{FF2B5EF4-FFF2-40B4-BE49-F238E27FC236}">
                  <a16:creationId xmlns:a16="http://schemas.microsoft.com/office/drawing/2014/main" id="{7E22670F-C87B-4182-9C15-1762B2435C25}"/>
                </a:ext>
              </a:extLst>
            </p:cNvPr>
            <p:cNvGrpSpPr/>
            <p:nvPr/>
          </p:nvGrpSpPr>
          <p:grpSpPr>
            <a:xfrm>
              <a:off x="1275510" y="6224584"/>
              <a:ext cx="508602" cy="151498"/>
              <a:chOff x="551886" y="4945335"/>
              <a:chExt cx="508602" cy="151498"/>
            </a:xfrm>
          </p:grpSpPr>
          <p:sp>
            <p:nvSpPr>
              <p:cNvPr id="71" name="Rectangle 70">
                <a:extLst>
                  <a:ext uri="{FF2B5EF4-FFF2-40B4-BE49-F238E27FC236}">
                    <a16:creationId xmlns:a16="http://schemas.microsoft.com/office/drawing/2014/main" id="{2AFA3A12-F3C4-4DF8-AFD0-3CCC2E4F74D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2" name="Oval 71">
                <a:extLst>
                  <a:ext uri="{FF2B5EF4-FFF2-40B4-BE49-F238E27FC236}">
                    <a16:creationId xmlns:a16="http://schemas.microsoft.com/office/drawing/2014/main" id="{51C1ABD4-56CF-4C9D-8A77-58E5D4B433AC}"/>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3" name="Straight Connector 72">
                <a:extLst>
                  <a:ext uri="{FF2B5EF4-FFF2-40B4-BE49-F238E27FC236}">
                    <a16:creationId xmlns:a16="http://schemas.microsoft.com/office/drawing/2014/main" id="{66B7AADA-294D-4B1F-8611-70D162409B5B}"/>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63" name="Group 62">
              <a:extLst>
                <a:ext uri="{FF2B5EF4-FFF2-40B4-BE49-F238E27FC236}">
                  <a16:creationId xmlns:a16="http://schemas.microsoft.com/office/drawing/2014/main" id="{086F8003-929F-4769-B295-FE7D5AD44765}"/>
                </a:ext>
              </a:extLst>
            </p:cNvPr>
            <p:cNvGrpSpPr/>
            <p:nvPr/>
          </p:nvGrpSpPr>
          <p:grpSpPr>
            <a:xfrm>
              <a:off x="1275510" y="6376984"/>
              <a:ext cx="508602" cy="151498"/>
              <a:chOff x="551886" y="4945335"/>
              <a:chExt cx="508602" cy="151498"/>
            </a:xfrm>
          </p:grpSpPr>
          <p:sp>
            <p:nvSpPr>
              <p:cNvPr id="68" name="Rectangle 67">
                <a:extLst>
                  <a:ext uri="{FF2B5EF4-FFF2-40B4-BE49-F238E27FC236}">
                    <a16:creationId xmlns:a16="http://schemas.microsoft.com/office/drawing/2014/main" id="{E91A9CE6-8D1F-40B6-BF41-B9973C6448EA}"/>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9" name="Oval 68">
                <a:extLst>
                  <a:ext uri="{FF2B5EF4-FFF2-40B4-BE49-F238E27FC236}">
                    <a16:creationId xmlns:a16="http://schemas.microsoft.com/office/drawing/2014/main" id="{470D6C75-C289-4BF3-8A93-0C4FB27E2E27}"/>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0" name="Straight Connector 69">
                <a:extLst>
                  <a:ext uri="{FF2B5EF4-FFF2-40B4-BE49-F238E27FC236}">
                    <a16:creationId xmlns:a16="http://schemas.microsoft.com/office/drawing/2014/main" id="{4B8F1F53-A555-4571-8397-43267A0ADC30}"/>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64" name="Group 63">
              <a:extLst>
                <a:ext uri="{FF2B5EF4-FFF2-40B4-BE49-F238E27FC236}">
                  <a16:creationId xmlns:a16="http://schemas.microsoft.com/office/drawing/2014/main" id="{EB21F36C-D885-4E75-8385-9D440B8727CD}"/>
                </a:ext>
              </a:extLst>
            </p:cNvPr>
            <p:cNvGrpSpPr/>
            <p:nvPr/>
          </p:nvGrpSpPr>
          <p:grpSpPr>
            <a:xfrm>
              <a:off x="1275510" y="6072184"/>
              <a:ext cx="508602" cy="151498"/>
              <a:chOff x="551886" y="4945335"/>
              <a:chExt cx="508602" cy="151498"/>
            </a:xfrm>
          </p:grpSpPr>
          <p:sp>
            <p:nvSpPr>
              <p:cNvPr id="65" name="Rectangle 64">
                <a:extLst>
                  <a:ext uri="{FF2B5EF4-FFF2-40B4-BE49-F238E27FC236}">
                    <a16:creationId xmlns:a16="http://schemas.microsoft.com/office/drawing/2014/main" id="{4E7CCFF4-9189-4F98-B6C9-48660A20F804}"/>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6" name="Oval 65">
                <a:extLst>
                  <a:ext uri="{FF2B5EF4-FFF2-40B4-BE49-F238E27FC236}">
                    <a16:creationId xmlns:a16="http://schemas.microsoft.com/office/drawing/2014/main" id="{96EFE79E-2291-46B3-9BD2-1E1ACB2C5F67}"/>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F5007113-D744-4099-A5FC-7FDA0BBE5C70}"/>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sp>
        <p:nvSpPr>
          <p:cNvPr id="74" name="Cylinder 513">
            <a:extLst>
              <a:ext uri="{FF2B5EF4-FFF2-40B4-BE49-F238E27FC236}">
                <a16:creationId xmlns:a16="http://schemas.microsoft.com/office/drawing/2014/main" id="{CA7C72EA-D19A-44B4-90D7-887F6A2C0A35}"/>
              </a:ext>
            </a:extLst>
          </p:cNvPr>
          <p:cNvSpPr/>
          <p:nvPr/>
        </p:nvSpPr>
        <p:spPr bwMode="auto">
          <a:xfrm>
            <a:off x="7856870" y="4340727"/>
            <a:ext cx="186524" cy="245047"/>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75" name="Group 74">
            <a:extLst>
              <a:ext uri="{FF2B5EF4-FFF2-40B4-BE49-F238E27FC236}">
                <a16:creationId xmlns:a16="http://schemas.microsoft.com/office/drawing/2014/main" id="{BAEEF708-0334-42A5-AE9B-331216CA83D2}"/>
              </a:ext>
            </a:extLst>
          </p:cNvPr>
          <p:cNvGrpSpPr/>
          <p:nvPr/>
        </p:nvGrpSpPr>
        <p:grpSpPr>
          <a:xfrm>
            <a:off x="8077133" y="4352995"/>
            <a:ext cx="231336" cy="207546"/>
            <a:chOff x="1275510" y="6072184"/>
            <a:chExt cx="508602" cy="456298"/>
          </a:xfrm>
        </p:grpSpPr>
        <p:grpSp>
          <p:nvGrpSpPr>
            <p:cNvPr id="76" name="Group 75">
              <a:extLst>
                <a:ext uri="{FF2B5EF4-FFF2-40B4-BE49-F238E27FC236}">
                  <a16:creationId xmlns:a16="http://schemas.microsoft.com/office/drawing/2014/main" id="{AAF37C9F-451A-42EA-BDB6-5BAA69174CF9}"/>
                </a:ext>
              </a:extLst>
            </p:cNvPr>
            <p:cNvGrpSpPr/>
            <p:nvPr/>
          </p:nvGrpSpPr>
          <p:grpSpPr>
            <a:xfrm>
              <a:off x="1275510" y="6224584"/>
              <a:ext cx="508602" cy="151498"/>
              <a:chOff x="551886" y="4945335"/>
              <a:chExt cx="508602" cy="151498"/>
            </a:xfrm>
          </p:grpSpPr>
          <p:sp>
            <p:nvSpPr>
              <p:cNvPr id="85" name="Rectangle 84">
                <a:extLst>
                  <a:ext uri="{FF2B5EF4-FFF2-40B4-BE49-F238E27FC236}">
                    <a16:creationId xmlns:a16="http://schemas.microsoft.com/office/drawing/2014/main" id="{DC3435FD-D2E8-41BB-858A-80E2421C03FE}"/>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6" name="Oval 85">
                <a:extLst>
                  <a:ext uri="{FF2B5EF4-FFF2-40B4-BE49-F238E27FC236}">
                    <a16:creationId xmlns:a16="http://schemas.microsoft.com/office/drawing/2014/main" id="{7BACA732-C44A-4AC5-AFC8-F8C667B2752C}"/>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7" name="Straight Connector 86">
                <a:extLst>
                  <a:ext uri="{FF2B5EF4-FFF2-40B4-BE49-F238E27FC236}">
                    <a16:creationId xmlns:a16="http://schemas.microsoft.com/office/drawing/2014/main" id="{D278C899-F905-4F4A-B77E-9C7F127C5C4B}"/>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77" name="Group 76">
              <a:extLst>
                <a:ext uri="{FF2B5EF4-FFF2-40B4-BE49-F238E27FC236}">
                  <a16:creationId xmlns:a16="http://schemas.microsoft.com/office/drawing/2014/main" id="{EC7CF433-AEB5-430E-9797-9B4B60EB314B}"/>
                </a:ext>
              </a:extLst>
            </p:cNvPr>
            <p:cNvGrpSpPr/>
            <p:nvPr/>
          </p:nvGrpSpPr>
          <p:grpSpPr>
            <a:xfrm>
              <a:off x="1275510" y="6376984"/>
              <a:ext cx="508602" cy="151498"/>
              <a:chOff x="551886" y="4945335"/>
              <a:chExt cx="508602" cy="151498"/>
            </a:xfrm>
          </p:grpSpPr>
          <p:sp>
            <p:nvSpPr>
              <p:cNvPr id="82" name="Rectangle 81">
                <a:extLst>
                  <a:ext uri="{FF2B5EF4-FFF2-40B4-BE49-F238E27FC236}">
                    <a16:creationId xmlns:a16="http://schemas.microsoft.com/office/drawing/2014/main" id="{C34D08AD-857F-4B5A-B6D2-01571C7DAE10}"/>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3" name="Oval 82">
                <a:extLst>
                  <a:ext uri="{FF2B5EF4-FFF2-40B4-BE49-F238E27FC236}">
                    <a16:creationId xmlns:a16="http://schemas.microsoft.com/office/drawing/2014/main" id="{7BDDE26A-1A95-4131-999C-BBD372A2C5ED}"/>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4" name="Straight Connector 83">
                <a:extLst>
                  <a:ext uri="{FF2B5EF4-FFF2-40B4-BE49-F238E27FC236}">
                    <a16:creationId xmlns:a16="http://schemas.microsoft.com/office/drawing/2014/main" id="{975BD75E-0C20-4B78-8A91-B857BFE73548}"/>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78" name="Group 77">
              <a:extLst>
                <a:ext uri="{FF2B5EF4-FFF2-40B4-BE49-F238E27FC236}">
                  <a16:creationId xmlns:a16="http://schemas.microsoft.com/office/drawing/2014/main" id="{A9B769C0-C2DE-4C62-9ACE-EB8E1E4698C1}"/>
                </a:ext>
              </a:extLst>
            </p:cNvPr>
            <p:cNvGrpSpPr/>
            <p:nvPr/>
          </p:nvGrpSpPr>
          <p:grpSpPr>
            <a:xfrm>
              <a:off x="1275510" y="6072184"/>
              <a:ext cx="508602" cy="151498"/>
              <a:chOff x="551886" y="4945335"/>
              <a:chExt cx="508602" cy="151498"/>
            </a:xfrm>
          </p:grpSpPr>
          <p:sp>
            <p:nvSpPr>
              <p:cNvPr id="79" name="Rectangle 78">
                <a:extLst>
                  <a:ext uri="{FF2B5EF4-FFF2-40B4-BE49-F238E27FC236}">
                    <a16:creationId xmlns:a16="http://schemas.microsoft.com/office/drawing/2014/main" id="{D29D6762-FA4D-4BB9-92B8-124D943FBF17}"/>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0" name="Oval 79">
                <a:extLst>
                  <a:ext uri="{FF2B5EF4-FFF2-40B4-BE49-F238E27FC236}">
                    <a16:creationId xmlns:a16="http://schemas.microsoft.com/office/drawing/2014/main" id="{2759E7D7-8D55-4E70-B253-46E597872286}"/>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1" name="Straight Connector 80">
                <a:extLst>
                  <a:ext uri="{FF2B5EF4-FFF2-40B4-BE49-F238E27FC236}">
                    <a16:creationId xmlns:a16="http://schemas.microsoft.com/office/drawing/2014/main" id="{09D8162C-5E41-4544-A2ED-13B7100B609F}"/>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cxnSp>
        <p:nvCxnSpPr>
          <p:cNvPr id="88" name="Straight Arrow Connector 87">
            <a:extLst>
              <a:ext uri="{FF2B5EF4-FFF2-40B4-BE49-F238E27FC236}">
                <a16:creationId xmlns:a16="http://schemas.microsoft.com/office/drawing/2014/main" id="{9DB84E77-BED2-4484-89CC-20ABC536AF00}"/>
              </a:ext>
            </a:extLst>
          </p:cNvPr>
          <p:cNvCxnSpPr>
            <a:stCxn id="45" idx="2"/>
            <a:endCxn id="7" idx="3"/>
          </p:cNvCxnSpPr>
          <p:nvPr/>
        </p:nvCxnSpPr>
        <p:spPr>
          <a:xfrm flipH="1" flipV="1">
            <a:off x="7776346" y="2652977"/>
            <a:ext cx="359350" cy="0"/>
          </a:xfrm>
          <a:prstGeom prst="straightConnector1">
            <a:avLst/>
          </a:prstGeom>
          <a:noFill/>
          <a:ln w="12700" cap="flat" cmpd="sng" algn="ctr">
            <a:solidFill>
              <a:srgbClr val="0078D7"/>
            </a:solidFill>
            <a:prstDash val="solid"/>
            <a:headEnd type="none"/>
            <a:tailEnd type="triangle"/>
          </a:ln>
          <a:effectLst/>
        </p:spPr>
      </p:cxnSp>
      <p:cxnSp>
        <p:nvCxnSpPr>
          <p:cNvPr id="89" name="Straight Arrow Connector 88">
            <a:extLst>
              <a:ext uri="{FF2B5EF4-FFF2-40B4-BE49-F238E27FC236}">
                <a16:creationId xmlns:a16="http://schemas.microsoft.com/office/drawing/2014/main" id="{DF72255C-198E-4B9D-A7AB-4EB1DFB6935D}"/>
              </a:ext>
            </a:extLst>
          </p:cNvPr>
          <p:cNvCxnSpPr/>
          <p:nvPr/>
        </p:nvCxnSpPr>
        <p:spPr>
          <a:xfrm>
            <a:off x="10908701" y="2699143"/>
            <a:ext cx="0" cy="2420072"/>
          </a:xfrm>
          <a:prstGeom prst="straightConnector1">
            <a:avLst/>
          </a:prstGeom>
          <a:noFill/>
          <a:ln w="12700" cap="flat" cmpd="sng" algn="ctr">
            <a:solidFill>
              <a:srgbClr val="0078D7"/>
            </a:solidFill>
            <a:prstDash val="solid"/>
            <a:headEnd type="none"/>
            <a:tailEnd type="triangle"/>
          </a:ln>
          <a:effectLst/>
        </p:spPr>
      </p:cxnSp>
      <p:cxnSp>
        <p:nvCxnSpPr>
          <p:cNvPr id="90" name="Connector: Elbow 89">
            <a:extLst>
              <a:ext uri="{FF2B5EF4-FFF2-40B4-BE49-F238E27FC236}">
                <a16:creationId xmlns:a16="http://schemas.microsoft.com/office/drawing/2014/main" id="{7273E751-86DE-462F-9B7B-CD2E34DD87DA}"/>
              </a:ext>
            </a:extLst>
          </p:cNvPr>
          <p:cNvCxnSpPr/>
          <p:nvPr/>
        </p:nvCxnSpPr>
        <p:spPr>
          <a:xfrm rot="10800000" flipV="1">
            <a:off x="8077133" y="3446971"/>
            <a:ext cx="2831568" cy="815659"/>
          </a:xfrm>
          <a:prstGeom prst="bentConnector3">
            <a:avLst>
              <a:gd name="adj1" fmla="val 100131"/>
            </a:avLst>
          </a:prstGeom>
          <a:noFill/>
          <a:ln w="12700" cap="flat" cmpd="sng" algn="ctr">
            <a:solidFill>
              <a:srgbClr val="0078D7"/>
            </a:solidFill>
            <a:prstDash val="solid"/>
            <a:headEnd type="none"/>
            <a:tailEnd type="triangle"/>
          </a:ln>
          <a:effectLst/>
        </p:spPr>
      </p:cxnSp>
    </p:spTree>
    <p:extLst>
      <p:ext uri="{BB962C8B-B14F-4D97-AF65-F5344CB8AC3E}">
        <p14:creationId xmlns:p14="http://schemas.microsoft.com/office/powerpoint/2010/main" val="4221783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wipe(up)">
                                      <p:cBhvr>
                                        <p:cTn id="7" dur="500"/>
                                        <p:tgtEl>
                                          <p:spTgt spid="89"/>
                                        </p:tgtEl>
                                      </p:cBhvr>
                                    </p:animEffect>
                                  </p:childTnLst>
                                </p:cTn>
                              </p:par>
                              <p:par>
                                <p:cTn id="8" presetID="22" presetClass="entr" presetSubtype="1" fill="hold" nodeType="withEffect">
                                  <p:stCondLst>
                                    <p:cond delay="150"/>
                                  </p:stCondLst>
                                  <p:childTnLst>
                                    <p:set>
                                      <p:cBhvr>
                                        <p:cTn id="9" dur="1" fill="hold">
                                          <p:stCondLst>
                                            <p:cond delay="0"/>
                                          </p:stCondLst>
                                        </p:cTn>
                                        <p:tgtEl>
                                          <p:spTgt spid="90"/>
                                        </p:tgtEl>
                                        <p:attrNameLst>
                                          <p:attrName>style.visibility</p:attrName>
                                        </p:attrNameLst>
                                      </p:cBhvr>
                                      <p:to>
                                        <p:strVal val="visible"/>
                                      </p:to>
                                    </p:set>
                                    <p:animEffect transition="in" filter="wipe(up)">
                                      <p:cBhvr>
                                        <p:cTn id="10" dur="350"/>
                                        <p:tgtEl>
                                          <p:spTgt spid="9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fade">
                                      <p:cBhvr>
                                        <p:cTn id="14" dur="500"/>
                                        <p:tgtEl>
                                          <p:spTgt spid="7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7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p:txBody>
          <a:bodyPr/>
          <a:lstStyle/>
          <a:p>
            <a:r>
              <a:rPr lang="en-US" dirty="0"/>
              <a:t>Lesson 1: Business Continuity Features in Azure SQL Database</a:t>
            </a:r>
          </a:p>
          <a:p>
            <a:r>
              <a:rPr lang="en-US" dirty="0"/>
              <a:t>Lesson 2: Disaster Recovery Features in Azure SQL Database</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dirty="0"/>
              <a:t>Active Geo-replication</a:t>
            </a:r>
            <a:br>
              <a:rPr lang="en-US" dirty="0"/>
            </a:br>
            <a:endParaRPr lang="en-US" dirty="0"/>
          </a:p>
        </p:txBody>
      </p:sp>
      <p:graphicFrame>
        <p:nvGraphicFramePr>
          <p:cNvPr id="5" name="Table 5">
            <a:extLst>
              <a:ext uri="{FF2B5EF4-FFF2-40B4-BE49-F238E27FC236}">
                <a16:creationId xmlns:a16="http://schemas.microsoft.com/office/drawing/2014/main" id="{5993BC06-789C-4EC9-B7A0-E295CDD25689}"/>
              </a:ext>
            </a:extLst>
          </p:cNvPr>
          <p:cNvGraphicFramePr>
            <a:graphicFrameLocks noGrp="1"/>
          </p:cNvGraphicFramePr>
          <p:nvPr>
            <p:ph sz="quarter" idx="13"/>
            <p:extLst>
              <p:ext uri="{D42A27DB-BD31-4B8C-83A1-F6EECF244321}">
                <p14:modId xmlns:p14="http://schemas.microsoft.com/office/powerpoint/2010/main" val="588004845"/>
              </p:ext>
            </p:extLst>
          </p:nvPr>
        </p:nvGraphicFramePr>
        <p:xfrm>
          <a:off x="655638" y="1408113"/>
          <a:ext cx="4678362" cy="4643120"/>
        </p:xfrm>
        <a:graphic>
          <a:graphicData uri="http://schemas.openxmlformats.org/drawingml/2006/table">
            <a:tbl>
              <a:tblPr bandRow="1">
                <a:tableStyleId>{BC89EF96-8CEA-46FF-86C4-4CE0E7609802}</a:tableStyleId>
              </a:tblPr>
              <a:tblGrid>
                <a:gridCol w="2339181">
                  <a:extLst>
                    <a:ext uri="{9D8B030D-6E8A-4147-A177-3AD203B41FA5}">
                      <a16:colId xmlns:a16="http://schemas.microsoft.com/office/drawing/2014/main" val="1556535743"/>
                    </a:ext>
                  </a:extLst>
                </a:gridCol>
                <a:gridCol w="2339181">
                  <a:extLst>
                    <a:ext uri="{9D8B030D-6E8A-4147-A177-3AD203B41FA5}">
                      <a16:colId xmlns:a16="http://schemas.microsoft.com/office/drawing/2014/main" val="3724558309"/>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dirty="0"/>
                        <a:t>Service</a:t>
                      </a:r>
                      <a:r>
                        <a:rPr lang="en-US" sz="1800" baseline="0" dirty="0"/>
                        <a:t> levels</a:t>
                      </a:r>
                      <a:endParaRPr lang="en-US" sz="1800" dirty="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Basic,</a:t>
                      </a:r>
                      <a:r>
                        <a:rPr lang="en-US" sz="1600" baseline="0" dirty="0"/>
                        <a:t> standard, premium </a:t>
                      </a:r>
                    </a:p>
                    <a:p>
                      <a:pPr marL="0" marR="0" indent="0" algn="l" defTabSz="914367" rtl="0" eaLnBrk="1" fontAlgn="auto" latinLnBrk="0" hangingPunct="1">
                        <a:lnSpc>
                          <a:spcPct val="100000"/>
                        </a:lnSpc>
                        <a:spcBef>
                          <a:spcPts val="0"/>
                        </a:spcBef>
                        <a:spcAft>
                          <a:spcPts val="0"/>
                        </a:spcAft>
                        <a:buClrTx/>
                        <a:buSzTx/>
                        <a:buFontTx/>
                        <a:buNone/>
                        <a:tabLst/>
                        <a:defRPr/>
                      </a:pPr>
                      <a:r>
                        <a:rPr lang="en-US" sz="1600" baseline="0" dirty="0"/>
                        <a:t>Self service </a:t>
                      </a:r>
                      <a:endParaRPr lang="en-US" sz="1600" dirty="0">
                        <a:solidFill>
                          <a:schemeClr val="tx1"/>
                        </a:solidFill>
                        <a:latin typeface="+mn-lt"/>
                        <a:cs typeface="+mn-cs"/>
                      </a:endParaRPr>
                    </a:p>
                  </a:txBody>
                  <a:tcPr anchor="ctr"/>
                </a:tc>
                <a:extLst>
                  <a:ext uri="{0D108BD9-81ED-4DB2-BD59-A6C34878D82A}">
                    <a16:rowId xmlns:a16="http://schemas.microsoft.com/office/drawing/2014/main" val="3498141553"/>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adable</a:t>
                      </a:r>
                      <a:r>
                        <a:rPr lang="en-US" sz="1800" baseline="0"/>
                        <a:t> secondaries</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a:t>Up to 4</a:t>
                      </a:r>
                      <a:endParaRPr lang="en-US" sz="1600">
                        <a:solidFill>
                          <a:schemeClr val="tx1"/>
                        </a:solidFill>
                        <a:latin typeface="+mn-lt"/>
                        <a:cs typeface="+mn-cs"/>
                      </a:endParaRPr>
                    </a:p>
                  </a:txBody>
                  <a:tcPr anchor="ctr"/>
                </a:tc>
                <a:extLst>
                  <a:ext uri="{0D108BD9-81ED-4DB2-BD59-A6C34878D82A}">
                    <a16:rowId xmlns:a16="http://schemas.microsoft.com/office/drawing/2014/main" val="4098510825"/>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gions</a:t>
                      </a:r>
                      <a:r>
                        <a:rPr lang="en-US" sz="1800" baseline="0"/>
                        <a:t> available</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a:t>Any</a:t>
                      </a:r>
                      <a:r>
                        <a:rPr lang="en-US" sz="1600" baseline="0"/>
                        <a:t> Azure region</a:t>
                      </a:r>
                      <a:endParaRPr lang="en-US" sz="1600">
                        <a:solidFill>
                          <a:schemeClr val="tx1"/>
                        </a:solidFill>
                        <a:latin typeface="+mn-lt"/>
                        <a:cs typeface="+mn-cs"/>
                      </a:endParaRPr>
                    </a:p>
                  </a:txBody>
                  <a:tcPr anchor="ctr"/>
                </a:tc>
                <a:extLst>
                  <a:ext uri="{0D108BD9-81ED-4DB2-BD59-A6C34878D82A}">
                    <a16:rowId xmlns:a16="http://schemas.microsoft.com/office/drawing/2014/main" val="254260333"/>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plication</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a:t>Automatic, asynchronous</a:t>
                      </a:r>
                      <a:endParaRPr lang="en-US" sz="1600">
                        <a:solidFill>
                          <a:schemeClr val="tx1"/>
                        </a:solidFill>
                        <a:latin typeface="+mn-lt"/>
                        <a:cs typeface="+mn-cs"/>
                      </a:endParaRPr>
                    </a:p>
                  </a:txBody>
                  <a:tcPr anchor="ctr"/>
                </a:tc>
                <a:extLst>
                  <a:ext uri="{0D108BD9-81ED-4DB2-BD59-A6C34878D82A}">
                    <a16:rowId xmlns:a16="http://schemas.microsoft.com/office/drawing/2014/main" val="181574152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dirty="0"/>
                        <a:t>Manageability tools </a:t>
                      </a:r>
                      <a:endParaRPr lang="en-US" sz="1800" dirty="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600" dirty="0"/>
                        <a:t>REST API, PowerShell, or Azure Portal </a:t>
                      </a:r>
                      <a:endParaRPr lang="en-US" sz="1600" dirty="0">
                        <a:solidFill>
                          <a:schemeClr val="tx1"/>
                        </a:solidFill>
                        <a:latin typeface="+mn-lt"/>
                        <a:cs typeface="+mn-cs"/>
                      </a:endParaRPr>
                    </a:p>
                  </a:txBody>
                  <a:tcPr anchor="ctr"/>
                </a:tc>
                <a:extLst>
                  <a:ext uri="{0D108BD9-81ED-4DB2-BD59-A6C34878D82A}">
                    <a16:rowId xmlns:a16="http://schemas.microsoft.com/office/drawing/2014/main" val="3271581638"/>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covery</a:t>
                      </a:r>
                      <a:r>
                        <a:rPr lang="en-US" sz="1800" baseline="0"/>
                        <a:t> time objective (RTO)</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a:t>&lt;1 hour</a:t>
                      </a:r>
                    </a:p>
                  </a:txBody>
                  <a:tcPr anchor="ctr"/>
                </a:tc>
                <a:extLst>
                  <a:ext uri="{0D108BD9-81ED-4DB2-BD59-A6C34878D82A}">
                    <a16:rowId xmlns:a16="http://schemas.microsoft.com/office/drawing/2014/main" val="191778085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Recovery</a:t>
                      </a:r>
                      <a:r>
                        <a:rPr lang="en-US" sz="1800" baseline="0"/>
                        <a:t> point objective</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t>&lt;5 minutes</a:t>
                      </a:r>
                    </a:p>
                  </a:txBody>
                  <a:tcPr anchor="ctr"/>
                </a:tc>
                <a:extLst>
                  <a:ext uri="{0D108BD9-81ED-4DB2-BD59-A6C34878D82A}">
                    <a16:rowId xmlns:a16="http://schemas.microsoft.com/office/drawing/2014/main" val="3274122615"/>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800"/>
                        <a:t>Failover</a:t>
                      </a:r>
                      <a:endParaRPr lang="en-US" sz="1800">
                        <a:latin typeface="Segoe UI Semibold" panose="020B0702040204020203" pitchFamily="34" charset="0"/>
                        <a:cs typeface="Segoe UI Semibold" panose="020B0702040204020203" pitchFamily="34" charset="0"/>
                      </a:endParaRPr>
                    </a:p>
                  </a:txBody>
                  <a:tcPr anchor="ct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t>On</a:t>
                      </a:r>
                      <a:r>
                        <a:rPr lang="en-US" sz="1600" baseline="0" dirty="0"/>
                        <a:t> demand</a:t>
                      </a:r>
                      <a:endParaRPr lang="en-US" sz="1600" dirty="0"/>
                    </a:p>
                  </a:txBody>
                  <a:tcPr anchor="ctr"/>
                </a:tc>
                <a:extLst>
                  <a:ext uri="{0D108BD9-81ED-4DB2-BD59-A6C34878D82A}">
                    <a16:rowId xmlns:a16="http://schemas.microsoft.com/office/drawing/2014/main" val="939033867"/>
                  </a:ext>
                </a:extLst>
              </a:tr>
            </a:tbl>
          </a:graphicData>
        </a:graphic>
      </p:graphicFrame>
      <p:sp>
        <p:nvSpPr>
          <p:cNvPr id="7" name="TextBox 338">
            <a:extLst>
              <a:ext uri="{FF2B5EF4-FFF2-40B4-BE49-F238E27FC236}">
                <a16:creationId xmlns:a16="http://schemas.microsoft.com/office/drawing/2014/main" id="{39B28131-2BB4-4C7E-90EA-CA8188781BA2}"/>
              </a:ext>
            </a:extLst>
          </p:cNvPr>
          <p:cNvSpPr txBox="1"/>
          <p:nvPr/>
        </p:nvSpPr>
        <p:spPr>
          <a:xfrm>
            <a:off x="7959714" y="4927150"/>
            <a:ext cx="2380313" cy="276999"/>
          </a:xfrm>
          <a:prstGeom prst="rect">
            <a:avLst/>
          </a:prstGeom>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Up to 4 secondaries</a:t>
            </a:r>
          </a:p>
        </p:txBody>
      </p:sp>
      <p:sp>
        <p:nvSpPr>
          <p:cNvPr id="8" name="Freeform: Shape 7">
            <a:extLst>
              <a:ext uri="{FF2B5EF4-FFF2-40B4-BE49-F238E27FC236}">
                <a16:creationId xmlns:a16="http://schemas.microsoft.com/office/drawing/2014/main" id="{1EE8B0FA-2743-496C-8AA3-73977E0DC2D8}"/>
              </a:ext>
            </a:extLst>
          </p:cNvPr>
          <p:cNvSpPr>
            <a:spLocks/>
          </p:cNvSpPr>
          <p:nvPr/>
        </p:nvSpPr>
        <p:spPr bwMode="auto">
          <a:xfrm>
            <a:off x="5766653" y="1532620"/>
            <a:ext cx="5759648" cy="3161068"/>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D2D2D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 name="Oval 8">
            <a:extLst>
              <a:ext uri="{FF2B5EF4-FFF2-40B4-BE49-F238E27FC236}">
                <a16:creationId xmlns:a16="http://schemas.microsoft.com/office/drawing/2014/main" id="{27F0EFA6-7FD2-4977-AA80-31376DE5DCEF}"/>
              </a:ext>
            </a:extLst>
          </p:cNvPr>
          <p:cNvSpPr/>
          <p:nvPr/>
        </p:nvSpPr>
        <p:spPr bwMode="auto">
          <a:xfrm>
            <a:off x="6413778" y="2617314"/>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605F293C-FCC8-43DD-AFB6-66895335272A}"/>
              </a:ext>
            </a:extLst>
          </p:cNvPr>
          <p:cNvSpPr/>
          <p:nvPr/>
        </p:nvSpPr>
        <p:spPr bwMode="auto">
          <a:xfrm>
            <a:off x="6788821" y="2830847"/>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50EC1260-D595-41FF-BC79-D12FD1634A65}"/>
              </a:ext>
            </a:extLst>
          </p:cNvPr>
          <p:cNvSpPr/>
          <p:nvPr/>
        </p:nvSpPr>
        <p:spPr bwMode="auto">
          <a:xfrm>
            <a:off x="7058920" y="2366933"/>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7F1D176A-B802-47E6-9475-6C2D76C2BBE3}"/>
              </a:ext>
            </a:extLst>
          </p:cNvPr>
          <p:cNvSpPr/>
          <p:nvPr/>
        </p:nvSpPr>
        <p:spPr bwMode="auto">
          <a:xfrm>
            <a:off x="7328317" y="254316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C63AE5AF-632B-463B-8DC5-6F2661624135}"/>
              </a:ext>
            </a:extLst>
          </p:cNvPr>
          <p:cNvSpPr/>
          <p:nvPr/>
        </p:nvSpPr>
        <p:spPr bwMode="auto">
          <a:xfrm>
            <a:off x="10785384" y="415924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44E63FF6-6F13-4904-A6DB-711E30ACDDCD}"/>
              </a:ext>
            </a:extLst>
          </p:cNvPr>
          <p:cNvSpPr/>
          <p:nvPr/>
        </p:nvSpPr>
        <p:spPr bwMode="auto">
          <a:xfrm>
            <a:off x="10720935" y="380634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CC3A063E-EFF0-4665-8517-D98A779185D8}"/>
              </a:ext>
            </a:extLst>
          </p:cNvPr>
          <p:cNvSpPr/>
          <p:nvPr/>
        </p:nvSpPr>
        <p:spPr bwMode="auto">
          <a:xfrm>
            <a:off x="10262894" y="345395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7DCD7093-361B-4C4C-89F5-A089F62C83EE}"/>
              </a:ext>
            </a:extLst>
          </p:cNvPr>
          <p:cNvSpPr/>
          <p:nvPr/>
        </p:nvSpPr>
        <p:spPr bwMode="auto">
          <a:xfrm>
            <a:off x="10644010" y="2751948"/>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E19193EB-5672-4DE5-8B08-542B79688052}"/>
              </a:ext>
            </a:extLst>
          </p:cNvPr>
          <p:cNvSpPr/>
          <p:nvPr/>
        </p:nvSpPr>
        <p:spPr bwMode="auto">
          <a:xfrm>
            <a:off x="10185998" y="261478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E7EB9489-2A63-4F8B-AD68-360D606BFF2E}"/>
              </a:ext>
            </a:extLst>
          </p:cNvPr>
          <p:cNvSpPr/>
          <p:nvPr/>
        </p:nvSpPr>
        <p:spPr bwMode="auto">
          <a:xfrm>
            <a:off x="11034858" y="2271860"/>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a:extLst>
              <a:ext uri="{FF2B5EF4-FFF2-40B4-BE49-F238E27FC236}">
                <a16:creationId xmlns:a16="http://schemas.microsoft.com/office/drawing/2014/main" id="{CB975C1C-F13A-4E80-9639-9CDAE123FF5A}"/>
              </a:ext>
            </a:extLst>
          </p:cNvPr>
          <p:cNvSpPr/>
          <p:nvPr/>
        </p:nvSpPr>
        <p:spPr bwMode="auto">
          <a:xfrm>
            <a:off x="10714742" y="2342559"/>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0ADC8817-3BEE-4DB5-92B8-A10D0ECF3379}"/>
              </a:ext>
            </a:extLst>
          </p:cNvPr>
          <p:cNvSpPr/>
          <p:nvPr/>
        </p:nvSpPr>
        <p:spPr bwMode="auto">
          <a:xfrm>
            <a:off x="10339702" y="2129014"/>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E1E81136-57CB-4E43-9B32-EAD87AA6ED29}"/>
              </a:ext>
            </a:extLst>
          </p:cNvPr>
          <p:cNvSpPr/>
          <p:nvPr/>
        </p:nvSpPr>
        <p:spPr bwMode="auto">
          <a:xfrm>
            <a:off x="7642210" y="3739852"/>
            <a:ext cx="157144" cy="157144"/>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9EDDDEFB-871C-4977-87B6-4E9FC890A6B5}"/>
              </a:ext>
            </a:extLst>
          </p:cNvPr>
          <p:cNvSpPr/>
          <p:nvPr/>
        </p:nvSpPr>
        <p:spPr bwMode="auto">
          <a:xfrm>
            <a:off x="6455695" y="2659230"/>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3" name="Oval 22">
            <a:extLst>
              <a:ext uri="{FF2B5EF4-FFF2-40B4-BE49-F238E27FC236}">
                <a16:creationId xmlns:a16="http://schemas.microsoft.com/office/drawing/2014/main" id="{54BC0967-A7BE-4632-891C-2782B852AC68}"/>
              </a:ext>
            </a:extLst>
          </p:cNvPr>
          <p:cNvSpPr/>
          <p:nvPr/>
        </p:nvSpPr>
        <p:spPr bwMode="auto">
          <a:xfrm>
            <a:off x="6830737" y="2872763"/>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4" name="Oval 23">
            <a:extLst>
              <a:ext uri="{FF2B5EF4-FFF2-40B4-BE49-F238E27FC236}">
                <a16:creationId xmlns:a16="http://schemas.microsoft.com/office/drawing/2014/main" id="{49EFFB44-729F-46AC-A29E-8426803A659E}"/>
              </a:ext>
            </a:extLst>
          </p:cNvPr>
          <p:cNvSpPr/>
          <p:nvPr/>
        </p:nvSpPr>
        <p:spPr bwMode="auto">
          <a:xfrm>
            <a:off x="7100836" y="2408849"/>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308347A0-1118-4A5D-8B74-26572D619CD0}"/>
              </a:ext>
            </a:extLst>
          </p:cNvPr>
          <p:cNvSpPr/>
          <p:nvPr/>
        </p:nvSpPr>
        <p:spPr bwMode="auto">
          <a:xfrm>
            <a:off x="7370233" y="25850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6" name="Oval 25">
            <a:extLst>
              <a:ext uri="{FF2B5EF4-FFF2-40B4-BE49-F238E27FC236}">
                <a16:creationId xmlns:a16="http://schemas.microsoft.com/office/drawing/2014/main" id="{937FE991-C467-49AC-8E46-9090FB172199}"/>
              </a:ext>
            </a:extLst>
          </p:cNvPr>
          <p:cNvSpPr/>
          <p:nvPr/>
        </p:nvSpPr>
        <p:spPr bwMode="auto">
          <a:xfrm>
            <a:off x="10827300" y="4201157"/>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FFA6C37D-ED11-495D-AD1B-271BDDC033BA}"/>
              </a:ext>
            </a:extLst>
          </p:cNvPr>
          <p:cNvSpPr/>
          <p:nvPr/>
        </p:nvSpPr>
        <p:spPr bwMode="auto">
          <a:xfrm>
            <a:off x="10762851" y="3848257"/>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8" name="Oval 27">
            <a:extLst>
              <a:ext uri="{FF2B5EF4-FFF2-40B4-BE49-F238E27FC236}">
                <a16:creationId xmlns:a16="http://schemas.microsoft.com/office/drawing/2014/main" id="{781246E4-A621-4D24-B41E-A1D3A89A20F1}"/>
              </a:ext>
            </a:extLst>
          </p:cNvPr>
          <p:cNvSpPr/>
          <p:nvPr/>
        </p:nvSpPr>
        <p:spPr bwMode="auto">
          <a:xfrm>
            <a:off x="10304810" y="34958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9" name="Oval 28">
            <a:extLst>
              <a:ext uri="{FF2B5EF4-FFF2-40B4-BE49-F238E27FC236}">
                <a16:creationId xmlns:a16="http://schemas.microsoft.com/office/drawing/2014/main" id="{F9402741-328F-43A0-B183-961E015DAB7B}"/>
              </a:ext>
            </a:extLst>
          </p:cNvPr>
          <p:cNvSpPr/>
          <p:nvPr/>
        </p:nvSpPr>
        <p:spPr bwMode="auto">
          <a:xfrm>
            <a:off x="10685927" y="279386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4DE5A536-2C3D-4926-A509-6287E964E425}"/>
              </a:ext>
            </a:extLst>
          </p:cNvPr>
          <p:cNvSpPr/>
          <p:nvPr/>
        </p:nvSpPr>
        <p:spPr bwMode="auto">
          <a:xfrm>
            <a:off x="10227915" y="265670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0FC5C75D-ECE0-41EE-A430-494E7E8801F1}"/>
              </a:ext>
            </a:extLst>
          </p:cNvPr>
          <p:cNvSpPr/>
          <p:nvPr/>
        </p:nvSpPr>
        <p:spPr bwMode="auto">
          <a:xfrm>
            <a:off x="11076774" y="2313776"/>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a:extLst>
              <a:ext uri="{FF2B5EF4-FFF2-40B4-BE49-F238E27FC236}">
                <a16:creationId xmlns:a16="http://schemas.microsoft.com/office/drawing/2014/main" id="{735B8E5E-0212-46F7-BB6E-2B03A9C24F17}"/>
              </a:ext>
            </a:extLst>
          </p:cNvPr>
          <p:cNvSpPr/>
          <p:nvPr/>
        </p:nvSpPr>
        <p:spPr bwMode="auto">
          <a:xfrm>
            <a:off x="10756659" y="2384475"/>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4231DB3F-6877-4B23-B470-874FE1290E5F}"/>
              </a:ext>
            </a:extLst>
          </p:cNvPr>
          <p:cNvSpPr/>
          <p:nvPr/>
        </p:nvSpPr>
        <p:spPr bwMode="auto">
          <a:xfrm>
            <a:off x="10381618" y="2170930"/>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4" name="Oval 33">
            <a:extLst>
              <a:ext uri="{FF2B5EF4-FFF2-40B4-BE49-F238E27FC236}">
                <a16:creationId xmlns:a16="http://schemas.microsoft.com/office/drawing/2014/main" id="{3901F710-174E-4D79-927C-E11283354EC3}"/>
              </a:ext>
            </a:extLst>
          </p:cNvPr>
          <p:cNvSpPr/>
          <p:nvPr/>
        </p:nvSpPr>
        <p:spPr bwMode="auto">
          <a:xfrm>
            <a:off x="7684127" y="3781768"/>
            <a:ext cx="73310" cy="7331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5" name="Oval 34">
            <a:extLst>
              <a:ext uri="{FF2B5EF4-FFF2-40B4-BE49-F238E27FC236}">
                <a16:creationId xmlns:a16="http://schemas.microsoft.com/office/drawing/2014/main" id="{BF8DD85A-3CEB-47BE-BE7D-2FC2E98B093D}"/>
              </a:ext>
            </a:extLst>
          </p:cNvPr>
          <p:cNvSpPr/>
          <p:nvPr/>
        </p:nvSpPr>
        <p:spPr bwMode="auto">
          <a:xfrm>
            <a:off x="8466346" y="2140247"/>
            <a:ext cx="683826" cy="683826"/>
          </a:xfrm>
          <a:prstGeom prst="ellipse">
            <a:avLst/>
          </a:pr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90"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6" name="Cylinder 513">
            <a:extLst>
              <a:ext uri="{FF2B5EF4-FFF2-40B4-BE49-F238E27FC236}">
                <a16:creationId xmlns:a16="http://schemas.microsoft.com/office/drawing/2014/main" id="{3B44DA2A-628A-4A9F-B0B9-AC44853EA7C2}"/>
              </a:ext>
            </a:extLst>
          </p:cNvPr>
          <p:cNvSpPr/>
          <p:nvPr/>
        </p:nvSpPr>
        <p:spPr bwMode="auto">
          <a:xfrm>
            <a:off x="10984444" y="4082881"/>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248F09DD-B05E-4FA6-BD07-8CA900C86996}"/>
              </a:ext>
            </a:extLst>
          </p:cNvPr>
          <p:cNvGrpSpPr/>
          <p:nvPr/>
        </p:nvGrpSpPr>
        <p:grpSpPr>
          <a:xfrm>
            <a:off x="11262966" y="4098394"/>
            <a:ext cx="292523" cy="262441"/>
            <a:chOff x="1275510" y="6072184"/>
            <a:chExt cx="508602" cy="456298"/>
          </a:xfrm>
        </p:grpSpPr>
        <p:grpSp>
          <p:nvGrpSpPr>
            <p:cNvPr id="38" name="Group 37">
              <a:extLst>
                <a:ext uri="{FF2B5EF4-FFF2-40B4-BE49-F238E27FC236}">
                  <a16:creationId xmlns:a16="http://schemas.microsoft.com/office/drawing/2014/main" id="{E05D256C-C61B-4904-B902-10F6A989256D}"/>
                </a:ext>
              </a:extLst>
            </p:cNvPr>
            <p:cNvGrpSpPr/>
            <p:nvPr/>
          </p:nvGrpSpPr>
          <p:grpSpPr>
            <a:xfrm>
              <a:off x="1275510" y="6224584"/>
              <a:ext cx="508602" cy="151498"/>
              <a:chOff x="551886" y="4945335"/>
              <a:chExt cx="508602" cy="151498"/>
            </a:xfrm>
          </p:grpSpPr>
          <p:sp>
            <p:nvSpPr>
              <p:cNvPr id="47" name="Rectangle 46">
                <a:extLst>
                  <a:ext uri="{FF2B5EF4-FFF2-40B4-BE49-F238E27FC236}">
                    <a16:creationId xmlns:a16="http://schemas.microsoft.com/office/drawing/2014/main" id="{30E454F6-C8D3-46F6-94BD-9CC626F78FCD}"/>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E45EA759-A5AD-4915-91F7-D66642B28184}"/>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C7DA0D0A-F491-4BF8-ACAC-F5929D4EE50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39" name="Group 38">
              <a:extLst>
                <a:ext uri="{FF2B5EF4-FFF2-40B4-BE49-F238E27FC236}">
                  <a16:creationId xmlns:a16="http://schemas.microsoft.com/office/drawing/2014/main" id="{FC83585E-FCDA-421D-98D7-2B6D7A9A271F}"/>
                </a:ext>
              </a:extLst>
            </p:cNvPr>
            <p:cNvGrpSpPr/>
            <p:nvPr/>
          </p:nvGrpSpPr>
          <p:grpSpPr>
            <a:xfrm>
              <a:off x="1275510" y="6376984"/>
              <a:ext cx="508602" cy="151498"/>
              <a:chOff x="551886" y="4945335"/>
              <a:chExt cx="508602" cy="151498"/>
            </a:xfrm>
          </p:grpSpPr>
          <p:sp>
            <p:nvSpPr>
              <p:cNvPr id="44" name="Rectangle 43">
                <a:extLst>
                  <a:ext uri="{FF2B5EF4-FFF2-40B4-BE49-F238E27FC236}">
                    <a16:creationId xmlns:a16="http://schemas.microsoft.com/office/drawing/2014/main" id="{BD7034B4-A0CE-4435-BDCD-E68184DDD772}"/>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FF8CC95C-EECA-4E9D-9DC6-049B30AF4828}"/>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B8A15628-5CBF-4565-BE06-AC725B0911AD}"/>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40" name="Group 39">
              <a:extLst>
                <a:ext uri="{FF2B5EF4-FFF2-40B4-BE49-F238E27FC236}">
                  <a16:creationId xmlns:a16="http://schemas.microsoft.com/office/drawing/2014/main" id="{1D63B572-99FF-4934-8783-14164B5F36D6}"/>
                </a:ext>
              </a:extLst>
            </p:cNvPr>
            <p:cNvGrpSpPr/>
            <p:nvPr/>
          </p:nvGrpSpPr>
          <p:grpSpPr>
            <a:xfrm>
              <a:off x="1275510" y="6072184"/>
              <a:ext cx="508602" cy="151498"/>
              <a:chOff x="551886" y="4945335"/>
              <a:chExt cx="508602" cy="151498"/>
            </a:xfrm>
          </p:grpSpPr>
          <p:sp>
            <p:nvSpPr>
              <p:cNvPr id="41" name="Rectangle 40">
                <a:extLst>
                  <a:ext uri="{FF2B5EF4-FFF2-40B4-BE49-F238E27FC236}">
                    <a16:creationId xmlns:a16="http://schemas.microsoft.com/office/drawing/2014/main" id="{7419C8BE-FD0C-46A9-A4BB-7EE0CC9F29EB}"/>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D231118F-FFC9-46FB-94ED-BFDB5BE6CB6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04B3F90B-973E-456B-874C-12F79C170746}"/>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50" name="Group 49">
            <a:extLst>
              <a:ext uri="{FF2B5EF4-FFF2-40B4-BE49-F238E27FC236}">
                <a16:creationId xmlns:a16="http://schemas.microsoft.com/office/drawing/2014/main" id="{B3B3A983-3B7B-4666-BA83-7CF3EF64A835}"/>
              </a:ext>
            </a:extLst>
          </p:cNvPr>
          <p:cNvGrpSpPr/>
          <p:nvPr/>
        </p:nvGrpSpPr>
        <p:grpSpPr>
          <a:xfrm>
            <a:off x="8413691" y="2279131"/>
            <a:ext cx="844678" cy="458340"/>
            <a:chOff x="7423022" y="3558638"/>
            <a:chExt cx="571045" cy="309861"/>
          </a:xfrm>
        </p:grpSpPr>
        <p:sp>
          <p:nvSpPr>
            <p:cNvPr id="51" name="Cylinder 513">
              <a:extLst>
                <a:ext uri="{FF2B5EF4-FFF2-40B4-BE49-F238E27FC236}">
                  <a16:creationId xmlns:a16="http://schemas.microsoft.com/office/drawing/2014/main" id="{03EE758C-98F9-4807-8411-A77A9F7F5F96}"/>
                </a:ext>
              </a:extLst>
            </p:cNvPr>
            <p:cNvSpPr/>
            <p:nvPr/>
          </p:nvSpPr>
          <p:spPr bwMode="auto">
            <a:xfrm>
              <a:off x="7423022" y="3558638"/>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52" name="Group 51">
              <a:extLst>
                <a:ext uri="{FF2B5EF4-FFF2-40B4-BE49-F238E27FC236}">
                  <a16:creationId xmlns:a16="http://schemas.microsoft.com/office/drawing/2014/main" id="{9FAC7BB6-B90E-4FA1-9C73-3D85781A99C8}"/>
                </a:ext>
              </a:extLst>
            </p:cNvPr>
            <p:cNvGrpSpPr/>
            <p:nvPr/>
          </p:nvGrpSpPr>
          <p:grpSpPr>
            <a:xfrm>
              <a:off x="7701544" y="3574151"/>
              <a:ext cx="292523" cy="262441"/>
              <a:chOff x="1275510" y="6072184"/>
              <a:chExt cx="508602" cy="456298"/>
            </a:xfrm>
            <a:solidFill>
              <a:srgbClr val="FFFFFF">
                <a:lumMod val="95000"/>
              </a:srgbClr>
            </a:solidFill>
          </p:grpSpPr>
          <p:grpSp>
            <p:nvGrpSpPr>
              <p:cNvPr id="53" name="Group 52">
                <a:extLst>
                  <a:ext uri="{FF2B5EF4-FFF2-40B4-BE49-F238E27FC236}">
                    <a16:creationId xmlns:a16="http://schemas.microsoft.com/office/drawing/2014/main" id="{D46A7C44-07CC-4EE9-9634-0ACF2AA09246}"/>
                  </a:ext>
                </a:extLst>
              </p:cNvPr>
              <p:cNvGrpSpPr/>
              <p:nvPr/>
            </p:nvGrpSpPr>
            <p:grpSpPr>
              <a:xfrm>
                <a:off x="1275510" y="6224584"/>
                <a:ext cx="508602" cy="151498"/>
                <a:chOff x="551886" y="4945335"/>
                <a:chExt cx="508602" cy="151498"/>
              </a:xfrm>
              <a:grpFill/>
            </p:grpSpPr>
            <p:sp>
              <p:nvSpPr>
                <p:cNvPr id="62" name="Rectangle 61">
                  <a:extLst>
                    <a:ext uri="{FF2B5EF4-FFF2-40B4-BE49-F238E27FC236}">
                      <a16:creationId xmlns:a16="http://schemas.microsoft.com/office/drawing/2014/main" id="{E04B57DE-D190-4B55-8EB6-E8268D8F723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3" name="Oval 62">
                  <a:extLst>
                    <a:ext uri="{FF2B5EF4-FFF2-40B4-BE49-F238E27FC236}">
                      <a16:creationId xmlns:a16="http://schemas.microsoft.com/office/drawing/2014/main" id="{C9A84EA0-7650-4220-9BD2-C5DD87ECEE5C}"/>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69CA4476-E4B3-4866-BB3B-79381B369EB5}"/>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4" name="Group 53">
                <a:extLst>
                  <a:ext uri="{FF2B5EF4-FFF2-40B4-BE49-F238E27FC236}">
                    <a16:creationId xmlns:a16="http://schemas.microsoft.com/office/drawing/2014/main" id="{76AAA43D-03AF-4F76-A837-A2B6E9C0D7FD}"/>
                  </a:ext>
                </a:extLst>
              </p:cNvPr>
              <p:cNvGrpSpPr/>
              <p:nvPr/>
            </p:nvGrpSpPr>
            <p:grpSpPr>
              <a:xfrm>
                <a:off x="1275510" y="6376984"/>
                <a:ext cx="508602" cy="151498"/>
                <a:chOff x="551886" y="4945335"/>
                <a:chExt cx="508602" cy="151498"/>
              </a:xfrm>
              <a:grpFill/>
            </p:grpSpPr>
            <p:sp>
              <p:nvSpPr>
                <p:cNvPr id="59" name="Rectangle 58">
                  <a:extLst>
                    <a:ext uri="{FF2B5EF4-FFF2-40B4-BE49-F238E27FC236}">
                      <a16:creationId xmlns:a16="http://schemas.microsoft.com/office/drawing/2014/main" id="{EEC46AAB-AD90-4E69-8EDF-A44E9B1D3251}"/>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29ABB24B-5CC2-4681-A40D-4A6753990B5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1" name="Straight Connector 60">
                  <a:extLst>
                    <a:ext uri="{FF2B5EF4-FFF2-40B4-BE49-F238E27FC236}">
                      <a16:creationId xmlns:a16="http://schemas.microsoft.com/office/drawing/2014/main" id="{38D654E5-A174-49C6-BCBB-33F78E01E1BA}"/>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5" name="Group 54">
                <a:extLst>
                  <a:ext uri="{FF2B5EF4-FFF2-40B4-BE49-F238E27FC236}">
                    <a16:creationId xmlns:a16="http://schemas.microsoft.com/office/drawing/2014/main" id="{EAD99B23-6646-461A-A1A5-4168C818183C}"/>
                  </a:ext>
                </a:extLst>
              </p:cNvPr>
              <p:cNvGrpSpPr/>
              <p:nvPr/>
            </p:nvGrpSpPr>
            <p:grpSpPr>
              <a:xfrm>
                <a:off x="1275510" y="6072184"/>
                <a:ext cx="508602" cy="151498"/>
                <a:chOff x="551886" y="4945335"/>
                <a:chExt cx="508602" cy="151498"/>
              </a:xfrm>
              <a:grpFill/>
            </p:grpSpPr>
            <p:sp>
              <p:nvSpPr>
                <p:cNvPr id="56" name="Rectangle 55">
                  <a:extLst>
                    <a:ext uri="{FF2B5EF4-FFF2-40B4-BE49-F238E27FC236}">
                      <a16:creationId xmlns:a16="http://schemas.microsoft.com/office/drawing/2014/main" id="{90E92C6C-E2C1-4053-A627-1369A53B618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7" name="Oval 56">
                  <a:extLst>
                    <a:ext uri="{FF2B5EF4-FFF2-40B4-BE49-F238E27FC236}">
                      <a16:creationId xmlns:a16="http://schemas.microsoft.com/office/drawing/2014/main" id="{0957E3B6-F09E-4E5F-AE43-84AC91DF738D}"/>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E61F6761-02F8-4418-9DF2-5E4F4A9F5D52}"/>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sp>
        <p:nvSpPr>
          <p:cNvPr id="65" name="Cylinder 513">
            <a:extLst>
              <a:ext uri="{FF2B5EF4-FFF2-40B4-BE49-F238E27FC236}">
                <a16:creationId xmlns:a16="http://schemas.microsoft.com/office/drawing/2014/main" id="{B8DFF742-3D08-4355-A29B-7D3C31548AF4}"/>
              </a:ext>
            </a:extLst>
          </p:cNvPr>
          <p:cNvSpPr/>
          <p:nvPr/>
        </p:nvSpPr>
        <p:spPr bwMode="auto">
          <a:xfrm>
            <a:off x="9977371" y="3058466"/>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1EEC8164-8217-47BF-A527-1E0197C155F0}"/>
              </a:ext>
            </a:extLst>
          </p:cNvPr>
          <p:cNvGrpSpPr/>
          <p:nvPr/>
        </p:nvGrpSpPr>
        <p:grpSpPr>
          <a:xfrm>
            <a:off x="10255893" y="3073979"/>
            <a:ext cx="292523" cy="262441"/>
            <a:chOff x="1275510" y="6072184"/>
            <a:chExt cx="508602" cy="456298"/>
          </a:xfrm>
          <a:solidFill>
            <a:srgbClr val="FFFFFF">
              <a:lumMod val="95000"/>
            </a:srgbClr>
          </a:solidFill>
        </p:grpSpPr>
        <p:grpSp>
          <p:nvGrpSpPr>
            <p:cNvPr id="67" name="Group 66">
              <a:extLst>
                <a:ext uri="{FF2B5EF4-FFF2-40B4-BE49-F238E27FC236}">
                  <a16:creationId xmlns:a16="http://schemas.microsoft.com/office/drawing/2014/main" id="{A41FACB5-F089-461D-A313-4F259DB38897}"/>
                </a:ext>
              </a:extLst>
            </p:cNvPr>
            <p:cNvGrpSpPr/>
            <p:nvPr/>
          </p:nvGrpSpPr>
          <p:grpSpPr>
            <a:xfrm>
              <a:off x="1275510" y="6224584"/>
              <a:ext cx="508602" cy="151498"/>
              <a:chOff x="551886" y="4945335"/>
              <a:chExt cx="508602" cy="151498"/>
            </a:xfrm>
            <a:grpFill/>
          </p:grpSpPr>
          <p:sp>
            <p:nvSpPr>
              <p:cNvPr id="76" name="Rectangle 75">
                <a:extLst>
                  <a:ext uri="{FF2B5EF4-FFF2-40B4-BE49-F238E27FC236}">
                    <a16:creationId xmlns:a16="http://schemas.microsoft.com/office/drawing/2014/main" id="{0F12C1C4-CE6C-4417-A4EB-41B702EC8606}"/>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3B77431E-A034-49A4-BE98-116CD3511D8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0FC63851-C9C4-4CDB-93B4-9699479FCBE0}"/>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8" name="Group 67">
              <a:extLst>
                <a:ext uri="{FF2B5EF4-FFF2-40B4-BE49-F238E27FC236}">
                  <a16:creationId xmlns:a16="http://schemas.microsoft.com/office/drawing/2014/main" id="{BAE983B2-3B66-4107-B1E4-4C5715C80880}"/>
                </a:ext>
              </a:extLst>
            </p:cNvPr>
            <p:cNvGrpSpPr/>
            <p:nvPr/>
          </p:nvGrpSpPr>
          <p:grpSpPr>
            <a:xfrm>
              <a:off x="1275510" y="6376984"/>
              <a:ext cx="508602" cy="151498"/>
              <a:chOff x="551886" y="4945335"/>
              <a:chExt cx="508602" cy="151498"/>
            </a:xfrm>
            <a:grpFill/>
          </p:grpSpPr>
          <p:sp>
            <p:nvSpPr>
              <p:cNvPr id="73" name="Rectangle 72">
                <a:extLst>
                  <a:ext uri="{FF2B5EF4-FFF2-40B4-BE49-F238E27FC236}">
                    <a16:creationId xmlns:a16="http://schemas.microsoft.com/office/drawing/2014/main" id="{78BB4E36-B0BB-46B2-BEC5-16EF8B5E1F13}"/>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a:extLst>
                  <a:ext uri="{FF2B5EF4-FFF2-40B4-BE49-F238E27FC236}">
                    <a16:creationId xmlns:a16="http://schemas.microsoft.com/office/drawing/2014/main" id="{A4BEAFDE-5B71-41C2-B401-7E7AB6E15C49}"/>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24967C58-3326-4813-8CF8-8597DEAF8289}"/>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9" name="Group 68">
              <a:extLst>
                <a:ext uri="{FF2B5EF4-FFF2-40B4-BE49-F238E27FC236}">
                  <a16:creationId xmlns:a16="http://schemas.microsoft.com/office/drawing/2014/main" id="{B7DFE5E9-166B-49ED-AAB0-5BAA7A65D6B3}"/>
                </a:ext>
              </a:extLst>
            </p:cNvPr>
            <p:cNvGrpSpPr/>
            <p:nvPr/>
          </p:nvGrpSpPr>
          <p:grpSpPr>
            <a:xfrm>
              <a:off x="1275510" y="6072184"/>
              <a:ext cx="508602" cy="151498"/>
              <a:chOff x="551886" y="4945335"/>
              <a:chExt cx="508602" cy="151498"/>
            </a:xfrm>
            <a:grpFill/>
          </p:grpSpPr>
          <p:sp>
            <p:nvSpPr>
              <p:cNvPr id="70" name="Rectangle 69">
                <a:extLst>
                  <a:ext uri="{FF2B5EF4-FFF2-40B4-BE49-F238E27FC236}">
                    <a16:creationId xmlns:a16="http://schemas.microsoft.com/office/drawing/2014/main" id="{B09DE4C5-C147-47D6-82BA-BAE1193B71B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a:extLst>
                  <a:ext uri="{FF2B5EF4-FFF2-40B4-BE49-F238E27FC236}">
                    <a16:creationId xmlns:a16="http://schemas.microsoft.com/office/drawing/2014/main" id="{73E9102C-2D42-4F90-A9D1-58A80C20B409}"/>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C85253DA-46A5-41D0-976B-9D85502F74DF}"/>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sp>
        <p:nvSpPr>
          <p:cNvPr id="79" name="Cylinder 513">
            <a:extLst>
              <a:ext uri="{FF2B5EF4-FFF2-40B4-BE49-F238E27FC236}">
                <a16:creationId xmlns:a16="http://schemas.microsoft.com/office/drawing/2014/main" id="{B660AA73-C63F-4AF6-BCD9-DBFD427303A9}"/>
              </a:ext>
            </a:extLst>
          </p:cNvPr>
          <p:cNvSpPr/>
          <p:nvPr/>
        </p:nvSpPr>
        <p:spPr bwMode="auto">
          <a:xfrm>
            <a:off x="10935325" y="2771933"/>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80" name="Group 79">
            <a:extLst>
              <a:ext uri="{FF2B5EF4-FFF2-40B4-BE49-F238E27FC236}">
                <a16:creationId xmlns:a16="http://schemas.microsoft.com/office/drawing/2014/main" id="{666D41ED-B0C0-4947-881E-F249CB0DBEEA}"/>
              </a:ext>
            </a:extLst>
          </p:cNvPr>
          <p:cNvGrpSpPr/>
          <p:nvPr/>
        </p:nvGrpSpPr>
        <p:grpSpPr>
          <a:xfrm>
            <a:off x="11213847" y="2787446"/>
            <a:ext cx="292523" cy="262441"/>
            <a:chOff x="1275510" y="6072184"/>
            <a:chExt cx="508602" cy="456298"/>
          </a:xfrm>
        </p:grpSpPr>
        <p:grpSp>
          <p:nvGrpSpPr>
            <p:cNvPr id="81" name="Group 80">
              <a:extLst>
                <a:ext uri="{FF2B5EF4-FFF2-40B4-BE49-F238E27FC236}">
                  <a16:creationId xmlns:a16="http://schemas.microsoft.com/office/drawing/2014/main" id="{D1AFD993-6925-4884-8D81-0E4F09AD3D1A}"/>
                </a:ext>
              </a:extLst>
            </p:cNvPr>
            <p:cNvGrpSpPr/>
            <p:nvPr/>
          </p:nvGrpSpPr>
          <p:grpSpPr>
            <a:xfrm>
              <a:off x="1275510" y="6224584"/>
              <a:ext cx="508602" cy="151498"/>
              <a:chOff x="551886" y="4945335"/>
              <a:chExt cx="508602" cy="151498"/>
            </a:xfrm>
          </p:grpSpPr>
          <p:sp>
            <p:nvSpPr>
              <p:cNvPr id="90" name="Rectangle 89">
                <a:extLst>
                  <a:ext uri="{FF2B5EF4-FFF2-40B4-BE49-F238E27FC236}">
                    <a16:creationId xmlns:a16="http://schemas.microsoft.com/office/drawing/2014/main" id="{DB52AA92-EE5B-4CE1-89FB-529C2689A418}"/>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1" name="Oval 90">
                <a:extLst>
                  <a:ext uri="{FF2B5EF4-FFF2-40B4-BE49-F238E27FC236}">
                    <a16:creationId xmlns:a16="http://schemas.microsoft.com/office/drawing/2014/main" id="{E18D4999-DF5B-4D25-AC6B-AFE14F42DC7F}"/>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2" name="Straight Connector 91">
                <a:extLst>
                  <a:ext uri="{FF2B5EF4-FFF2-40B4-BE49-F238E27FC236}">
                    <a16:creationId xmlns:a16="http://schemas.microsoft.com/office/drawing/2014/main" id="{C9976CD1-0CD2-4005-874F-8BB1CF8F467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82" name="Group 81">
              <a:extLst>
                <a:ext uri="{FF2B5EF4-FFF2-40B4-BE49-F238E27FC236}">
                  <a16:creationId xmlns:a16="http://schemas.microsoft.com/office/drawing/2014/main" id="{9AEDCA38-41C9-4965-8CC7-DF791FAADABE}"/>
                </a:ext>
              </a:extLst>
            </p:cNvPr>
            <p:cNvGrpSpPr/>
            <p:nvPr/>
          </p:nvGrpSpPr>
          <p:grpSpPr>
            <a:xfrm>
              <a:off x="1275510" y="6376984"/>
              <a:ext cx="508602" cy="151498"/>
              <a:chOff x="551886" y="4945335"/>
              <a:chExt cx="508602" cy="151498"/>
            </a:xfrm>
          </p:grpSpPr>
          <p:sp>
            <p:nvSpPr>
              <p:cNvPr id="87" name="Rectangle 86">
                <a:extLst>
                  <a:ext uri="{FF2B5EF4-FFF2-40B4-BE49-F238E27FC236}">
                    <a16:creationId xmlns:a16="http://schemas.microsoft.com/office/drawing/2014/main" id="{96076F1C-3661-413B-B8CB-FFEF76C5FB0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8" name="Oval 87">
                <a:extLst>
                  <a:ext uri="{FF2B5EF4-FFF2-40B4-BE49-F238E27FC236}">
                    <a16:creationId xmlns:a16="http://schemas.microsoft.com/office/drawing/2014/main" id="{CBCBCCD3-30C6-49E7-8641-13F676AC2F7A}"/>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9" name="Straight Connector 88">
                <a:extLst>
                  <a:ext uri="{FF2B5EF4-FFF2-40B4-BE49-F238E27FC236}">
                    <a16:creationId xmlns:a16="http://schemas.microsoft.com/office/drawing/2014/main" id="{4E62FF79-65E2-46C8-8B36-64F7F854269C}"/>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83" name="Group 82">
              <a:extLst>
                <a:ext uri="{FF2B5EF4-FFF2-40B4-BE49-F238E27FC236}">
                  <a16:creationId xmlns:a16="http://schemas.microsoft.com/office/drawing/2014/main" id="{AFBBEECB-7303-4A1E-B5C9-EAA7B0C26C08}"/>
                </a:ext>
              </a:extLst>
            </p:cNvPr>
            <p:cNvGrpSpPr/>
            <p:nvPr/>
          </p:nvGrpSpPr>
          <p:grpSpPr>
            <a:xfrm>
              <a:off x="1275510" y="6072184"/>
              <a:ext cx="508602" cy="151498"/>
              <a:chOff x="551886" y="4945335"/>
              <a:chExt cx="508602" cy="151498"/>
            </a:xfrm>
          </p:grpSpPr>
          <p:sp>
            <p:nvSpPr>
              <p:cNvPr id="84" name="Rectangle 83">
                <a:extLst>
                  <a:ext uri="{FF2B5EF4-FFF2-40B4-BE49-F238E27FC236}">
                    <a16:creationId xmlns:a16="http://schemas.microsoft.com/office/drawing/2014/main" id="{22BE2C9D-E2C5-426D-B22D-91A86B44D6B2}"/>
                  </a:ext>
                </a:extLst>
              </p:cNvPr>
              <p:cNvSpPr/>
              <p:nvPr/>
            </p:nvSpPr>
            <p:spPr bwMode="auto">
              <a:xfrm>
                <a:off x="551886" y="4945335"/>
                <a:ext cx="508602" cy="151498"/>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84">
                <a:extLst>
                  <a:ext uri="{FF2B5EF4-FFF2-40B4-BE49-F238E27FC236}">
                    <a16:creationId xmlns:a16="http://schemas.microsoft.com/office/drawing/2014/main" id="{47691FE1-5AC5-4580-BA09-9957033E4331}"/>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86" name="Straight Connector 85">
                <a:extLst>
                  <a:ext uri="{FF2B5EF4-FFF2-40B4-BE49-F238E27FC236}">
                    <a16:creationId xmlns:a16="http://schemas.microsoft.com/office/drawing/2014/main" id="{A19766C6-BEE7-41A1-AF78-C045A9351C72}"/>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sp>
        <p:nvSpPr>
          <p:cNvPr id="93" name="Cylinder 513">
            <a:extLst>
              <a:ext uri="{FF2B5EF4-FFF2-40B4-BE49-F238E27FC236}">
                <a16:creationId xmlns:a16="http://schemas.microsoft.com/office/drawing/2014/main" id="{855972FB-953E-4ECF-A05C-38D24CF15FCE}"/>
              </a:ext>
            </a:extLst>
          </p:cNvPr>
          <p:cNvSpPr/>
          <p:nvPr/>
        </p:nvSpPr>
        <p:spPr bwMode="auto">
          <a:xfrm>
            <a:off x="10649258" y="194369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94" name="Group 93">
            <a:extLst>
              <a:ext uri="{FF2B5EF4-FFF2-40B4-BE49-F238E27FC236}">
                <a16:creationId xmlns:a16="http://schemas.microsoft.com/office/drawing/2014/main" id="{CAC1167B-CD2F-4182-85F0-C5B0899505EB}"/>
              </a:ext>
            </a:extLst>
          </p:cNvPr>
          <p:cNvGrpSpPr/>
          <p:nvPr/>
        </p:nvGrpSpPr>
        <p:grpSpPr>
          <a:xfrm>
            <a:off x="10927780" y="1959212"/>
            <a:ext cx="292523" cy="262441"/>
            <a:chOff x="1275510" y="6072184"/>
            <a:chExt cx="508602" cy="456298"/>
          </a:xfrm>
          <a:solidFill>
            <a:srgbClr val="FFFFFF">
              <a:lumMod val="95000"/>
            </a:srgbClr>
          </a:solidFill>
        </p:grpSpPr>
        <p:grpSp>
          <p:nvGrpSpPr>
            <p:cNvPr id="95" name="Group 94">
              <a:extLst>
                <a:ext uri="{FF2B5EF4-FFF2-40B4-BE49-F238E27FC236}">
                  <a16:creationId xmlns:a16="http://schemas.microsoft.com/office/drawing/2014/main" id="{93FE15E6-E4BF-4321-BC79-C8072E2F33E6}"/>
                </a:ext>
              </a:extLst>
            </p:cNvPr>
            <p:cNvGrpSpPr/>
            <p:nvPr/>
          </p:nvGrpSpPr>
          <p:grpSpPr>
            <a:xfrm>
              <a:off x="1275510" y="6224584"/>
              <a:ext cx="508602" cy="151498"/>
              <a:chOff x="551886" y="4945335"/>
              <a:chExt cx="508602" cy="151498"/>
            </a:xfrm>
            <a:grpFill/>
          </p:grpSpPr>
          <p:sp>
            <p:nvSpPr>
              <p:cNvPr id="104" name="Rectangle 103">
                <a:extLst>
                  <a:ext uri="{FF2B5EF4-FFF2-40B4-BE49-F238E27FC236}">
                    <a16:creationId xmlns:a16="http://schemas.microsoft.com/office/drawing/2014/main" id="{AF7B1DCD-639D-4094-928C-D6EAEBDC5A0D}"/>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05" name="Oval 104">
                <a:extLst>
                  <a:ext uri="{FF2B5EF4-FFF2-40B4-BE49-F238E27FC236}">
                    <a16:creationId xmlns:a16="http://schemas.microsoft.com/office/drawing/2014/main" id="{27D1E9E3-70E8-4002-942D-422EB0808B3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55B33E1B-C779-4AE6-A72C-5E0E061269C9}"/>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96" name="Group 95">
              <a:extLst>
                <a:ext uri="{FF2B5EF4-FFF2-40B4-BE49-F238E27FC236}">
                  <a16:creationId xmlns:a16="http://schemas.microsoft.com/office/drawing/2014/main" id="{F9676F30-A541-4A67-A7A2-39B32767D59F}"/>
                </a:ext>
              </a:extLst>
            </p:cNvPr>
            <p:cNvGrpSpPr/>
            <p:nvPr/>
          </p:nvGrpSpPr>
          <p:grpSpPr>
            <a:xfrm>
              <a:off x="1275510" y="6376984"/>
              <a:ext cx="508602" cy="151498"/>
              <a:chOff x="551886" y="4945335"/>
              <a:chExt cx="508602" cy="151498"/>
            </a:xfrm>
            <a:grpFill/>
          </p:grpSpPr>
          <p:sp>
            <p:nvSpPr>
              <p:cNvPr id="101" name="Rectangle 100">
                <a:extLst>
                  <a:ext uri="{FF2B5EF4-FFF2-40B4-BE49-F238E27FC236}">
                    <a16:creationId xmlns:a16="http://schemas.microsoft.com/office/drawing/2014/main" id="{7B5F5E6B-D5FC-4791-99EC-6985430AC5E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02" name="Oval 101">
                <a:extLst>
                  <a:ext uri="{FF2B5EF4-FFF2-40B4-BE49-F238E27FC236}">
                    <a16:creationId xmlns:a16="http://schemas.microsoft.com/office/drawing/2014/main" id="{E1AF809E-E5FC-499A-81D9-948836961F3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3" name="Straight Connector 102">
                <a:extLst>
                  <a:ext uri="{FF2B5EF4-FFF2-40B4-BE49-F238E27FC236}">
                    <a16:creationId xmlns:a16="http://schemas.microsoft.com/office/drawing/2014/main" id="{50D87523-528F-4173-92B6-6D83C9022B9D}"/>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97" name="Group 96">
              <a:extLst>
                <a:ext uri="{FF2B5EF4-FFF2-40B4-BE49-F238E27FC236}">
                  <a16:creationId xmlns:a16="http://schemas.microsoft.com/office/drawing/2014/main" id="{26689B80-30FA-437B-9A89-EE6E8DA7DA42}"/>
                </a:ext>
              </a:extLst>
            </p:cNvPr>
            <p:cNvGrpSpPr/>
            <p:nvPr/>
          </p:nvGrpSpPr>
          <p:grpSpPr>
            <a:xfrm>
              <a:off x="1275510" y="6072184"/>
              <a:ext cx="508602" cy="151498"/>
              <a:chOff x="551886" y="4945335"/>
              <a:chExt cx="508602" cy="151498"/>
            </a:xfrm>
            <a:grpFill/>
          </p:grpSpPr>
          <p:sp>
            <p:nvSpPr>
              <p:cNvPr id="98" name="Rectangle 97">
                <a:extLst>
                  <a:ext uri="{FF2B5EF4-FFF2-40B4-BE49-F238E27FC236}">
                    <a16:creationId xmlns:a16="http://schemas.microsoft.com/office/drawing/2014/main" id="{0AE1D66D-44AB-4A26-A454-D94A6382E0F7}"/>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9" name="Oval 98">
                <a:extLst>
                  <a:ext uri="{FF2B5EF4-FFF2-40B4-BE49-F238E27FC236}">
                    <a16:creationId xmlns:a16="http://schemas.microsoft.com/office/drawing/2014/main" id="{5CA07895-E740-4200-B850-13175697560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5B931499-1E2B-478D-9BF0-AFDE2EC8C8CE}"/>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nvGrpSpPr>
          <p:cNvPr id="107" name="Group 106">
            <a:extLst>
              <a:ext uri="{FF2B5EF4-FFF2-40B4-BE49-F238E27FC236}">
                <a16:creationId xmlns:a16="http://schemas.microsoft.com/office/drawing/2014/main" id="{9CB610CE-8208-43ED-9DAF-DE31D1CCDA13}"/>
              </a:ext>
            </a:extLst>
          </p:cNvPr>
          <p:cNvGrpSpPr/>
          <p:nvPr/>
        </p:nvGrpSpPr>
        <p:grpSpPr>
          <a:xfrm>
            <a:off x="8808259" y="2098629"/>
            <a:ext cx="2176184" cy="2139183"/>
            <a:chOff x="8808259" y="2098629"/>
            <a:chExt cx="2176184" cy="2139183"/>
          </a:xfrm>
        </p:grpSpPr>
        <p:cxnSp>
          <p:nvCxnSpPr>
            <p:cNvPr id="108" name="Connector: Elbow 107">
              <a:extLst>
                <a:ext uri="{FF2B5EF4-FFF2-40B4-BE49-F238E27FC236}">
                  <a16:creationId xmlns:a16="http://schemas.microsoft.com/office/drawing/2014/main" id="{16B57009-3AE5-4C21-B856-6A61BE32700C}"/>
                </a:ext>
              </a:extLst>
            </p:cNvPr>
            <p:cNvCxnSpPr>
              <a:cxnSpLocks/>
              <a:stCxn id="93" idx="2"/>
              <a:endCxn id="65" idx="2"/>
            </p:cNvCxnSpPr>
            <p:nvPr/>
          </p:nvCxnSpPr>
          <p:spPr>
            <a:xfrm rot="10800000" flipV="1">
              <a:off x="9977372" y="2098629"/>
              <a:ext cx="671887" cy="1114767"/>
            </a:xfrm>
            <a:prstGeom prst="bentConnector3">
              <a:avLst>
                <a:gd name="adj1" fmla="val 134024"/>
              </a:avLst>
            </a:prstGeom>
            <a:noFill/>
            <a:ln w="12700" cap="flat" cmpd="sng" algn="ctr">
              <a:solidFill>
                <a:srgbClr val="0078D7"/>
              </a:solidFill>
              <a:prstDash val="solid"/>
              <a:headEnd type="none"/>
              <a:tailEnd type="none"/>
            </a:ln>
            <a:effectLst/>
          </p:spPr>
        </p:cxnSp>
        <p:cxnSp>
          <p:nvCxnSpPr>
            <p:cNvPr id="109" name="Connector: Elbow 108">
              <a:extLst>
                <a:ext uri="{FF2B5EF4-FFF2-40B4-BE49-F238E27FC236}">
                  <a16:creationId xmlns:a16="http://schemas.microsoft.com/office/drawing/2014/main" id="{59098D82-A564-4D86-9671-39222FBA1A37}"/>
                </a:ext>
              </a:extLst>
            </p:cNvPr>
            <p:cNvCxnSpPr>
              <a:cxnSpLocks/>
              <a:stCxn id="79" idx="2"/>
              <a:endCxn id="36" idx="2"/>
            </p:cNvCxnSpPr>
            <p:nvPr/>
          </p:nvCxnSpPr>
          <p:spPr>
            <a:xfrm rot="10800000" flipH="1" flipV="1">
              <a:off x="10935324" y="2926864"/>
              <a:ext cx="49119" cy="1310948"/>
            </a:xfrm>
            <a:prstGeom prst="bentConnector3">
              <a:avLst>
                <a:gd name="adj1" fmla="val -465400"/>
              </a:avLst>
            </a:prstGeom>
            <a:noFill/>
            <a:ln w="12700" cap="flat" cmpd="sng" algn="ctr">
              <a:solidFill>
                <a:srgbClr val="0078D7"/>
              </a:solidFill>
              <a:prstDash val="solid"/>
              <a:headEnd type="none"/>
              <a:tailEnd type="none"/>
            </a:ln>
            <a:effectLst/>
          </p:spPr>
        </p:cxnSp>
        <p:cxnSp>
          <p:nvCxnSpPr>
            <p:cNvPr id="110" name="Connector: Elbow 109">
              <a:extLst>
                <a:ext uri="{FF2B5EF4-FFF2-40B4-BE49-F238E27FC236}">
                  <a16:creationId xmlns:a16="http://schemas.microsoft.com/office/drawing/2014/main" id="{42D36006-503C-461B-B15E-BF6AF8C64937}"/>
                </a:ext>
              </a:extLst>
            </p:cNvPr>
            <p:cNvCxnSpPr>
              <a:cxnSpLocks/>
              <a:stCxn id="35" idx="4"/>
            </p:cNvCxnSpPr>
            <p:nvPr/>
          </p:nvCxnSpPr>
          <p:spPr>
            <a:xfrm rot="16200000" flipH="1">
              <a:off x="9159651" y="2472680"/>
              <a:ext cx="234393" cy="937177"/>
            </a:xfrm>
            <a:prstGeom prst="bentConnector2">
              <a:avLst/>
            </a:prstGeom>
            <a:noFill/>
            <a:ln w="12700" cap="flat" cmpd="sng" algn="ctr">
              <a:solidFill>
                <a:srgbClr val="0078D7"/>
              </a:solidFill>
              <a:prstDash val="solid"/>
              <a:headEnd type="none"/>
              <a:tailEnd type="none"/>
            </a:ln>
            <a:effectLst/>
          </p:spPr>
        </p:cxnSp>
      </p:grpSp>
    </p:spTree>
    <p:extLst>
      <p:ext uri="{BB962C8B-B14F-4D97-AF65-F5344CB8AC3E}">
        <p14:creationId xmlns:p14="http://schemas.microsoft.com/office/powerpoint/2010/main" val="2138308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750"/>
                                        <p:tgtEl>
                                          <p:spTgt spid="107"/>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9"/>
                                        </p:tgtEl>
                                        <p:attrNameLst>
                                          <p:attrName>style.visibility</p:attrName>
                                        </p:attrNameLst>
                                      </p:cBhvr>
                                      <p:to>
                                        <p:strVal val="visible"/>
                                      </p:to>
                                    </p:set>
                                    <p:animEffect transition="in" filter="fade">
                                      <p:cBhvr>
                                        <p:cTn id="14" dur="500"/>
                                        <p:tgtEl>
                                          <p:spTgt spid="7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3"/>
                                        </p:tgtEl>
                                        <p:attrNameLst>
                                          <p:attrName>style.visibility</p:attrName>
                                        </p:attrNameLst>
                                      </p:cBhvr>
                                      <p:to>
                                        <p:strVal val="visible"/>
                                      </p:to>
                                    </p:set>
                                    <p:animEffect transition="in" filter="fade">
                                      <p:cBhvr>
                                        <p:cTn id="20"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65" grpId="0" animBg="1"/>
      <p:bldP spid="79" grpId="0" animBg="1"/>
      <p:bldP spid="9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ctive geo-replication capabilities</a:t>
            </a:r>
          </a:p>
        </p:txBody>
      </p:sp>
      <p:graphicFrame>
        <p:nvGraphicFramePr>
          <p:cNvPr id="6" name="Content Placeholder 5">
            <a:extLst>
              <a:ext uri="{FF2B5EF4-FFF2-40B4-BE49-F238E27FC236}">
                <a16:creationId xmlns:a16="http://schemas.microsoft.com/office/drawing/2014/main" id="{8FB1CD67-611C-4A6F-AF80-0F293EC01A3B}"/>
              </a:ext>
            </a:extLst>
          </p:cNvPr>
          <p:cNvGraphicFramePr>
            <a:graphicFrameLocks noGrp="1"/>
          </p:cNvGraphicFramePr>
          <p:nvPr>
            <p:ph sz="quarter" idx="13"/>
            <p:extLst>
              <p:ext uri="{D42A27DB-BD31-4B8C-83A1-F6EECF244321}">
                <p14:modId xmlns:p14="http://schemas.microsoft.com/office/powerpoint/2010/main" val="3802126437"/>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65087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dirty="0"/>
              <a:t>Failover groups extend geo-replication</a:t>
            </a:r>
          </a:p>
        </p:txBody>
      </p:sp>
      <p:graphicFrame>
        <p:nvGraphicFramePr>
          <p:cNvPr id="120" name="Content Placeholder 119">
            <a:extLst>
              <a:ext uri="{FF2B5EF4-FFF2-40B4-BE49-F238E27FC236}">
                <a16:creationId xmlns:a16="http://schemas.microsoft.com/office/drawing/2014/main" id="{4B8EB191-1A42-41BE-803F-34D19A3384DC}"/>
              </a:ext>
            </a:extLst>
          </p:cNvPr>
          <p:cNvGraphicFramePr>
            <a:graphicFrameLocks noGrp="1"/>
          </p:cNvGraphicFramePr>
          <p:nvPr>
            <p:ph sz="quarter" idx="13"/>
            <p:extLst>
              <p:ext uri="{D42A27DB-BD31-4B8C-83A1-F6EECF244321}">
                <p14:modId xmlns:p14="http://schemas.microsoft.com/office/powerpoint/2010/main" val="409121928"/>
              </p:ext>
            </p:extLst>
          </p:nvPr>
        </p:nvGraphicFramePr>
        <p:xfrm>
          <a:off x="655638" y="1408114"/>
          <a:ext cx="4983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FDF69E26-4C95-48CC-B97C-68586B55BB2A}"/>
              </a:ext>
            </a:extLst>
          </p:cNvPr>
          <p:cNvSpPr txBox="1"/>
          <p:nvPr/>
        </p:nvSpPr>
        <p:spPr>
          <a:xfrm>
            <a:off x="8301495" y="2148902"/>
            <a:ext cx="2721200" cy="276999"/>
          </a:xfrm>
          <a:prstGeom prst="rect">
            <a:avLst/>
          </a:prstGeom>
        </p:spPr>
        <p:txBody>
          <a:bodyPr wrap="square" rtlCol="0">
            <a:spAutoFit/>
          </a:bodyPr>
          <a:lstStyle>
            <a:defPPr>
              <a:defRPr lang="en-US"/>
            </a:defPPr>
            <a:lvl1pPr marR="0" lvl="0" indent="0" algn="ctr" defTabSz="914554"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554"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mydb.myserver.windows.database.net</a:t>
            </a:r>
          </a:p>
        </p:txBody>
      </p:sp>
      <p:sp>
        <p:nvSpPr>
          <p:cNvPr id="6" name="Rectangle: Rounded Corners 67">
            <a:extLst>
              <a:ext uri="{FF2B5EF4-FFF2-40B4-BE49-F238E27FC236}">
                <a16:creationId xmlns:a16="http://schemas.microsoft.com/office/drawing/2014/main" id="{0BE26B01-A8C4-417C-9FC7-7646287EEA22}"/>
              </a:ext>
            </a:extLst>
          </p:cNvPr>
          <p:cNvSpPr/>
          <p:nvPr/>
        </p:nvSpPr>
        <p:spPr bwMode="auto">
          <a:xfrm>
            <a:off x="9666412" y="1800935"/>
            <a:ext cx="465467" cy="276999"/>
          </a:xfrm>
          <a:prstGeom prst="rect">
            <a:avLst/>
          </a:prstGeom>
          <a:ln>
            <a:noFill/>
          </a:ln>
        </p:spPr>
        <p:txBody>
          <a:bodyPr wrap="square" rtlCol="0">
            <a:spAutoFit/>
          </a:bodyPr>
          <a:lstStyle/>
          <a:p>
            <a:pPr algn="ctr" defTabSz="914554">
              <a:defRPr/>
            </a:pPr>
            <a:r>
              <a:rPr lang="en-US" sz="1200" kern="0">
                <a:solidFill>
                  <a:srgbClr val="0078D7"/>
                </a:solidFill>
                <a:latin typeface="Segoe UI Semilight" panose="020B0402040204020203" pitchFamily="34" charset="0"/>
                <a:cs typeface="Segoe UI Semilight" panose="020B0402040204020203" pitchFamily="34" charset="0"/>
              </a:rPr>
              <a:t>alias</a:t>
            </a:r>
          </a:p>
        </p:txBody>
      </p:sp>
      <p:sp>
        <p:nvSpPr>
          <p:cNvPr id="7" name="Footer Placeholder 3">
            <a:extLst>
              <a:ext uri="{FF2B5EF4-FFF2-40B4-BE49-F238E27FC236}">
                <a16:creationId xmlns:a16="http://schemas.microsoft.com/office/drawing/2014/main" id="{4F8C2A62-4066-4E2E-B9C8-4A00ED24B343}"/>
              </a:ext>
            </a:extLst>
          </p:cNvPr>
          <p:cNvSpPr txBox="1">
            <a:spLocks/>
          </p:cNvSpPr>
          <p:nvPr/>
        </p:nvSpPr>
        <p:spPr>
          <a:xfrm>
            <a:off x="7667897" y="5788968"/>
            <a:ext cx="4254862" cy="230832"/>
          </a:xfrm>
          <a:prstGeom prst="rect">
            <a:avLst/>
          </a:prstGeom>
          <a:noFill/>
          <a:ln>
            <a:noFill/>
          </a:ln>
          <a:effectLst/>
        </p:spPr>
        <p:txBody>
          <a:bodyPr wrap="square" lIns="91440" tIns="45720" rIns="91440" bIns="4572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lumMod val="50000"/>
                    <a:lumOff val="50000"/>
                  </a:srgbClr>
                </a:solidFill>
                <a:effectLst/>
                <a:uLnTx/>
                <a:uFillTx/>
                <a:latin typeface="Segoe UI"/>
                <a:ea typeface="+mn-ea"/>
                <a:cs typeface="+mn-cs"/>
              </a:rPr>
              <a:t>*Currently in private preview - Microsoft Confidential – Shared Under NDA Only </a:t>
            </a:r>
          </a:p>
        </p:txBody>
      </p:sp>
      <p:grpSp>
        <p:nvGrpSpPr>
          <p:cNvPr id="8" name="Group 7">
            <a:extLst>
              <a:ext uri="{FF2B5EF4-FFF2-40B4-BE49-F238E27FC236}">
                <a16:creationId xmlns:a16="http://schemas.microsoft.com/office/drawing/2014/main" id="{0BE7EF4D-DC4E-43DB-813C-20FFD87DF30E}"/>
              </a:ext>
            </a:extLst>
          </p:cNvPr>
          <p:cNvGrpSpPr/>
          <p:nvPr/>
        </p:nvGrpSpPr>
        <p:grpSpPr>
          <a:xfrm>
            <a:off x="9363427" y="1254501"/>
            <a:ext cx="654710" cy="493858"/>
            <a:chOff x="2067517" y="1575258"/>
            <a:chExt cx="350721" cy="264555"/>
          </a:xfrm>
        </p:grpSpPr>
        <p:grpSp>
          <p:nvGrpSpPr>
            <p:cNvPr id="9" name="Group 8">
              <a:extLst>
                <a:ext uri="{FF2B5EF4-FFF2-40B4-BE49-F238E27FC236}">
                  <a16:creationId xmlns:a16="http://schemas.microsoft.com/office/drawing/2014/main" id="{447C390E-EF3B-4772-ABD6-64FE3BFBA21A}"/>
                </a:ext>
              </a:extLst>
            </p:cNvPr>
            <p:cNvGrpSpPr/>
            <p:nvPr/>
          </p:nvGrpSpPr>
          <p:grpSpPr>
            <a:xfrm>
              <a:off x="2067517" y="1575258"/>
              <a:ext cx="350721" cy="264555"/>
              <a:chOff x="2067517" y="1575258"/>
              <a:chExt cx="350721" cy="264555"/>
            </a:xfrm>
          </p:grpSpPr>
          <p:sp>
            <p:nvSpPr>
              <p:cNvPr id="17" name="Rectangle 9">
                <a:extLst>
                  <a:ext uri="{FF2B5EF4-FFF2-40B4-BE49-F238E27FC236}">
                    <a16:creationId xmlns:a16="http://schemas.microsoft.com/office/drawing/2014/main" id="{F43432A7-53E1-4E30-8EDF-6485422EF0B3}"/>
                  </a:ext>
                </a:extLst>
              </p:cNvPr>
              <p:cNvSpPr>
                <a:spLocks noChangeArrowheads="1"/>
              </p:cNvSpPr>
              <p:nvPr/>
            </p:nvSpPr>
            <p:spPr bwMode="auto">
              <a:xfrm>
                <a:off x="2067518" y="1575258"/>
                <a:ext cx="350720" cy="264555"/>
              </a:xfrm>
              <a:prstGeom prst="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8" name="Line 10">
                <a:extLst>
                  <a:ext uri="{FF2B5EF4-FFF2-40B4-BE49-F238E27FC236}">
                    <a16:creationId xmlns:a16="http://schemas.microsoft.com/office/drawing/2014/main" id="{5FF92834-CD51-4CA3-93CF-8F6C1E4B93D8}"/>
                  </a:ext>
                </a:extLst>
              </p:cNvPr>
              <p:cNvSpPr>
                <a:spLocks noChangeShapeType="1"/>
              </p:cNvSpPr>
              <p:nvPr/>
            </p:nvSpPr>
            <p:spPr bwMode="auto">
              <a:xfrm flipH="1">
                <a:off x="2067517" y="1647026"/>
                <a:ext cx="350720"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0" name="Group 9">
              <a:extLst>
                <a:ext uri="{FF2B5EF4-FFF2-40B4-BE49-F238E27FC236}">
                  <a16:creationId xmlns:a16="http://schemas.microsoft.com/office/drawing/2014/main" id="{9027B8C9-4726-4F9E-BF39-0B1FA52B6FA0}"/>
                </a:ext>
              </a:extLst>
            </p:cNvPr>
            <p:cNvGrpSpPr/>
            <p:nvPr/>
          </p:nvGrpSpPr>
          <p:grpSpPr>
            <a:xfrm>
              <a:off x="2287367" y="1599181"/>
              <a:ext cx="95690" cy="23923"/>
              <a:chOff x="2287367" y="1599181"/>
              <a:chExt cx="95690" cy="23923"/>
            </a:xfrm>
          </p:grpSpPr>
          <p:sp>
            <p:nvSpPr>
              <p:cNvPr id="14" name="Oval 11">
                <a:extLst>
                  <a:ext uri="{FF2B5EF4-FFF2-40B4-BE49-F238E27FC236}">
                    <a16:creationId xmlns:a16="http://schemas.microsoft.com/office/drawing/2014/main" id="{7E206B0C-CF5A-4E10-889E-125FA18788CD}"/>
                  </a:ext>
                </a:extLst>
              </p:cNvPr>
              <p:cNvSpPr>
                <a:spLocks noChangeArrowheads="1"/>
              </p:cNvSpPr>
              <p:nvPr/>
            </p:nvSpPr>
            <p:spPr bwMode="auto">
              <a:xfrm>
                <a:off x="228736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5" name="Oval 12">
                <a:extLst>
                  <a:ext uri="{FF2B5EF4-FFF2-40B4-BE49-F238E27FC236}">
                    <a16:creationId xmlns:a16="http://schemas.microsoft.com/office/drawing/2014/main" id="{C5F5D7D9-2D7E-47C7-8A77-9A4A5B81D51E}"/>
                  </a:ext>
                </a:extLst>
              </p:cNvPr>
              <p:cNvSpPr>
                <a:spLocks noChangeArrowheads="1"/>
              </p:cNvSpPr>
              <p:nvPr/>
            </p:nvSpPr>
            <p:spPr bwMode="auto">
              <a:xfrm>
                <a:off x="232254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6" name="Oval 13">
                <a:extLst>
                  <a:ext uri="{FF2B5EF4-FFF2-40B4-BE49-F238E27FC236}">
                    <a16:creationId xmlns:a16="http://schemas.microsoft.com/office/drawing/2014/main" id="{FE3D5D00-6E6F-4055-A36A-F433EF33A670}"/>
                  </a:ext>
                </a:extLst>
              </p:cNvPr>
              <p:cNvSpPr>
                <a:spLocks noChangeArrowheads="1"/>
              </p:cNvSpPr>
              <p:nvPr/>
            </p:nvSpPr>
            <p:spPr bwMode="auto">
              <a:xfrm>
                <a:off x="2359134"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11" name="Group 10">
              <a:extLst>
                <a:ext uri="{FF2B5EF4-FFF2-40B4-BE49-F238E27FC236}">
                  <a16:creationId xmlns:a16="http://schemas.microsoft.com/office/drawing/2014/main" id="{6BAFAE30-99D9-46EC-B3FE-2D681BAA65D4}"/>
                </a:ext>
              </a:extLst>
            </p:cNvPr>
            <p:cNvGrpSpPr/>
            <p:nvPr/>
          </p:nvGrpSpPr>
          <p:grpSpPr>
            <a:xfrm>
              <a:off x="2191677" y="1701907"/>
              <a:ext cx="95690" cy="90061"/>
              <a:chOff x="2191677" y="1701907"/>
              <a:chExt cx="95690" cy="90061"/>
            </a:xfrm>
          </p:grpSpPr>
          <p:sp>
            <p:nvSpPr>
              <p:cNvPr id="12" name="Freeform 14">
                <a:extLst>
                  <a:ext uri="{FF2B5EF4-FFF2-40B4-BE49-F238E27FC236}">
                    <a16:creationId xmlns:a16="http://schemas.microsoft.com/office/drawing/2014/main" id="{24637980-8074-4432-A6F4-7C9FF515C398}"/>
                  </a:ext>
                </a:extLst>
              </p:cNvPr>
              <p:cNvSpPr>
                <a:spLocks/>
              </p:cNvSpPr>
              <p:nvPr/>
            </p:nvSpPr>
            <p:spPr bwMode="auto">
              <a:xfrm>
                <a:off x="2191677"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13" name="Line 15">
                <a:extLst>
                  <a:ext uri="{FF2B5EF4-FFF2-40B4-BE49-F238E27FC236}">
                    <a16:creationId xmlns:a16="http://schemas.microsoft.com/office/drawing/2014/main" id="{77743CDA-249B-4092-AEF1-B8C48DBE6C9F}"/>
                  </a:ext>
                </a:extLst>
              </p:cNvPr>
              <p:cNvSpPr>
                <a:spLocks noChangeShapeType="1"/>
              </p:cNvSpPr>
              <p:nvPr/>
            </p:nvSpPr>
            <p:spPr bwMode="auto">
              <a:xfrm>
                <a:off x="2241860" y="1755381"/>
                <a:ext cx="0" cy="36587"/>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cxnSp>
        <p:nvCxnSpPr>
          <p:cNvPr id="19" name="Straight Arrow Connector 18">
            <a:extLst>
              <a:ext uri="{FF2B5EF4-FFF2-40B4-BE49-F238E27FC236}">
                <a16:creationId xmlns:a16="http://schemas.microsoft.com/office/drawing/2014/main" id="{15EFD559-7F02-4372-B747-1B792AB8709E}"/>
              </a:ext>
            </a:extLst>
          </p:cNvPr>
          <p:cNvCxnSpPr>
            <a:cxnSpLocks/>
          </p:cNvCxnSpPr>
          <p:nvPr/>
        </p:nvCxnSpPr>
        <p:spPr>
          <a:xfrm>
            <a:off x="9665300" y="1792711"/>
            <a:ext cx="0" cy="366919"/>
          </a:xfrm>
          <a:prstGeom prst="straightConnector1">
            <a:avLst/>
          </a:prstGeom>
          <a:noFill/>
          <a:ln w="12700" cap="flat" cmpd="sng" algn="ctr">
            <a:solidFill>
              <a:srgbClr val="0078D7"/>
            </a:solidFill>
            <a:prstDash val="solid"/>
            <a:headEnd type="none"/>
            <a:tailEnd type="triangle"/>
          </a:ln>
          <a:effectLst/>
        </p:spPr>
      </p:cxnSp>
      <p:sp>
        <p:nvSpPr>
          <p:cNvPr id="20" name="Freeform: Shape 19">
            <a:extLst>
              <a:ext uri="{FF2B5EF4-FFF2-40B4-BE49-F238E27FC236}">
                <a16:creationId xmlns:a16="http://schemas.microsoft.com/office/drawing/2014/main" id="{DEA482EA-D6AF-4955-9A93-9E095FC88775}"/>
              </a:ext>
            </a:extLst>
          </p:cNvPr>
          <p:cNvSpPr>
            <a:spLocks/>
          </p:cNvSpPr>
          <p:nvPr/>
        </p:nvSpPr>
        <p:spPr bwMode="auto">
          <a:xfrm>
            <a:off x="5783831" y="2560173"/>
            <a:ext cx="5759648" cy="3161068"/>
          </a:xfrm>
          <a:custGeom>
            <a:avLst/>
            <a:gdLst>
              <a:gd name="connsiteX0" fmla="*/ 3172506 w 11625583"/>
              <a:gd name="connsiteY0" fmla="*/ 6251138 h 6380470"/>
              <a:gd name="connsiteX1" fmla="*/ 3237172 w 11625583"/>
              <a:gd name="connsiteY1" fmla="*/ 6315804 h 6380470"/>
              <a:gd name="connsiteX2" fmla="*/ 3172506 w 11625583"/>
              <a:gd name="connsiteY2" fmla="*/ 6380470 h 6380470"/>
              <a:gd name="connsiteX3" fmla="*/ 3107840 w 11625583"/>
              <a:gd name="connsiteY3" fmla="*/ 6315804 h 6380470"/>
              <a:gd name="connsiteX4" fmla="*/ 3172506 w 11625583"/>
              <a:gd name="connsiteY4" fmla="*/ 6251138 h 6380470"/>
              <a:gd name="connsiteX5" fmla="*/ 3321253 w 11625583"/>
              <a:gd name="connsiteY5" fmla="*/ 6251137 h 6380470"/>
              <a:gd name="connsiteX6" fmla="*/ 3385919 w 11625583"/>
              <a:gd name="connsiteY6" fmla="*/ 6315803 h 6380470"/>
              <a:gd name="connsiteX7" fmla="*/ 3321253 w 11625583"/>
              <a:gd name="connsiteY7" fmla="*/ 6380469 h 6380470"/>
              <a:gd name="connsiteX8" fmla="*/ 3256587 w 11625583"/>
              <a:gd name="connsiteY8" fmla="*/ 6315803 h 6380470"/>
              <a:gd name="connsiteX9" fmla="*/ 3321253 w 11625583"/>
              <a:gd name="connsiteY9" fmla="*/ 6251137 h 6380470"/>
              <a:gd name="connsiteX10" fmla="*/ 3172507 w 11625583"/>
              <a:gd name="connsiteY10" fmla="*/ 6110222 h 6380470"/>
              <a:gd name="connsiteX11" fmla="*/ 3237173 w 11625583"/>
              <a:gd name="connsiteY11" fmla="*/ 6174888 h 6380470"/>
              <a:gd name="connsiteX12" fmla="*/ 3172507 w 11625583"/>
              <a:gd name="connsiteY12" fmla="*/ 6239554 h 6380470"/>
              <a:gd name="connsiteX13" fmla="*/ 3107841 w 11625583"/>
              <a:gd name="connsiteY13" fmla="*/ 6174888 h 6380470"/>
              <a:gd name="connsiteX14" fmla="*/ 3172507 w 11625583"/>
              <a:gd name="connsiteY14" fmla="*/ 6110222 h 6380470"/>
              <a:gd name="connsiteX15" fmla="*/ 3172507 w 11625583"/>
              <a:gd name="connsiteY15" fmla="*/ 5965390 h 6380470"/>
              <a:gd name="connsiteX16" fmla="*/ 3237173 w 11625583"/>
              <a:gd name="connsiteY16" fmla="*/ 6030056 h 6380470"/>
              <a:gd name="connsiteX17" fmla="*/ 3172507 w 11625583"/>
              <a:gd name="connsiteY17" fmla="*/ 6094722 h 6380470"/>
              <a:gd name="connsiteX18" fmla="*/ 3107841 w 11625583"/>
              <a:gd name="connsiteY18" fmla="*/ 6030056 h 6380470"/>
              <a:gd name="connsiteX19" fmla="*/ 3172507 w 11625583"/>
              <a:gd name="connsiteY19" fmla="*/ 5965390 h 6380470"/>
              <a:gd name="connsiteX20" fmla="*/ 3321254 w 11625583"/>
              <a:gd name="connsiteY20" fmla="*/ 5965389 h 6380470"/>
              <a:gd name="connsiteX21" fmla="*/ 3385920 w 11625583"/>
              <a:gd name="connsiteY21" fmla="*/ 6030055 h 6380470"/>
              <a:gd name="connsiteX22" fmla="*/ 3321254 w 11625583"/>
              <a:gd name="connsiteY22" fmla="*/ 6094721 h 6380470"/>
              <a:gd name="connsiteX23" fmla="*/ 3256588 w 11625583"/>
              <a:gd name="connsiteY23" fmla="*/ 6030055 h 6380470"/>
              <a:gd name="connsiteX24" fmla="*/ 3321254 w 11625583"/>
              <a:gd name="connsiteY24" fmla="*/ 5965389 h 6380470"/>
              <a:gd name="connsiteX25" fmla="*/ 10938540 w 11625583"/>
              <a:gd name="connsiteY25" fmla="*/ 5824473 h 6380470"/>
              <a:gd name="connsiteX26" fmla="*/ 11003206 w 11625583"/>
              <a:gd name="connsiteY26" fmla="*/ 5889139 h 6380470"/>
              <a:gd name="connsiteX27" fmla="*/ 10938540 w 11625583"/>
              <a:gd name="connsiteY27" fmla="*/ 5953805 h 6380470"/>
              <a:gd name="connsiteX28" fmla="*/ 10873874 w 11625583"/>
              <a:gd name="connsiteY28" fmla="*/ 5889139 h 6380470"/>
              <a:gd name="connsiteX29" fmla="*/ 10938540 w 11625583"/>
              <a:gd name="connsiteY29" fmla="*/ 5824473 h 6380470"/>
              <a:gd name="connsiteX30" fmla="*/ 3321254 w 11625583"/>
              <a:gd name="connsiteY30" fmla="*/ 5824473 h 6380470"/>
              <a:gd name="connsiteX31" fmla="*/ 3385920 w 11625583"/>
              <a:gd name="connsiteY31" fmla="*/ 5889139 h 6380470"/>
              <a:gd name="connsiteX32" fmla="*/ 3321254 w 11625583"/>
              <a:gd name="connsiteY32" fmla="*/ 5953805 h 6380470"/>
              <a:gd name="connsiteX33" fmla="*/ 3256588 w 11625583"/>
              <a:gd name="connsiteY33" fmla="*/ 5889139 h 6380470"/>
              <a:gd name="connsiteX34" fmla="*/ 3321254 w 11625583"/>
              <a:gd name="connsiteY34" fmla="*/ 5824473 h 6380470"/>
              <a:gd name="connsiteX35" fmla="*/ 3172507 w 11625583"/>
              <a:gd name="connsiteY35" fmla="*/ 5824473 h 6380470"/>
              <a:gd name="connsiteX36" fmla="*/ 3237174 w 11625583"/>
              <a:gd name="connsiteY36" fmla="*/ 5889139 h 6380470"/>
              <a:gd name="connsiteX37" fmla="*/ 3172507 w 11625583"/>
              <a:gd name="connsiteY37" fmla="*/ 5953805 h 6380470"/>
              <a:gd name="connsiteX38" fmla="*/ 3107841 w 11625583"/>
              <a:gd name="connsiteY38" fmla="*/ 5889139 h 6380470"/>
              <a:gd name="connsiteX39" fmla="*/ 3172507 w 11625583"/>
              <a:gd name="connsiteY39" fmla="*/ 5824473 h 6380470"/>
              <a:gd name="connsiteX40" fmla="*/ 11095113 w 11625583"/>
              <a:gd name="connsiteY40" fmla="*/ 5683557 h 6380470"/>
              <a:gd name="connsiteX41" fmla="*/ 11159779 w 11625583"/>
              <a:gd name="connsiteY41" fmla="*/ 5748223 h 6380470"/>
              <a:gd name="connsiteX42" fmla="*/ 11095113 w 11625583"/>
              <a:gd name="connsiteY42" fmla="*/ 5812889 h 6380470"/>
              <a:gd name="connsiteX43" fmla="*/ 11030447 w 11625583"/>
              <a:gd name="connsiteY43" fmla="*/ 5748223 h 6380470"/>
              <a:gd name="connsiteX44" fmla="*/ 11095113 w 11625583"/>
              <a:gd name="connsiteY44" fmla="*/ 5683557 h 6380470"/>
              <a:gd name="connsiteX45" fmla="*/ 10312246 w 11625583"/>
              <a:gd name="connsiteY45" fmla="*/ 5683557 h 6380470"/>
              <a:gd name="connsiteX46" fmla="*/ 10376912 w 11625583"/>
              <a:gd name="connsiteY46" fmla="*/ 5748223 h 6380470"/>
              <a:gd name="connsiteX47" fmla="*/ 10312246 w 11625583"/>
              <a:gd name="connsiteY47" fmla="*/ 5812889 h 6380470"/>
              <a:gd name="connsiteX48" fmla="*/ 10247580 w 11625583"/>
              <a:gd name="connsiteY48" fmla="*/ 5748223 h 6380470"/>
              <a:gd name="connsiteX49" fmla="*/ 10312246 w 11625583"/>
              <a:gd name="connsiteY49" fmla="*/ 5683557 h 6380470"/>
              <a:gd name="connsiteX50" fmla="*/ 3321255 w 11625583"/>
              <a:gd name="connsiteY50" fmla="*/ 5683557 h 6380470"/>
              <a:gd name="connsiteX51" fmla="*/ 3385921 w 11625583"/>
              <a:gd name="connsiteY51" fmla="*/ 5748223 h 6380470"/>
              <a:gd name="connsiteX52" fmla="*/ 3321255 w 11625583"/>
              <a:gd name="connsiteY52" fmla="*/ 5812889 h 6380470"/>
              <a:gd name="connsiteX53" fmla="*/ 3256590 w 11625583"/>
              <a:gd name="connsiteY53" fmla="*/ 5748223 h 6380470"/>
              <a:gd name="connsiteX54" fmla="*/ 3321255 w 11625583"/>
              <a:gd name="connsiteY54" fmla="*/ 5683557 h 6380470"/>
              <a:gd name="connsiteX55" fmla="*/ 3172508 w 11625583"/>
              <a:gd name="connsiteY55" fmla="*/ 5683557 h 6380470"/>
              <a:gd name="connsiteX56" fmla="*/ 3237174 w 11625583"/>
              <a:gd name="connsiteY56" fmla="*/ 5748223 h 6380470"/>
              <a:gd name="connsiteX57" fmla="*/ 3172508 w 11625583"/>
              <a:gd name="connsiteY57" fmla="*/ 5812889 h 6380470"/>
              <a:gd name="connsiteX58" fmla="*/ 3107842 w 11625583"/>
              <a:gd name="connsiteY58" fmla="*/ 5748223 h 6380470"/>
              <a:gd name="connsiteX59" fmla="*/ 3172508 w 11625583"/>
              <a:gd name="connsiteY59" fmla="*/ 5683557 h 6380470"/>
              <a:gd name="connsiteX60" fmla="*/ 11251686 w 11625583"/>
              <a:gd name="connsiteY60" fmla="*/ 5538729 h 6380470"/>
              <a:gd name="connsiteX61" fmla="*/ 11316352 w 11625583"/>
              <a:gd name="connsiteY61" fmla="*/ 5603395 h 6380470"/>
              <a:gd name="connsiteX62" fmla="*/ 11251686 w 11625583"/>
              <a:gd name="connsiteY62" fmla="*/ 5668061 h 6380470"/>
              <a:gd name="connsiteX63" fmla="*/ 11187020 w 11625583"/>
              <a:gd name="connsiteY63" fmla="*/ 5603395 h 6380470"/>
              <a:gd name="connsiteX64" fmla="*/ 11251686 w 11625583"/>
              <a:gd name="connsiteY64" fmla="*/ 5538729 h 6380470"/>
              <a:gd name="connsiteX65" fmla="*/ 3481742 w 11625583"/>
              <a:gd name="connsiteY65" fmla="*/ 5538728 h 6380470"/>
              <a:gd name="connsiteX66" fmla="*/ 3546408 w 11625583"/>
              <a:gd name="connsiteY66" fmla="*/ 5603394 h 6380470"/>
              <a:gd name="connsiteX67" fmla="*/ 3481742 w 11625583"/>
              <a:gd name="connsiteY67" fmla="*/ 5668060 h 6380470"/>
              <a:gd name="connsiteX68" fmla="*/ 3417075 w 11625583"/>
              <a:gd name="connsiteY68" fmla="*/ 5603394 h 6380470"/>
              <a:gd name="connsiteX69" fmla="*/ 3481742 w 11625583"/>
              <a:gd name="connsiteY69" fmla="*/ 5538728 h 6380470"/>
              <a:gd name="connsiteX70" fmla="*/ 3172511 w 11625583"/>
              <a:gd name="connsiteY70" fmla="*/ 5538728 h 6380470"/>
              <a:gd name="connsiteX71" fmla="*/ 3237177 w 11625583"/>
              <a:gd name="connsiteY71" fmla="*/ 5603394 h 6380470"/>
              <a:gd name="connsiteX72" fmla="*/ 3172511 w 11625583"/>
              <a:gd name="connsiteY72" fmla="*/ 5668060 h 6380470"/>
              <a:gd name="connsiteX73" fmla="*/ 3107844 w 11625583"/>
              <a:gd name="connsiteY73" fmla="*/ 5603394 h 6380470"/>
              <a:gd name="connsiteX74" fmla="*/ 3172511 w 11625583"/>
              <a:gd name="connsiteY74" fmla="*/ 5538728 h 6380470"/>
              <a:gd name="connsiteX75" fmla="*/ 10312248 w 11625583"/>
              <a:gd name="connsiteY75" fmla="*/ 5538726 h 6380470"/>
              <a:gd name="connsiteX76" fmla="*/ 10376914 w 11625583"/>
              <a:gd name="connsiteY76" fmla="*/ 5603392 h 6380470"/>
              <a:gd name="connsiteX77" fmla="*/ 10312248 w 11625583"/>
              <a:gd name="connsiteY77" fmla="*/ 5668058 h 6380470"/>
              <a:gd name="connsiteX78" fmla="*/ 10247582 w 11625583"/>
              <a:gd name="connsiteY78" fmla="*/ 5603392 h 6380470"/>
              <a:gd name="connsiteX79" fmla="*/ 10312248 w 11625583"/>
              <a:gd name="connsiteY79" fmla="*/ 5538726 h 6380470"/>
              <a:gd name="connsiteX80" fmla="*/ 10159588 w 11625583"/>
              <a:gd name="connsiteY80" fmla="*/ 5538726 h 6380470"/>
              <a:gd name="connsiteX81" fmla="*/ 10224254 w 11625583"/>
              <a:gd name="connsiteY81" fmla="*/ 5603392 h 6380470"/>
              <a:gd name="connsiteX82" fmla="*/ 10159588 w 11625583"/>
              <a:gd name="connsiteY82" fmla="*/ 5668058 h 6380470"/>
              <a:gd name="connsiteX83" fmla="*/ 10094922 w 11625583"/>
              <a:gd name="connsiteY83" fmla="*/ 5603392 h 6380470"/>
              <a:gd name="connsiteX84" fmla="*/ 10159588 w 11625583"/>
              <a:gd name="connsiteY84" fmla="*/ 5538726 h 6380470"/>
              <a:gd name="connsiteX85" fmla="*/ 3321256 w 11625583"/>
              <a:gd name="connsiteY85" fmla="*/ 5538726 h 6380470"/>
              <a:gd name="connsiteX86" fmla="*/ 3385922 w 11625583"/>
              <a:gd name="connsiteY86" fmla="*/ 5603392 h 6380470"/>
              <a:gd name="connsiteX87" fmla="*/ 3321256 w 11625583"/>
              <a:gd name="connsiteY87" fmla="*/ 5668058 h 6380470"/>
              <a:gd name="connsiteX88" fmla="*/ 3256590 w 11625583"/>
              <a:gd name="connsiteY88" fmla="*/ 5603392 h 6380470"/>
              <a:gd name="connsiteX89" fmla="*/ 3321256 w 11625583"/>
              <a:gd name="connsiteY89" fmla="*/ 5538726 h 6380470"/>
              <a:gd name="connsiteX90" fmla="*/ 11251688 w 11625583"/>
              <a:gd name="connsiteY90" fmla="*/ 5401725 h 6380470"/>
              <a:gd name="connsiteX91" fmla="*/ 11316354 w 11625583"/>
              <a:gd name="connsiteY91" fmla="*/ 5466391 h 6380470"/>
              <a:gd name="connsiteX92" fmla="*/ 11251688 w 11625583"/>
              <a:gd name="connsiteY92" fmla="*/ 5531057 h 6380470"/>
              <a:gd name="connsiteX93" fmla="*/ 11187022 w 11625583"/>
              <a:gd name="connsiteY93" fmla="*/ 5466391 h 6380470"/>
              <a:gd name="connsiteX94" fmla="*/ 11251688 w 11625583"/>
              <a:gd name="connsiteY94" fmla="*/ 5401725 h 6380470"/>
              <a:gd name="connsiteX95" fmla="*/ 10312248 w 11625583"/>
              <a:gd name="connsiteY95" fmla="*/ 5401725 h 6380470"/>
              <a:gd name="connsiteX96" fmla="*/ 10376914 w 11625583"/>
              <a:gd name="connsiteY96" fmla="*/ 5466391 h 6380470"/>
              <a:gd name="connsiteX97" fmla="*/ 10312248 w 11625583"/>
              <a:gd name="connsiteY97" fmla="*/ 5531057 h 6380470"/>
              <a:gd name="connsiteX98" fmla="*/ 10247582 w 11625583"/>
              <a:gd name="connsiteY98" fmla="*/ 5466391 h 6380470"/>
              <a:gd name="connsiteX99" fmla="*/ 10312248 w 11625583"/>
              <a:gd name="connsiteY99" fmla="*/ 5401725 h 6380470"/>
              <a:gd name="connsiteX100" fmla="*/ 10159588 w 11625583"/>
              <a:gd name="connsiteY100" fmla="*/ 5401725 h 6380470"/>
              <a:gd name="connsiteX101" fmla="*/ 10224254 w 11625583"/>
              <a:gd name="connsiteY101" fmla="*/ 5466391 h 6380470"/>
              <a:gd name="connsiteX102" fmla="*/ 10159588 w 11625583"/>
              <a:gd name="connsiteY102" fmla="*/ 5531057 h 6380470"/>
              <a:gd name="connsiteX103" fmla="*/ 10094922 w 11625583"/>
              <a:gd name="connsiteY103" fmla="*/ 5466391 h 6380470"/>
              <a:gd name="connsiteX104" fmla="*/ 10159588 w 11625583"/>
              <a:gd name="connsiteY104" fmla="*/ 5401725 h 6380470"/>
              <a:gd name="connsiteX105" fmla="*/ 10003016 w 11625583"/>
              <a:gd name="connsiteY105" fmla="*/ 5401725 h 6380470"/>
              <a:gd name="connsiteX106" fmla="*/ 10067682 w 11625583"/>
              <a:gd name="connsiteY106" fmla="*/ 5466391 h 6380470"/>
              <a:gd name="connsiteX107" fmla="*/ 10003016 w 11625583"/>
              <a:gd name="connsiteY107" fmla="*/ 5531057 h 6380470"/>
              <a:gd name="connsiteX108" fmla="*/ 9938350 w 11625583"/>
              <a:gd name="connsiteY108" fmla="*/ 5466391 h 6380470"/>
              <a:gd name="connsiteX109" fmla="*/ 10003016 w 11625583"/>
              <a:gd name="connsiteY109" fmla="*/ 5401725 h 6380470"/>
              <a:gd name="connsiteX110" fmla="*/ 6119999 w 11625583"/>
              <a:gd name="connsiteY110" fmla="*/ 5401725 h 6380470"/>
              <a:gd name="connsiteX111" fmla="*/ 6184665 w 11625583"/>
              <a:gd name="connsiteY111" fmla="*/ 5466391 h 6380470"/>
              <a:gd name="connsiteX112" fmla="*/ 6119999 w 11625583"/>
              <a:gd name="connsiteY112" fmla="*/ 5531057 h 6380470"/>
              <a:gd name="connsiteX113" fmla="*/ 6055333 w 11625583"/>
              <a:gd name="connsiteY113" fmla="*/ 5466391 h 6380470"/>
              <a:gd name="connsiteX114" fmla="*/ 6119999 w 11625583"/>
              <a:gd name="connsiteY114" fmla="*/ 5401725 h 6380470"/>
              <a:gd name="connsiteX115" fmla="*/ 3630488 w 11625583"/>
              <a:gd name="connsiteY115" fmla="*/ 5401725 h 6380470"/>
              <a:gd name="connsiteX116" fmla="*/ 3695154 w 11625583"/>
              <a:gd name="connsiteY116" fmla="*/ 5466391 h 6380470"/>
              <a:gd name="connsiteX117" fmla="*/ 3630488 w 11625583"/>
              <a:gd name="connsiteY117" fmla="*/ 5531057 h 6380470"/>
              <a:gd name="connsiteX118" fmla="*/ 3565822 w 11625583"/>
              <a:gd name="connsiteY118" fmla="*/ 5466391 h 6380470"/>
              <a:gd name="connsiteX119" fmla="*/ 3630488 w 11625583"/>
              <a:gd name="connsiteY119" fmla="*/ 5401725 h 6380470"/>
              <a:gd name="connsiteX120" fmla="*/ 3481743 w 11625583"/>
              <a:gd name="connsiteY120" fmla="*/ 5401725 h 6380470"/>
              <a:gd name="connsiteX121" fmla="*/ 3546410 w 11625583"/>
              <a:gd name="connsiteY121" fmla="*/ 5466391 h 6380470"/>
              <a:gd name="connsiteX122" fmla="*/ 3481743 w 11625583"/>
              <a:gd name="connsiteY122" fmla="*/ 5531057 h 6380470"/>
              <a:gd name="connsiteX123" fmla="*/ 3417077 w 11625583"/>
              <a:gd name="connsiteY123" fmla="*/ 5466391 h 6380470"/>
              <a:gd name="connsiteX124" fmla="*/ 3481743 w 11625583"/>
              <a:gd name="connsiteY124" fmla="*/ 5401725 h 6380470"/>
              <a:gd name="connsiteX125" fmla="*/ 3321258 w 11625583"/>
              <a:gd name="connsiteY125" fmla="*/ 5401725 h 6380470"/>
              <a:gd name="connsiteX126" fmla="*/ 3385924 w 11625583"/>
              <a:gd name="connsiteY126" fmla="*/ 5466391 h 6380470"/>
              <a:gd name="connsiteX127" fmla="*/ 3321258 w 11625583"/>
              <a:gd name="connsiteY127" fmla="*/ 5531057 h 6380470"/>
              <a:gd name="connsiteX128" fmla="*/ 3256592 w 11625583"/>
              <a:gd name="connsiteY128" fmla="*/ 5466391 h 6380470"/>
              <a:gd name="connsiteX129" fmla="*/ 3321258 w 11625583"/>
              <a:gd name="connsiteY129" fmla="*/ 5401725 h 6380470"/>
              <a:gd name="connsiteX130" fmla="*/ 3172512 w 11625583"/>
              <a:gd name="connsiteY130" fmla="*/ 5401725 h 6380470"/>
              <a:gd name="connsiteX131" fmla="*/ 3237179 w 11625583"/>
              <a:gd name="connsiteY131" fmla="*/ 5466391 h 6380470"/>
              <a:gd name="connsiteX132" fmla="*/ 3172512 w 11625583"/>
              <a:gd name="connsiteY132" fmla="*/ 5531057 h 6380470"/>
              <a:gd name="connsiteX133" fmla="*/ 3107846 w 11625583"/>
              <a:gd name="connsiteY133" fmla="*/ 5466391 h 6380470"/>
              <a:gd name="connsiteX134" fmla="*/ 3172512 w 11625583"/>
              <a:gd name="connsiteY134" fmla="*/ 5401725 h 6380470"/>
              <a:gd name="connsiteX135" fmla="*/ 9850358 w 11625583"/>
              <a:gd name="connsiteY135" fmla="*/ 5256896 h 6380470"/>
              <a:gd name="connsiteX136" fmla="*/ 9915024 w 11625583"/>
              <a:gd name="connsiteY136" fmla="*/ 5321562 h 6380470"/>
              <a:gd name="connsiteX137" fmla="*/ 9850358 w 11625583"/>
              <a:gd name="connsiteY137" fmla="*/ 5386228 h 6380470"/>
              <a:gd name="connsiteX138" fmla="*/ 9785692 w 11625583"/>
              <a:gd name="connsiteY138" fmla="*/ 5321562 h 6380470"/>
              <a:gd name="connsiteX139" fmla="*/ 9850358 w 11625583"/>
              <a:gd name="connsiteY139" fmla="*/ 5256896 h 6380470"/>
              <a:gd name="connsiteX140" fmla="*/ 9227977 w 11625583"/>
              <a:gd name="connsiteY140" fmla="*/ 5256896 h 6380470"/>
              <a:gd name="connsiteX141" fmla="*/ 9292643 w 11625583"/>
              <a:gd name="connsiteY141" fmla="*/ 5321562 h 6380470"/>
              <a:gd name="connsiteX142" fmla="*/ 9227977 w 11625583"/>
              <a:gd name="connsiteY142" fmla="*/ 5386228 h 6380470"/>
              <a:gd name="connsiteX143" fmla="*/ 9163311 w 11625583"/>
              <a:gd name="connsiteY143" fmla="*/ 5321562 h 6380470"/>
              <a:gd name="connsiteX144" fmla="*/ 9227977 w 11625583"/>
              <a:gd name="connsiteY144" fmla="*/ 5256896 h 6380470"/>
              <a:gd name="connsiteX145" fmla="*/ 6429231 w 11625583"/>
              <a:gd name="connsiteY145" fmla="*/ 5256896 h 6380470"/>
              <a:gd name="connsiteX146" fmla="*/ 6493897 w 11625583"/>
              <a:gd name="connsiteY146" fmla="*/ 5321562 h 6380470"/>
              <a:gd name="connsiteX147" fmla="*/ 6429231 w 11625583"/>
              <a:gd name="connsiteY147" fmla="*/ 5386228 h 6380470"/>
              <a:gd name="connsiteX148" fmla="*/ 6364565 w 11625583"/>
              <a:gd name="connsiteY148" fmla="*/ 5321562 h 6380470"/>
              <a:gd name="connsiteX149" fmla="*/ 6429231 w 11625583"/>
              <a:gd name="connsiteY149" fmla="*/ 5256896 h 6380470"/>
              <a:gd name="connsiteX150" fmla="*/ 6276572 w 11625583"/>
              <a:gd name="connsiteY150" fmla="*/ 5256896 h 6380470"/>
              <a:gd name="connsiteX151" fmla="*/ 6341238 w 11625583"/>
              <a:gd name="connsiteY151" fmla="*/ 5321562 h 6380470"/>
              <a:gd name="connsiteX152" fmla="*/ 6276572 w 11625583"/>
              <a:gd name="connsiteY152" fmla="*/ 5386228 h 6380470"/>
              <a:gd name="connsiteX153" fmla="*/ 6211906 w 11625583"/>
              <a:gd name="connsiteY153" fmla="*/ 5321562 h 6380470"/>
              <a:gd name="connsiteX154" fmla="*/ 6276572 w 11625583"/>
              <a:gd name="connsiteY154" fmla="*/ 5256896 h 6380470"/>
              <a:gd name="connsiteX155" fmla="*/ 3790976 w 11625583"/>
              <a:gd name="connsiteY155" fmla="*/ 5256896 h 6380470"/>
              <a:gd name="connsiteX156" fmla="*/ 3855643 w 11625583"/>
              <a:gd name="connsiteY156" fmla="*/ 5321562 h 6380470"/>
              <a:gd name="connsiteX157" fmla="*/ 3790976 w 11625583"/>
              <a:gd name="connsiteY157" fmla="*/ 5386228 h 6380470"/>
              <a:gd name="connsiteX158" fmla="*/ 3726310 w 11625583"/>
              <a:gd name="connsiteY158" fmla="*/ 5321562 h 6380470"/>
              <a:gd name="connsiteX159" fmla="*/ 3790976 w 11625583"/>
              <a:gd name="connsiteY159" fmla="*/ 5256896 h 6380470"/>
              <a:gd name="connsiteX160" fmla="*/ 3481745 w 11625583"/>
              <a:gd name="connsiteY160" fmla="*/ 5256896 h 6380470"/>
              <a:gd name="connsiteX161" fmla="*/ 3546411 w 11625583"/>
              <a:gd name="connsiteY161" fmla="*/ 5321562 h 6380470"/>
              <a:gd name="connsiteX162" fmla="*/ 3481745 w 11625583"/>
              <a:gd name="connsiteY162" fmla="*/ 5386228 h 6380470"/>
              <a:gd name="connsiteX163" fmla="*/ 3417080 w 11625583"/>
              <a:gd name="connsiteY163" fmla="*/ 5321562 h 6380470"/>
              <a:gd name="connsiteX164" fmla="*/ 3481745 w 11625583"/>
              <a:gd name="connsiteY164" fmla="*/ 5256896 h 6380470"/>
              <a:gd name="connsiteX165" fmla="*/ 3172514 w 11625583"/>
              <a:gd name="connsiteY165" fmla="*/ 5256896 h 6380470"/>
              <a:gd name="connsiteX166" fmla="*/ 3237180 w 11625583"/>
              <a:gd name="connsiteY166" fmla="*/ 5321562 h 6380470"/>
              <a:gd name="connsiteX167" fmla="*/ 3172514 w 11625583"/>
              <a:gd name="connsiteY167" fmla="*/ 5386228 h 6380470"/>
              <a:gd name="connsiteX168" fmla="*/ 3107847 w 11625583"/>
              <a:gd name="connsiteY168" fmla="*/ 5321562 h 6380470"/>
              <a:gd name="connsiteX169" fmla="*/ 3172514 w 11625583"/>
              <a:gd name="connsiteY169" fmla="*/ 5256896 h 6380470"/>
              <a:gd name="connsiteX170" fmla="*/ 10312248 w 11625583"/>
              <a:gd name="connsiteY170" fmla="*/ 5256895 h 6380470"/>
              <a:gd name="connsiteX171" fmla="*/ 10376914 w 11625583"/>
              <a:gd name="connsiteY171" fmla="*/ 5321561 h 6380470"/>
              <a:gd name="connsiteX172" fmla="*/ 10312248 w 11625583"/>
              <a:gd name="connsiteY172" fmla="*/ 5386227 h 6380470"/>
              <a:gd name="connsiteX173" fmla="*/ 10247582 w 11625583"/>
              <a:gd name="connsiteY173" fmla="*/ 5321561 h 6380470"/>
              <a:gd name="connsiteX174" fmla="*/ 10312248 w 11625583"/>
              <a:gd name="connsiteY174" fmla="*/ 5256895 h 6380470"/>
              <a:gd name="connsiteX175" fmla="*/ 10159588 w 11625583"/>
              <a:gd name="connsiteY175" fmla="*/ 5256895 h 6380470"/>
              <a:gd name="connsiteX176" fmla="*/ 10224254 w 11625583"/>
              <a:gd name="connsiteY176" fmla="*/ 5321561 h 6380470"/>
              <a:gd name="connsiteX177" fmla="*/ 10159588 w 11625583"/>
              <a:gd name="connsiteY177" fmla="*/ 5386227 h 6380470"/>
              <a:gd name="connsiteX178" fmla="*/ 10094922 w 11625583"/>
              <a:gd name="connsiteY178" fmla="*/ 5321561 h 6380470"/>
              <a:gd name="connsiteX179" fmla="*/ 10159588 w 11625583"/>
              <a:gd name="connsiteY179" fmla="*/ 5256895 h 6380470"/>
              <a:gd name="connsiteX180" fmla="*/ 10003016 w 11625583"/>
              <a:gd name="connsiteY180" fmla="*/ 5256895 h 6380470"/>
              <a:gd name="connsiteX181" fmla="*/ 10067682 w 11625583"/>
              <a:gd name="connsiteY181" fmla="*/ 5321561 h 6380470"/>
              <a:gd name="connsiteX182" fmla="*/ 10003016 w 11625583"/>
              <a:gd name="connsiteY182" fmla="*/ 5386227 h 6380470"/>
              <a:gd name="connsiteX183" fmla="*/ 9938350 w 11625583"/>
              <a:gd name="connsiteY183" fmla="*/ 5321561 h 6380470"/>
              <a:gd name="connsiteX184" fmla="*/ 10003016 w 11625583"/>
              <a:gd name="connsiteY184" fmla="*/ 5256895 h 6380470"/>
              <a:gd name="connsiteX185" fmla="*/ 9384550 w 11625583"/>
              <a:gd name="connsiteY185" fmla="*/ 5256895 h 6380470"/>
              <a:gd name="connsiteX186" fmla="*/ 9449216 w 11625583"/>
              <a:gd name="connsiteY186" fmla="*/ 5321561 h 6380470"/>
              <a:gd name="connsiteX187" fmla="*/ 9384550 w 11625583"/>
              <a:gd name="connsiteY187" fmla="*/ 5386227 h 6380470"/>
              <a:gd name="connsiteX188" fmla="*/ 9319884 w 11625583"/>
              <a:gd name="connsiteY188" fmla="*/ 5321561 h 6380470"/>
              <a:gd name="connsiteX189" fmla="*/ 9384550 w 11625583"/>
              <a:gd name="connsiteY189" fmla="*/ 5256895 h 6380470"/>
              <a:gd name="connsiteX190" fmla="*/ 6119999 w 11625583"/>
              <a:gd name="connsiteY190" fmla="*/ 5256895 h 6380470"/>
              <a:gd name="connsiteX191" fmla="*/ 6184665 w 11625583"/>
              <a:gd name="connsiteY191" fmla="*/ 5321561 h 6380470"/>
              <a:gd name="connsiteX192" fmla="*/ 6119999 w 11625583"/>
              <a:gd name="connsiteY192" fmla="*/ 5386227 h 6380470"/>
              <a:gd name="connsiteX193" fmla="*/ 6055333 w 11625583"/>
              <a:gd name="connsiteY193" fmla="*/ 5321561 h 6380470"/>
              <a:gd name="connsiteX194" fmla="*/ 6119999 w 11625583"/>
              <a:gd name="connsiteY194" fmla="*/ 5256895 h 6380470"/>
              <a:gd name="connsiteX195" fmla="*/ 3630491 w 11625583"/>
              <a:gd name="connsiteY195" fmla="*/ 5256895 h 6380470"/>
              <a:gd name="connsiteX196" fmla="*/ 3695156 w 11625583"/>
              <a:gd name="connsiteY196" fmla="*/ 5321561 h 6380470"/>
              <a:gd name="connsiteX197" fmla="*/ 3630491 w 11625583"/>
              <a:gd name="connsiteY197" fmla="*/ 5386227 h 6380470"/>
              <a:gd name="connsiteX198" fmla="*/ 3565825 w 11625583"/>
              <a:gd name="connsiteY198" fmla="*/ 5321561 h 6380470"/>
              <a:gd name="connsiteX199" fmla="*/ 3630491 w 11625583"/>
              <a:gd name="connsiteY199" fmla="*/ 5256895 h 6380470"/>
              <a:gd name="connsiteX200" fmla="*/ 3321260 w 11625583"/>
              <a:gd name="connsiteY200" fmla="*/ 5256895 h 6380470"/>
              <a:gd name="connsiteX201" fmla="*/ 3385925 w 11625583"/>
              <a:gd name="connsiteY201" fmla="*/ 5321561 h 6380470"/>
              <a:gd name="connsiteX202" fmla="*/ 3321260 w 11625583"/>
              <a:gd name="connsiteY202" fmla="*/ 5386227 h 6380470"/>
              <a:gd name="connsiteX203" fmla="*/ 3256594 w 11625583"/>
              <a:gd name="connsiteY203" fmla="*/ 5321561 h 6380470"/>
              <a:gd name="connsiteX204" fmla="*/ 3321260 w 11625583"/>
              <a:gd name="connsiteY204" fmla="*/ 5256895 h 6380470"/>
              <a:gd name="connsiteX205" fmla="*/ 10468821 w 11625583"/>
              <a:gd name="connsiteY205" fmla="*/ 5115980 h 6380470"/>
              <a:gd name="connsiteX206" fmla="*/ 10533487 w 11625583"/>
              <a:gd name="connsiteY206" fmla="*/ 5180646 h 6380470"/>
              <a:gd name="connsiteX207" fmla="*/ 10468821 w 11625583"/>
              <a:gd name="connsiteY207" fmla="*/ 5245312 h 6380470"/>
              <a:gd name="connsiteX208" fmla="*/ 10404155 w 11625583"/>
              <a:gd name="connsiteY208" fmla="*/ 5180646 h 6380470"/>
              <a:gd name="connsiteX209" fmla="*/ 10468821 w 11625583"/>
              <a:gd name="connsiteY209" fmla="*/ 5115980 h 6380470"/>
              <a:gd name="connsiteX210" fmla="*/ 9850358 w 11625583"/>
              <a:gd name="connsiteY210" fmla="*/ 5115980 h 6380470"/>
              <a:gd name="connsiteX211" fmla="*/ 9915024 w 11625583"/>
              <a:gd name="connsiteY211" fmla="*/ 5180646 h 6380470"/>
              <a:gd name="connsiteX212" fmla="*/ 9850358 w 11625583"/>
              <a:gd name="connsiteY212" fmla="*/ 5245312 h 6380470"/>
              <a:gd name="connsiteX213" fmla="*/ 9785692 w 11625583"/>
              <a:gd name="connsiteY213" fmla="*/ 5180646 h 6380470"/>
              <a:gd name="connsiteX214" fmla="*/ 9850358 w 11625583"/>
              <a:gd name="connsiteY214" fmla="*/ 5115980 h 6380470"/>
              <a:gd name="connsiteX215" fmla="*/ 9227977 w 11625583"/>
              <a:gd name="connsiteY215" fmla="*/ 5115980 h 6380470"/>
              <a:gd name="connsiteX216" fmla="*/ 9292643 w 11625583"/>
              <a:gd name="connsiteY216" fmla="*/ 5180646 h 6380470"/>
              <a:gd name="connsiteX217" fmla="*/ 9227977 w 11625583"/>
              <a:gd name="connsiteY217" fmla="*/ 5245312 h 6380470"/>
              <a:gd name="connsiteX218" fmla="*/ 9163311 w 11625583"/>
              <a:gd name="connsiteY218" fmla="*/ 5180646 h 6380470"/>
              <a:gd name="connsiteX219" fmla="*/ 9227977 w 11625583"/>
              <a:gd name="connsiteY219" fmla="*/ 5115980 h 6380470"/>
              <a:gd name="connsiteX220" fmla="*/ 6429231 w 11625583"/>
              <a:gd name="connsiteY220" fmla="*/ 5115980 h 6380470"/>
              <a:gd name="connsiteX221" fmla="*/ 6493897 w 11625583"/>
              <a:gd name="connsiteY221" fmla="*/ 5180646 h 6380470"/>
              <a:gd name="connsiteX222" fmla="*/ 6429231 w 11625583"/>
              <a:gd name="connsiteY222" fmla="*/ 5245312 h 6380470"/>
              <a:gd name="connsiteX223" fmla="*/ 6364565 w 11625583"/>
              <a:gd name="connsiteY223" fmla="*/ 5180646 h 6380470"/>
              <a:gd name="connsiteX224" fmla="*/ 6429231 w 11625583"/>
              <a:gd name="connsiteY224" fmla="*/ 5115980 h 6380470"/>
              <a:gd name="connsiteX225" fmla="*/ 6276572 w 11625583"/>
              <a:gd name="connsiteY225" fmla="*/ 5115980 h 6380470"/>
              <a:gd name="connsiteX226" fmla="*/ 6341238 w 11625583"/>
              <a:gd name="connsiteY226" fmla="*/ 5180646 h 6380470"/>
              <a:gd name="connsiteX227" fmla="*/ 6276572 w 11625583"/>
              <a:gd name="connsiteY227" fmla="*/ 5245312 h 6380470"/>
              <a:gd name="connsiteX228" fmla="*/ 6211906 w 11625583"/>
              <a:gd name="connsiteY228" fmla="*/ 5180646 h 6380470"/>
              <a:gd name="connsiteX229" fmla="*/ 6276572 w 11625583"/>
              <a:gd name="connsiteY229" fmla="*/ 5115980 h 6380470"/>
              <a:gd name="connsiteX230" fmla="*/ 5967339 w 11625583"/>
              <a:gd name="connsiteY230" fmla="*/ 5115980 h 6380470"/>
              <a:gd name="connsiteX231" fmla="*/ 6032005 w 11625583"/>
              <a:gd name="connsiteY231" fmla="*/ 5180646 h 6380470"/>
              <a:gd name="connsiteX232" fmla="*/ 5967339 w 11625583"/>
              <a:gd name="connsiteY232" fmla="*/ 5245312 h 6380470"/>
              <a:gd name="connsiteX233" fmla="*/ 5902673 w 11625583"/>
              <a:gd name="connsiteY233" fmla="*/ 5180646 h 6380470"/>
              <a:gd name="connsiteX234" fmla="*/ 5967339 w 11625583"/>
              <a:gd name="connsiteY234" fmla="*/ 5115980 h 6380470"/>
              <a:gd name="connsiteX235" fmla="*/ 3790979 w 11625583"/>
              <a:gd name="connsiteY235" fmla="*/ 5115980 h 6380470"/>
              <a:gd name="connsiteX236" fmla="*/ 3855646 w 11625583"/>
              <a:gd name="connsiteY236" fmla="*/ 5180646 h 6380470"/>
              <a:gd name="connsiteX237" fmla="*/ 3790979 w 11625583"/>
              <a:gd name="connsiteY237" fmla="*/ 5245312 h 6380470"/>
              <a:gd name="connsiteX238" fmla="*/ 3726312 w 11625583"/>
              <a:gd name="connsiteY238" fmla="*/ 5180646 h 6380470"/>
              <a:gd name="connsiteX239" fmla="*/ 3790979 w 11625583"/>
              <a:gd name="connsiteY239" fmla="*/ 5115980 h 6380470"/>
              <a:gd name="connsiteX240" fmla="*/ 3481748 w 11625583"/>
              <a:gd name="connsiteY240" fmla="*/ 5115980 h 6380470"/>
              <a:gd name="connsiteX241" fmla="*/ 3546415 w 11625583"/>
              <a:gd name="connsiteY241" fmla="*/ 5180646 h 6380470"/>
              <a:gd name="connsiteX242" fmla="*/ 3481748 w 11625583"/>
              <a:gd name="connsiteY242" fmla="*/ 5245312 h 6380470"/>
              <a:gd name="connsiteX243" fmla="*/ 3417082 w 11625583"/>
              <a:gd name="connsiteY243" fmla="*/ 5180646 h 6380470"/>
              <a:gd name="connsiteX244" fmla="*/ 3481748 w 11625583"/>
              <a:gd name="connsiteY244" fmla="*/ 5115980 h 6380470"/>
              <a:gd name="connsiteX245" fmla="*/ 3172518 w 11625583"/>
              <a:gd name="connsiteY245" fmla="*/ 5115980 h 6380470"/>
              <a:gd name="connsiteX246" fmla="*/ 3237185 w 11625583"/>
              <a:gd name="connsiteY246" fmla="*/ 5180646 h 6380470"/>
              <a:gd name="connsiteX247" fmla="*/ 3172518 w 11625583"/>
              <a:gd name="connsiteY247" fmla="*/ 5245312 h 6380470"/>
              <a:gd name="connsiteX248" fmla="*/ 3107851 w 11625583"/>
              <a:gd name="connsiteY248" fmla="*/ 5180646 h 6380470"/>
              <a:gd name="connsiteX249" fmla="*/ 3172518 w 11625583"/>
              <a:gd name="connsiteY249" fmla="*/ 5115980 h 6380470"/>
              <a:gd name="connsiteX250" fmla="*/ 10312248 w 11625583"/>
              <a:gd name="connsiteY250" fmla="*/ 5115979 h 6380470"/>
              <a:gd name="connsiteX251" fmla="*/ 10376914 w 11625583"/>
              <a:gd name="connsiteY251" fmla="*/ 5180645 h 6380470"/>
              <a:gd name="connsiteX252" fmla="*/ 10312248 w 11625583"/>
              <a:gd name="connsiteY252" fmla="*/ 5245311 h 6380470"/>
              <a:gd name="connsiteX253" fmla="*/ 10247582 w 11625583"/>
              <a:gd name="connsiteY253" fmla="*/ 5180645 h 6380470"/>
              <a:gd name="connsiteX254" fmla="*/ 10312248 w 11625583"/>
              <a:gd name="connsiteY254" fmla="*/ 5115979 h 6380470"/>
              <a:gd name="connsiteX255" fmla="*/ 10159588 w 11625583"/>
              <a:gd name="connsiteY255" fmla="*/ 5115979 h 6380470"/>
              <a:gd name="connsiteX256" fmla="*/ 10224254 w 11625583"/>
              <a:gd name="connsiteY256" fmla="*/ 5180645 h 6380470"/>
              <a:gd name="connsiteX257" fmla="*/ 10159588 w 11625583"/>
              <a:gd name="connsiteY257" fmla="*/ 5245311 h 6380470"/>
              <a:gd name="connsiteX258" fmla="*/ 10094922 w 11625583"/>
              <a:gd name="connsiteY258" fmla="*/ 5180645 h 6380470"/>
              <a:gd name="connsiteX259" fmla="*/ 10159588 w 11625583"/>
              <a:gd name="connsiteY259" fmla="*/ 5115979 h 6380470"/>
              <a:gd name="connsiteX260" fmla="*/ 10003016 w 11625583"/>
              <a:gd name="connsiteY260" fmla="*/ 5115979 h 6380470"/>
              <a:gd name="connsiteX261" fmla="*/ 10067682 w 11625583"/>
              <a:gd name="connsiteY261" fmla="*/ 5180645 h 6380470"/>
              <a:gd name="connsiteX262" fmla="*/ 10003016 w 11625583"/>
              <a:gd name="connsiteY262" fmla="*/ 5245311 h 6380470"/>
              <a:gd name="connsiteX263" fmla="*/ 9938350 w 11625583"/>
              <a:gd name="connsiteY263" fmla="*/ 5180645 h 6380470"/>
              <a:gd name="connsiteX264" fmla="*/ 10003016 w 11625583"/>
              <a:gd name="connsiteY264" fmla="*/ 5115979 h 6380470"/>
              <a:gd name="connsiteX265" fmla="*/ 9693783 w 11625583"/>
              <a:gd name="connsiteY265" fmla="*/ 5115979 h 6380470"/>
              <a:gd name="connsiteX266" fmla="*/ 9758449 w 11625583"/>
              <a:gd name="connsiteY266" fmla="*/ 5180645 h 6380470"/>
              <a:gd name="connsiteX267" fmla="*/ 9693783 w 11625583"/>
              <a:gd name="connsiteY267" fmla="*/ 5245311 h 6380470"/>
              <a:gd name="connsiteX268" fmla="*/ 9629117 w 11625583"/>
              <a:gd name="connsiteY268" fmla="*/ 5180645 h 6380470"/>
              <a:gd name="connsiteX269" fmla="*/ 9693783 w 11625583"/>
              <a:gd name="connsiteY269" fmla="*/ 5115979 h 6380470"/>
              <a:gd name="connsiteX270" fmla="*/ 9541125 w 11625583"/>
              <a:gd name="connsiteY270" fmla="*/ 5115979 h 6380470"/>
              <a:gd name="connsiteX271" fmla="*/ 9605791 w 11625583"/>
              <a:gd name="connsiteY271" fmla="*/ 5180645 h 6380470"/>
              <a:gd name="connsiteX272" fmla="*/ 9541125 w 11625583"/>
              <a:gd name="connsiteY272" fmla="*/ 5245311 h 6380470"/>
              <a:gd name="connsiteX273" fmla="*/ 9476459 w 11625583"/>
              <a:gd name="connsiteY273" fmla="*/ 5180645 h 6380470"/>
              <a:gd name="connsiteX274" fmla="*/ 9541125 w 11625583"/>
              <a:gd name="connsiteY274" fmla="*/ 5115979 h 6380470"/>
              <a:gd name="connsiteX275" fmla="*/ 9384550 w 11625583"/>
              <a:gd name="connsiteY275" fmla="*/ 5115979 h 6380470"/>
              <a:gd name="connsiteX276" fmla="*/ 9449216 w 11625583"/>
              <a:gd name="connsiteY276" fmla="*/ 5180645 h 6380470"/>
              <a:gd name="connsiteX277" fmla="*/ 9384550 w 11625583"/>
              <a:gd name="connsiteY277" fmla="*/ 5245311 h 6380470"/>
              <a:gd name="connsiteX278" fmla="*/ 9319884 w 11625583"/>
              <a:gd name="connsiteY278" fmla="*/ 5180645 h 6380470"/>
              <a:gd name="connsiteX279" fmla="*/ 9384550 w 11625583"/>
              <a:gd name="connsiteY279" fmla="*/ 5115979 h 6380470"/>
              <a:gd name="connsiteX280" fmla="*/ 6119999 w 11625583"/>
              <a:gd name="connsiteY280" fmla="*/ 5115979 h 6380470"/>
              <a:gd name="connsiteX281" fmla="*/ 6184665 w 11625583"/>
              <a:gd name="connsiteY281" fmla="*/ 5180645 h 6380470"/>
              <a:gd name="connsiteX282" fmla="*/ 6119999 w 11625583"/>
              <a:gd name="connsiteY282" fmla="*/ 5245311 h 6380470"/>
              <a:gd name="connsiteX283" fmla="*/ 6055333 w 11625583"/>
              <a:gd name="connsiteY283" fmla="*/ 5180645 h 6380470"/>
              <a:gd name="connsiteX284" fmla="*/ 6119999 w 11625583"/>
              <a:gd name="connsiteY284" fmla="*/ 5115979 h 6380470"/>
              <a:gd name="connsiteX285" fmla="*/ 3630493 w 11625583"/>
              <a:gd name="connsiteY285" fmla="*/ 5115979 h 6380470"/>
              <a:gd name="connsiteX286" fmla="*/ 3695158 w 11625583"/>
              <a:gd name="connsiteY286" fmla="*/ 5180645 h 6380470"/>
              <a:gd name="connsiteX287" fmla="*/ 3630493 w 11625583"/>
              <a:gd name="connsiteY287" fmla="*/ 5245311 h 6380470"/>
              <a:gd name="connsiteX288" fmla="*/ 3565827 w 11625583"/>
              <a:gd name="connsiteY288" fmla="*/ 5180645 h 6380470"/>
              <a:gd name="connsiteX289" fmla="*/ 3630493 w 11625583"/>
              <a:gd name="connsiteY289" fmla="*/ 5115979 h 6380470"/>
              <a:gd name="connsiteX290" fmla="*/ 3321262 w 11625583"/>
              <a:gd name="connsiteY290" fmla="*/ 5115979 h 6380470"/>
              <a:gd name="connsiteX291" fmla="*/ 3385929 w 11625583"/>
              <a:gd name="connsiteY291" fmla="*/ 5180645 h 6380470"/>
              <a:gd name="connsiteX292" fmla="*/ 3321262 w 11625583"/>
              <a:gd name="connsiteY292" fmla="*/ 5245311 h 6380470"/>
              <a:gd name="connsiteX293" fmla="*/ 3256596 w 11625583"/>
              <a:gd name="connsiteY293" fmla="*/ 5180645 h 6380470"/>
              <a:gd name="connsiteX294" fmla="*/ 3321262 w 11625583"/>
              <a:gd name="connsiteY294" fmla="*/ 5115979 h 6380470"/>
              <a:gd name="connsiteX295" fmla="*/ 10468821 w 11625583"/>
              <a:gd name="connsiteY295" fmla="*/ 4975063 h 6380470"/>
              <a:gd name="connsiteX296" fmla="*/ 10533487 w 11625583"/>
              <a:gd name="connsiteY296" fmla="*/ 5039729 h 6380470"/>
              <a:gd name="connsiteX297" fmla="*/ 10468821 w 11625583"/>
              <a:gd name="connsiteY297" fmla="*/ 5104395 h 6380470"/>
              <a:gd name="connsiteX298" fmla="*/ 10404155 w 11625583"/>
              <a:gd name="connsiteY298" fmla="*/ 5039729 h 6380470"/>
              <a:gd name="connsiteX299" fmla="*/ 10468821 w 11625583"/>
              <a:gd name="connsiteY299" fmla="*/ 4975063 h 6380470"/>
              <a:gd name="connsiteX300" fmla="*/ 10312248 w 11625583"/>
              <a:gd name="connsiteY300" fmla="*/ 4975063 h 6380470"/>
              <a:gd name="connsiteX301" fmla="*/ 10376914 w 11625583"/>
              <a:gd name="connsiteY301" fmla="*/ 5039729 h 6380470"/>
              <a:gd name="connsiteX302" fmla="*/ 10312248 w 11625583"/>
              <a:gd name="connsiteY302" fmla="*/ 5104395 h 6380470"/>
              <a:gd name="connsiteX303" fmla="*/ 10247582 w 11625583"/>
              <a:gd name="connsiteY303" fmla="*/ 5039729 h 6380470"/>
              <a:gd name="connsiteX304" fmla="*/ 10312248 w 11625583"/>
              <a:gd name="connsiteY304" fmla="*/ 4975063 h 6380470"/>
              <a:gd name="connsiteX305" fmla="*/ 10159588 w 11625583"/>
              <a:gd name="connsiteY305" fmla="*/ 4975063 h 6380470"/>
              <a:gd name="connsiteX306" fmla="*/ 10224254 w 11625583"/>
              <a:gd name="connsiteY306" fmla="*/ 5039729 h 6380470"/>
              <a:gd name="connsiteX307" fmla="*/ 10159588 w 11625583"/>
              <a:gd name="connsiteY307" fmla="*/ 5104395 h 6380470"/>
              <a:gd name="connsiteX308" fmla="*/ 10094922 w 11625583"/>
              <a:gd name="connsiteY308" fmla="*/ 5039729 h 6380470"/>
              <a:gd name="connsiteX309" fmla="*/ 10159588 w 11625583"/>
              <a:gd name="connsiteY309" fmla="*/ 4975063 h 6380470"/>
              <a:gd name="connsiteX310" fmla="*/ 10003016 w 11625583"/>
              <a:gd name="connsiteY310" fmla="*/ 4975063 h 6380470"/>
              <a:gd name="connsiteX311" fmla="*/ 10067682 w 11625583"/>
              <a:gd name="connsiteY311" fmla="*/ 5039729 h 6380470"/>
              <a:gd name="connsiteX312" fmla="*/ 10003016 w 11625583"/>
              <a:gd name="connsiteY312" fmla="*/ 5104395 h 6380470"/>
              <a:gd name="connsiteX313" fmla="*/ 9938350 w 11625583"/>
              <a:gd name="connsiteY313" fmla="*/ 5039729 h 6380470"/>
              <a:gd name="connsiteX314" fmla="*/ 10003016 w 11625583"/>
              <a:gd name="connsiteY314" fmla="*/ 4975063 h 6380470"/>
              <a:gd name="connsiteX315" fmla="*/ 9850358 w 11625583"/>
              <a:gd name="connsiteY315" fmla="*/ 4975063 h 6380470"/>
              <a:gd name="connsiteX316" fmla="*/ 9915024 w 11625583"/>
              <a:gd name="connsiteY316" fmla="*/ 5039729 h 6380470"/>
              <a:gd name="connsiteX317" fmla="*/ 9850358 w 11625583"/>
              <a:gd name="connsiteY317" fmla="*/ 5104395 h 6380470"/>
              <a:gd name="connsiteX318" fmla="*/ 9785692 w 11625583"/>
              <a:gd name="connsiteY318" fmla="*/ 5039729 h 6380470"/>
              <a:gd name="connsiteX319" fmla="*/ 9850358 w 11625583"/>
              <a:gd name="connsiteY319" fmla="*/ 4975063 h 6380470"/>
              <a:gd name="connsiteX320" fmla="*/ 9693783 w 11625583"/>
              <a:gd name="connsiteY320" fmla="*/ 4975063 h 6380470"/>
              <a:gd name="connsiteX321" fmla="*/ 9758449 w 11625583"/>
              <a:gd name="connsiteY321" fmla="*/ 5039729 h 6380470"/>
              <a:gd name="connsiteX322" fmla="*/ 9693783 w 11625583"/>
              <a:gd name="connsiteY322" fmla="*/ 5104395 h 6380470"/>
              <a:gd name="connsiteX323" fmla="*/ 9629117 w 11625583"/>
              <a:gd name="connsiteY323" fmla="*/ 5039729 h 6380470"/>
              <a:gd name="connsiteX324" fmla="*/ 9693783 w 11625583"/>
              <a:gd name="connsiteY324" fmla="*/ 4975063 h 6380470"/>
              <a:gd name="connsiteX325" fmla="*/ 9541125 w 11625583"/>
              <a:gd name="connsiteY325" fmla="*/ 4975063 h 6380470"/>
              <a:gd name="connsiteX326" fmla="*/ 9605791 w 11625583"/>
              <a:gd name="connsiteY326" fmla="*/ 5039729 h 6380470"/>
              <a:gd name="connsiteX327" fmla="*/ 9541125 w 11625583"/>
              <a:gd name="connsiteY327" fmla="*/ 5104395 h 6380470"/>
              <a:gd name="connsiteX328" fmla="*/ 9476459 w 11625583"/>
              <a:gd name="connsiteY328" fmla="*/ 5039729 h 6380470"/>
              <a:gd name="connsiteX329" fmla="*/ 9541125 w 11625583"/>
              <a:gd name="connsiteY329" fmla="*/ 4975063 h 6380470"/>
              <a:gd name="connsiteX330" fmla="*/ 9384550 w 11625583"/>
              <a:gd name="connsiteY330" fmla="*/ 4975063 h 6380470"/>
              <a:gd name="connsiteX331" fmla="*/ 9449216 w 11625583"/>
              <a:gd name="connsiteY331" fmla="*/ 5039729 h 6380470"/>
              <a:gd name="connsiteX332" fmla="*/ 9384550 w 11625583"/>
              <a:gd name="connsiteY332" fmla="*/ 5104395 h 6380470"/>
              <a:gd name="connsiteX333" fmla="*/ 9319884 w 11625583"/>
              <a:gd name="connsiteY333" fmla="*/ 5039729 h 6380470"/>
              <a:gd name="connsiteX334" fmla="*/ 9384550 w 11625583"/>
              <a:gd name="connsiteY334" fmla="*/ 4975063 h 6380470"/>
              <a:gd name="connsiteX335" fmla="*/ 9227977 w 11625583"/>
              <a:gd name="connsiteY335" fmla="*/ 4975063 h 6380470"/>
              <a:gd name="connsiteX336" fmla="*/ 9292643 w 11625583"/>
              <a:gd name="connsiteY336" fmla="*/ 5039729 h 6380470"/>
              <a:gd name="connsiteX337" fmla="*/ 9227977 w 11625583"/>
              <a:gd name="connsiteY337" fmla="*/ 5104395 h 6380470"/>
              <a:gd name="connsiteX338" fmla="*/ 9163311 w 11625583"/>
              <a:gd name="connsiteY338" fmla="*/ 5039729 h 6380470"/>
              <a:gd name="connsiteX339" fmla="*/ 9227977 w 11625583"/>
              <a:gd name="connsiteY339" fmla="*/ 4975063 h 6380470"/>
              <a:gd name="connsiteX340" fmla="*/ 7055523 w 11625583"/>
              <a:gd name="connsiteY340" fmla="*/ 4975063 h 6380470"/>
              <a:gd name="connsiteX341" fmla="*/ 7120189 w 11625583"/>
              <a:gd name="connsiteY341" fmla="*/ 5039729 h 6380470"/>
              <a:gd name="connsiteX342" fmla="*/ 7055523 w 11625583"/>
              <a:gd name="connsiteY342" fmla="*/ 5104395 h 6380470"/>
              <a:gd name="connsiteX343" fmla="*/ 6990857 w 11625583"/>
              <a:gd name="connsiteY343" fmla="*/ 5039729 h 6380470"/>
              <a:gd name="connsiteX344" fmla="*/ 7055523 w 11625583"/>
              <a:gd name="connsiteY344" fmla="*/ 4975063 h 6380470"/>
              <a:gd name="connsiteX345" fmla="*/ 6585804 w 11625583"/>
              <a:gd name="connsiteY345" fmla="*/ 4975063 h 6380470"/>
              <a:gd name="connsiteX346" fmla="*/ 6650470 w 11625583"/>
              <a:gd name="connsiteY346" fmla="*/ 5039729 h 6380470"/>
              <a:gd name="connsiteX347" fmla="*/ 6585804 w 11625583"/>
              <a:gd name="connsiteY347" fmla="*/ 5104395 h 6380470"/>
              <a:gd name="connsiteX348" fmla="*/ 6521138 w 11625583"/>
              <a:gd name="connsiteY348" fmla="*/ 5039729 h 6380470"/>
              <a:gd name="connsiteX349" fmla="*/ 6585804 w 11625583"/>
              <a:gd name="connsiteY349" fmla="*/ 4975063 h 6380470"/>
              <a:gd name="connsiteX350" fmla="*/ 6429231 w 11625583"/>
              <a:gd name="connsiteY350" fmla="*/ 4975063 h 6380470"/>
              <a:gd name="connsiteX351" fmla="*/ 6493897 w 11625583"/>
              <a:gd name="connsiteY351" fmla="*/ 5039729 h 6380470"/>
              <a:gd name="connsiteX352" fmla="*/ 6429231 w 11625583"/>
              <a:gd name="connsiteY352" fmla="*/ 5104395 h 6380470"/>
              <a:gd name="connsiteX353" fmla="*/ 6364565 w 11625583"/>
              <a:gd name="connsiteY353" fmla="*/ 5039729 h 6380470"/>
              <a:gd name="connsiteX354" fmla="*/ 6429231 w 11625583"/>
              <a:gd name="connsiteY354" fmla="*/ 4975063 h 6380470"/>
              <a:gd name="connsiteX355" fmla="*/ 6276572 w 11625583"/>
              <a:gd name="connsiteY355" fmla="*/ 4975063 h 6380470"/>
              <a:gd name="connsiteX356" fmla="*/ 6341238 w 11625583"/>
              <a:gd name="connsiteY356" fmla="*/ 5039729 h 6380470"/>
              <a:gd name="connsiteX357" fmla="*/ 6276572 w 11625583"/>
              <a:gd name="connsiteY357" fmla="*/ 5104395 h 6380470"/>
              <a:gd name="connsiteX358" fmla="*/ 6211906 w 11625583"/>
              <a:gd name="connsiteY358" fmla="*/ 5039729 h 6380470"/>
              <a:gd name="connsiteX359" fmla="*/ 6276572 w 11625583"/>
              <a:gd name="connsiteY359" fmla="*/ 4975063 h 6380470"/>
              <a:gd name="connsiteX360" fmla="*/ 6119999 w 11625583"/>
              <a:gd name="connsiteY360" fmla="*/ 4975063 h 6380470"/>
              <a:gd name="connsiteX361" fmla="*/ 6184665 w 11625583"/>
              <a:gd name="connsiteY361" fmla="*/ 5039729 h 6380470"/>
              <a:gd name="connsiteX362" fmla="*/ 6119999 w 11625583"/>
              <a:gd name="connsiteY362" fmla="*/ 5104395 h 6380470"/>
              <a:gd name="connsiteX363" fmla="*/ 6055333 w 11625583"/>
              <a:gd name="connsiteY363" fmla="*/ 5039729 h 6380470"/>
              <a:gd name="connsiteX364" fmla="*/ 6119999 w 11625583"/>
              <a:gd name="connsiteY364" fmla="*/ 4975063 h 6380470"/>
              <a:gd name="connsiteX365" fmla="*/ 5967339 w 11625583"/>
              <a:gd name="connsiteY365" fmla="*/ 4975063 h 6380470"/>
              <a:gd name="connsiteX366" fmla="*/ 6032005 w 11625583"/>
              <a:gd name="connsiteY366" fmla="*/ 5039729 h 6380470"/>
              <a:gd name="connsiteX367" fmla="*/ 5967339 w 11625583"/>
              <a:gd name="connsiteY367" fmla="*/ 5104395 h 6380470"/>
              <a:gd name="connsiteX368" fmla="*/ 5902673 w 11625583"/>
              <a:gd name="connsiteY368" fmla="*/ 5039729 h 6380470"/>
              <a:gd name="connsiteX369" fmla="*/ 5967339 w 11625583"/>
              <a:gd name="connsiteY369" fmla="*/ 4975063 h 6380470"/>
              <a:gd name="connsiteX370" fmla="*/ 3947550 w 11625583"/>
              <a:gd name="connsiteY370" fmla="*/ 4975063 h 6380470"/>
              <a:gd name="connsiteX371" fmla="*/ 4012217 w 11625583"/>
              <a:gd name="connsiteY371" fmla="*/ 5039729 h 6380470"/>
              <a:gd name="connsiteX372" fmla="*/ 3947550 w 11625583"/>
              <a:gd name="connsiteY372" fmla="*/ 5104395 h 6380470"/>
              <a:gd name="connsiteX373" fmla="*/ 3882891 w 11625583"/>
              <a:gd name="connsiteY373" fmla="*/ 5039729 h 6380470"/>
              <a:gd name="connsiteX374" fmla="*/ 3947550 w 11625583"/>
              <a:gd name="connsiteY374" fmla="*/ 4975063 h 6380470"/>
              <a:gd name="connsiteX375" fmla="*/ 3790982 w 11625583"/>
              <a:gd name="connsiteY375" fmla="*/ 4975063 h 6380470"/>
              <a:gd name="connsiteX376" fmla="*/ 3855648 w 11625583"/>
              <a:gd name="connsiteY376" fmla="*/ 5039729 h 6380470"/>
              <a:gd name="connsiteX377" fmla="*/ 3790982 w 11625583"/>
              <a:gd name="connsiteY377" fmla="*/ 5104395 h 6380470"/>
              <a:gd name="connsiteX378" fmla="*/ 3726315 w 11625583"/>
              <a:gd name="connsiteY378" fmla="*/ 5039729 h 6380470"/>
              <a:gd name="connsiteX379" fmla="*/ 3790982 w 11625583"/>
              <a:gd name="connsiteY379" fmla="*/ 4975063 h 6380470"/>
              <a:gd name="connsiteX380" fmla="*/ 3630497 w 11625583"/>
              <a:gd name="connsiteY380" fmla="*/ 4975063 h 6380470"/>
              <a:gd name="connsiteX381" fmla="*/ 3695163 w 11625583"/>
              <a:gd name="connsiteY381" fmla="*/ 5039729 h 6380470"/>
              <a:gd name="connsiteX382" fmla="*/ 3630497 w 11625583"/>
              <a:gd name="connsiteY382" fmla="*/ 5104395 h 6380470"/>
              <a:gd name="connsiteX383" fmla="*/ 3565829 w 11625583"/>
              <a:gd name="connsiteY383" fmla="*/ 5039729 h 6380470"/>
              <a:gd name="connsiteX384" fmla="*/ 3630497 w 11625583"/>
              <a:gd name="connsiteY384" fmla="*/ 4975063 h 6380470"/>
              <a:gd name="connsiteX385" fmla="*/ 3481751 w 11625583"/>
              <a:gd name="connsiteY385" fmla="*/ 4975063 h 6380470"/>
              <a:gd name="connsiteX386" fmla="*/ 3546417 w 11625583"/>
              <a:gd name="connsiteY386" fmla="*/ 5039729 h 6380470"/>
              <a:gd name="connsiteX387" fmla="*/ 3481751 w 11625583"/>
              <a:gd name="connsiteY387" fmla="*/ 5104395 h 6380470"/>
              <a:gd name="connsiteX388" fmla="*/ 3417085 w 11625583"/>
              <a:gd name="connsiteY388" fmla="*/ 5039729 h 6380470"/>
              <a:gd name="connsiteX389" fmla="*/ 3481751 w 11625583"/>
              <a:gd name="connsiteY389" fmla="*/ 4975063 h 6380470"/>
              <a:gd name="connsiteX390" fmla="*/ 3321267 w 11625583"/>
              <a:gd name="connsiteY390" fmla="*/ 4975063 h 6380470"/>
              <a:gd name="connsiteX391" fmla="*/ 3385932 w 11625583"/>
              <a:gd name="connsiteY391" fmla="*/ 5039729 h 6380470"/>
              <a:gd name="connsiteX392" fmla="*/ 3321267 w 11625583"/>
              <a:gd name="connsiteY392" fmla="*/ 5104395 h 6380470"/>
              <a:gd name="connsiteX393" fmla="*/ 3256602 w 11625583"/>
              <a:gd name="connsiteY393" fmla="*/ 5039729 h 6380470"/>
              <a:gd name="connsiteX394" fmla="*/ 3321267 w 11625583"/>
              <a:gd name="connsiteY394" fmla="*/ 4975063 h 6380470"/>
              <a:gd name="connsiteX395" fmla="*/ 3172521 w 11625583"/>
              <a:gd name="connsiteY395" fmla="*/ 4975063 h 6380470"/>
              <a:gd name="connsiteX396" fmla="*/ 3237188 w 11625583"/>
              <a:gd name="connsiteY396" fmla="*/ 5039729 h 6380470"/>
              <a:gd name="connsiteX397" fmla="*/ 3172521 w 11625583"/>
              <a:gd name="connsiteY397" fmla="*/ 5104395 h 6380470"/>
              <a:gd name="connsiteX398" fmla="*/ 3107854 w 11625583"/>
              <a:gd name="connsiteY398" fmla="*/ 5039729 h 6380470"/>
              <a:gd name="connsiteX399" fmla="*/ 3172521 w 11625583"/>
              <a:gd name="connsiteY399" fmla="*/ 4975063 h 6380470"/>
              <a:gd name="connsiteX400" fmla="*/ 9850358 w 11625583"/>
              <a:gd name="connsiteY400" fmla="*/ 4830235 h 6380470"/>
              <a:gd name="connsiteX401" fmla="*/ 9915024 w 11625583"/>
              <a:gd name="connsiteY401" fmla="*/ 4894901 h 6380470"/>
              <a:gd name="connsiteX402" fmla="*/ 9850358 w 11625583"/>
              <a:gd name="connsiteY402" fmla="*/ 4959567 h 6380470"/>
              <a:gd name="connsiteX403" fmla="*/ 9785692 w 11625583"/>
              <a:gd name="connsiteY403" fmla="*/ 4894901 h 6380470"/>
              <a:gd name="connsiteX404" fmla="*/ 9850358 w 11625583"/>
              <a:gd name="connsiteY404" fmla="*/ 4830235 h 6380470"/>
              <a:gd name="connsiteX405" fmla="*/ 6429231 w 11625583"/>
              <a:gd name="connsiteY405" fmla="*/ 4830235 h 6380470"/>
              <a:gd name="connsiteX406" fmla="*/ 6493897 w 11625583"/>
              <a:gd name="connsiteY406" fmla="*/ 4894901 h 6380470"/>
              <a:gd name="connsiteX407" fmla="*/ 6429231 w 11625583"/>
              <a:gd name="connsiteY407" fmla="*/ 4959567 h 6380470"/>
              <a:gd name="connsiteX408" fmla="*/ 6364565 w 11625583"/>
              <a:gd name="connsiteY408" fmla="*/ 4894901 h 6380470"/>
              <a:gd name="connsiteX409" fmla="*/ 6429231 w 11625583"/>
              <a:gd name="connsiteY409" fmla="*/ 4830235 h 6380470"/>
              <a:gd name="connsiteX410" fmla="*/ 6276571 w 11625583"/>
              <a:gd name="connsiteY410" fmla="*/ 4830235 h 6380470"/>
              <a:gd name="connsiteX411" fmla="*/ 6341237 w 11625583"/>
              <a:gd name="connsiteY411" fmla="*/ 4894901 h 6380470"/>
              <a:gd name="connsiteX412" fmla="*/ 6276571 w 11625583"/>
              <a:gd name="connsiteY412" fmla="*/ 4959567 h 6380470"/>
              <a:gd name="connsiteX413" fmla="*/ 6211905 w 11625583"/>
              <a:gd name="connsiteY413" fmla="*/ 4894901 h 6380470"/>
              <a:gd name="connsiteX414" fmla="*/ 6276571 w 11625583"/>
              <a:gd name="connsiteY414" fmla="*/ 4830235 h 6380470"/>
              <a:gd name="connsiteX415" fmla="*/ 5967339 w 11625583"/>
              <a:gd name="connsiteY415" fmla="*/ 4830235 h 6380470"/>
              <a:gd name="connsiteX416" fmla="*/ 6032005 w 11625583"/>
              <a:gd name="connsiteY416" fmla="*/ 4894901 h 6380470"/>
              <a:gd name="connsiteX417" fmla="*/ 5967339 w 11625583"/>
              <a:gd name="connsiteY417" fmla="*/ 4959567 h 6380470"/>
              <a:gd name="connsiteX418" fmla="*/ 5902673 w 11625583"/>
              <a:gd name="connsiteY418" fmla="*/ 4894901 h 6380470"/>
              <a:gd name="connsiteX419" fmla="*/ 5967339 w 11625583"/>
              <a:gd name="connsiteY419" fmla="*/ 4830235 h 6380470"/>
              <a:gd name="connsiteX420" fmla="*/ 3947550 w 11625583"/>
              <a:gd name="connsiteY420" fmla="*/ 4830235 h 6380470"/>
              <a:gd name="connsiteX421" fmla="*/ 4012217 w 11625583"/>
              <a:gd name="connsiteY421" fmla="*/ 4894901 h 6380470"/>
              <a:gd name="connsiteX422" fmla="*/ 3947550 w 11625583"/>
              <a:gd name="connsiteY422" fmla="*/ 4959567 h 6380470"/>
              <a:gd name="connsiteX423" fmla="*/ 3882895 w 11625583"/>
              <a:gd name="connsiteY423" fmla="*/ 4894901 h 6380470"/>
              <a:gd name="connsiteX424" fmla="*/ 3947550 w 11625583"/>
              <a:gd name="connsiteY424" fmla="*/ 4830235 h 6380470"/>
              <a:gd name="connsiteX425" fmla="*/ 3790985 w 11625583"/>
              <a:gd name="connsiteY425" fmla="*/ 4830235 h 6380470"/>
              <a:gd name="connsiteX426" fmla="*/ 3855652 w 11625583"/>
              <a:gd name="connsiteY426" fmla="*/ 4894901 h 6380470"/>
              <a:gd name="connsiteX427" fmla="*/ 3790985 w 11625583"/>
              <a:gd name="connsiteY427" fmla="*/ 4959567 h 6380470"/>
              <a:gd name="connsiteX428" fmla="*/ 3726319 w 11625583"/>
              <a:gd name="connsiteY428" fmla="*/ 4894901 h 6380470"/>
              <a:gd name="connsiteX429" fmla="*/ 3790985 w 11625583"/>
              <a:gd name="connsiteY429" fmla="*/ 4830235 h 6380470"/>
              <a:gd name="connsiteX430" fmla="*/ 3481754 w 11625583"/>
              <a:gd name="connsiteY430" fmla="*/ 4830235 h 6380470"/>
              <a:gd name="connsiteX431" fmla="*/ 3546420 w 11625583"/>
              <a:gd name="connsiteY431" fmla="*/ 4894901 h 6380470"/>
              <a:gd name="connsiteX432" fmla="*/ 3481754 w 11625583"/>
              <a:gd name="connsiteY432" fmla="*/ 4959567 h 6380470"/>
              <a:gd name="connsiteX433" fmla="*/ 3417090 w 11625583"/>
              <a:gd name="connsiteY433" fmla="*/ 4894901 h 6380470"/>
              <a:gd name="connsiteX434" fmla="*/ 3481754 w 11625583"/>
              <a:gd name="connsiteY434" fmla="*/ 4830235 h 6380470"/>
              <a:gd name="connsiteX435" fmla="*/ 10312248 w 11625583"/>
              <a:gd name="connsiteY435" fmla="*/ 4830234 h 6380470"/>
              <a:gd name="connsiteX436" fmla="*/ 10376914 w 11625583"/>
              <a:gd name="connsiteY436" fmla="*/ 4894900 h 6380470"/>
              <a:gd name="connsiteX437" fmla="*/ 10312248 w 11625583"/>
              <a:gd name="connsiteY437" fmla="*/ 4959566 h 6380470"/>
              <a:gd name="connsiteX438" fmla="*/ 10247582 w 11625583"/>
              <a:gd name="connsiteY438" fmla="*/ 4894900 h 6380470"/>
              <a:gd name="connsiteX439" fmla="*/ 10312248 w 11625583"/>
              <a:gd name="connsiteY439" fmla="*/ 4830234 h 6380470"/>
              <a:gd name="connsiteX440" fmla="*/ 10159588 w 11625583"/>
              <a:gd name="connsiteY440" fmla="*/ 4830234 h 6380470"/>
              <a:gd name="connsiteX441" fmla="*/ 10224254 w 11625583"/>
              <a:gd name="connsiteY441" fmla="*/ 4894900 h 6380470"/>
              <a:gd name="connsiteX442" fmla="*/ 10159588 w 11625583"/>
              <a:gd name="connsiteY442" fmla="*/ 4959566 h 6380470"/>
              <a:gd name="connsiteX443" fmla="*/ 10094922 w 11625583"/>
              <a:gd name="connsiteY443" fmla="*/ 4894900 h 6380470"/>
              <a:gd name="connsiteX444" fmla="*/ 10159588 w 11625583"/>
              <a:gd name="connsiteY444" fmla="*/ 4830234 h 6380470"/>
              <a:gd name="connsiteX445" fmla="*/ 10003016 w 11625583"/>
              <a:gd name="connsiteY445" fmla="*/ 4830234 h 6380470"/>
              <a:gd name="connsiteX446" fmla="*/ 10067682 w 11625583"/>
              <a:gd name="connsiteY446" fmla="*/ 4894900 h 6380470"/>
              <a:gd name="connsiteX447" fmla="*/ 10003016 w 11625583"/>
              <a:gd name="connsiteY447" fmla="*/ 4959566 h 6380470"/>
              <a:gd name="connsiteX448" fmla="*/ 9938350 w 11625583"/>
              <a:gd name="connsiteY448" fmla="*/ 4894900 h 6380470"/>
              <a:gd name="connsiteX449" fmla="*/ 10003016 w 11625583"/>
              <a:gd name="connsiteY449" fmla="*/ 4830234 h 6380470"/>
              <a:gd name="connsiteX450" fmla="*/ 9693783 w 11625583"/>
              <a:gd name="connsiteY450" fmla="*/ 4830234 h 6380470"/>
              <a:gd name="connsiteX451" fmla="*/ 9758449 w 11625583"/>
              <a:gd name="connsiteY451" fmla="*/ 4894900 h 6380470"/>
              <a:gd name="connsiteX452" fmla="*/ 9693783 w 11625583"/>
              <a:gd name="connsiteY452" fmla="*/ 4959566 h 6380470"/>
              <a:gd name="connsiteX453" fmla="*/ 9629117 w 11625583"/>
              <a:gd name="connsiteY453" fmla="*/ 4894900 h 6380470"/>
              <a:gd name="connsiteX454" fmla="*/ 9693783 w 11625583"/>
              <a:gd name="connsiteY454" fmla="*/ 4830234 h 6380470"/>
              <a:gd name="connsiteX455" fmla="*/ 9541123 w 11625583"/>
              <a:gd name="connsiteY455" fmla="*/ 4830234 h 6380470"/>
              <a:gd name="connsiteX456" fmla="*/ 9605789 w 11625583"/>
              <a:gd name="connsiteY456" fmla="*/ 4894900 h 6380470"/>
              <a:gd name="connsiteX457" fmla="*/ 9541123 w 11625583"/>
              <a:gd name="connsiteY457" fmla="*/ 4959566 h 6380470"/>
              <a:gd name="connsiteX458" fmla="*/ 9476457 w 11625583"/>
              <a:gd name="connsiteY458" fmla="*/ 4894900 h 6380470"/>
              <a:gd name="connsiteX459" fmla="*/ 9541123 w 11625583"/>
              <a:gd name="connsiteY459" fmla="*/ 4830234 h 6380470"/>
              <a:gd name="connsiteX460" fmla="*/ 9384550 w 11625583"/>
              <a:gd name="connsiteY460" fmla="*/ 4830234 h 6380470"/>
              <a:gd name="connsiteX461" fmla="*/ 9449216 w 11625583"/>
              <a:gd name="connsiteY461" fmla="*/ 4894900 h 6380470"/>
              <a:gd name="connsiteX462" fmla="*/ 9384550 w 11625583"/>
              <a:gd name="connsiteY462" fmla="*/ 4959566 h 6380470"/>
              <a:gd name="connsiteX463" fmla="*/ 9319884 w 11625583"/>
              <a:gd name="connsiteY463" fmla="*/ 4894900 h 6380470"/>
              <a:gd name="connsiteX464" fmla="*/ 9384550 w 11625583"/>
              <a:gd name="connsiteY464" fmla="*/ 4830234 h 6380470"/>
              <a:gd name="connsiteX465" fmla="*/ 7055523 w 11625583"/>
              <a:gd name="connsiteY465" fmla="*/ 4830234 h 6380470"/>
              <a:gd name="connsiteX466" fmla="*/ 7120189 w 11625583"/>
              <a:gd name="connsiteY466" fmla="*/ 4894900 h 6380470"/>
              <a:gd name="connsiteX467" fmla="*/ 7055523 w 11625583"/>
              <a:gd name="connsiteY467" fmla="*/ 4959566 h 6380470"/>
              <a:gd name="connsiteX468" fmla="*/ 6990857 w 11625583"/>
              <a:gd name="connsiteY468" fmla="*/ 4894900 h 6380470"/>
              <a:gd name="connsiteX469" fmla="*/ 7055523 w 11625583"/>
              <a:gd name="connsiteY469" fmla="*/ 4830234 h 6380470"/>
              <a:gd name="connsiteX470" fmla="*/ 6585804 w 11625583"/>
              <a:gd name="connsiteY470" fmla="*/ 4830234 h 6380470"/>
              <a:gd name="connsiteX471" fmla="*/ 6650470 w 11625583"/>
              <a:gd name="connsiteY471" fmla="*/ 4894900 h 6380470"/>
              <a:gd name="connsiteX472" fmla="*/ 6585804 w 11625583"/>
              <a:gd name="connsiteY472" fmla="*/ 4959566 h 6380470"/>
              <a:gd name="connsiteX473" fmla="*/ 6521138 w 11625583"/>
              <a:gd name="connsiteY473" fmla="*/ 4894900 h 6380470"/>
              <a:gd name="connsiteX474" fmla="*/ 6585804 w 11625583"/>
              <a:gd name="connsiteY474" fmla="*/ 4830234 h 6380470"/>
              <a:gd name="connsiteX475" fmla="*/ 6119999 w 11625583"/>
              <a:gd name="connsiteY475" fmla="*/ 4830234 h 6380470"/>
              <a:gd name="connsiteX476" fmla="*/ 6184665 w 11625583"/>
              <a:gd name="connsiteY476" fmla="*/ 4894900 h 6380470"/>
              <a:gd name="connsiteX477" fmla="*/ 6119999 w 11625583"/>
              <a:gd name="connsiteY477" fmla="*/ 4959566 h 6380470"/>
              <a:gd name="connsiteX478" fmla="*/ 6055333 w 11625583"/>
              <a:gd name="connsiteY478" fmla="*/ 4894900 h 6380470"/>
              <a:gd name="connsiteX479" fmla="*/ 6119999 w 11625583"/>
              <a:gd name="connsiteY479" fmla="*/ 4830234 h 6380470"/>
              <a:gd name="connsiteX480" fmla="*/ 4100209 w 11625583"/>
              <a:gd name="connsiteY480" fmla="*/ 4830234 h 6380470"/>
              <a:gd name="connsiteX481" fmla="*/ 4164876 w 11625583"/>
              <a:gd name="connsiteY481" fmla="*/ 4894900 h 6380470"/>
              <a:gd name="connsiteX482" fmla="*/ 4100209 w 11625583"/>
              <a:gd name="connsiteY482" fmla="*/ 4959566 h 6380470"/>
              <a:gd name="connsiteX483" fmla="*/ 4035544 w 11625583"/>
              <a:gd name="connsiteY483" fmla="*/ 4894900 h 6380470"/>
              <a:gd name="connsiteX484" fmla="*/ 4100209 w 11625583"/>
              <a:gd name="connsiteY484" fmla="*/ 4830234 h 6380470"/>
              <a:gd name="connsiteX485" fmla="*/ 3630500 w 11625583"/>
              <a:gd name="connsiteY485" fmla="*/ 4830234 h 6380470"/>
              <a:gd name="connsiteX486" fmla="*/ 3695166 w 11625583"/>
              <a:gd name="connsiteY486" fmla="*/ 4894900 h 6380470"/>
              <a:gd name="connsiteX487" fmla="*/ 3630500 w 11625583"/>
              <a:gd name="connsiteY487" fmla="*/ 4959566 h 6380470"/>
              <a:gd name="connsiteX488" fmla="*/ 3565834 w 11625583"/>
              <a:gd name="connsiteY488" fmla="*/ 4894900 h 6380470"/>
              <a:gd name="connsiteX489" fmla="*/ 3630500 w 11625583"/>
              <a:gd name="connsiteY489" fmla="*/ 4830234 h 6380470"/>
              <a:gd name="connsiteX490" fmla="*/ 3321271 w 11625583"/>
              <a:gd name="connsiteY490" fmla="*/ 4830234 h 6380470"/>
              <a:gd name="connsiteX491" fmla="*/ 3385935 w 11625583"/>
              <a:gd name="connsiteY491" fmla="*/ 4894900 h 6380470"/>
              <a:gd name="connsiteX492" fmla="*/ 3321271 w 11625583"/>
              <a:gd name="connsiteY492" fmla="*/ 4959566 h 6380470"/>
              <a:gd name="connsiteX493" fmla="*/ 3256604 w 11625583"/>
              <a:gd name="connsiteY493" fmla="*/ 4894900 h 6380470"/>
              <a:gd name="connsiteX494" fmla="*/ 3321271 w 11625583"/>
              <a:gd name="connsiteY494" fmla="*/ 4830234 h 6380470"/>
              <a:gd name="connsiteX495" fmla="*/ 10159588 w 11625583"/>
              <a:gd name="connsiteY495" fmla="*/ 4685405 h 6380470"/>
              <a:gd name="connsiteX496" fmla="*/ 10224254 w 11625583"/>
              <a:gd name="connsiteY496" fmla="*/ 4750071 h 6380470"/>
              <a:gd name="connsiteX497" fmla="*/ 10159588 w 11625583"/>
              <a:gd name="connsiteY497" fmla="*/ 4814737 h 6380470"/>
              <a:gd name="connsiteX498" fmla="*/ 10094922 w 11625583"/>
              <a:gd name="connsiteY498" fmla="*/ 4750071 h 6380470"/>
              <a:gd name="connsiteX499" fmla="*/ 10159588 w 11625583"/>
              <a:gd name="connsiteY499" fmla="*/ 4685405 h 6380470"/>
              <a:gd name="connsiteX500" fmla="*/ 10003016 w 11625583"/>
              <a:gd name="connsiteY500" fmla="*/ 4685405 h 6380470"/>
              <a:gd name="connsiteX501" fmla="*/ 10067682 w 11625583"/>
              <a:gd name="connsiteY501" fmla="*/ 4750071 h 6380470"/>
              <a:gd name="connsiteX502" fmla="*/ 10003016 w 11625583"/>
              <a:gd name="connsiteY502" fmla="*/ 4814737 h 6380470"/>
              <a:gd name="connsiteX503" fmla="*/ 9938350 w 11625583"/>
              <a:gd name="connsiteY503" fmla="*/ 4750071 h 6380470"/>
              <a:gd name="connsiteX504" fmla="*/ 10003016 w 11625583"/>
              <a:gd name="connsiteY504" fmla="*/ 4685405 h 6380470"/>
              <a:gd name="connsiteX505" fmla="*/ 9850358 w 11625583"/>
              <a:gd name="connsiteY505" fmla="*/ 4685405 h 6380470"/>
              <a:gd name="connsiteX506" fmla="*/ 9915024 w 11625583"/>
              <a:gd name="connsiteY506" fmla="*/ 4750071 h 6380470"/>
              <a:gd name="connsiteX507" fmla="*/ 9850358 w 11625583"/>
              <a:gd name="connsiteY507" fmla="*/ 4814737 h 6380470"/>
              <a:gd name="connsiteX508" fmla="*/ 9785692 w 11625583"/>
              <a:gd name="connsiteY508" fmla="*/ 4750071 h 6380470"/>
              <a:gd name="connsiteX509" fmla="*/ 9850358 w 11625583"/>
              <a:gd name="connsiteY509" fmla="*/ 4685405 h 6380470"/>
              <a:gd name="connsiteX510" fmla="*/ 9693783 w 11625583"/>
              <a:gd name="connsiteY510" fmla="*/ 4685405 h 6380470"/>
              <a:gd name="connsiteX511" fmla="*/ 9758449 w 11625583"/>
              <a:gd name="connsiteY511" fmla="*/ 4750071 h 6380470"/>
              <a:gd name="connsiteX512" fmla="*/ 9693783 w 11625583"/>
              <a:gd name="connsiteY512" fmla="*/ 4814737 h 6380470"/>
              <a:gd name="connsiteX513" fmla="*/ 9629117 w 11625583"/>
              <a:gd name="connsiteY513" fmla="*/ 4750071 h 6380470"/>
              <a:gd name="connsiteX514" fmla="*/ 9693783 w 11625583"/>
              <a:gd name="connsiteY514" fmla="*/ 4685405 h 6380470"/>
              <a:gd name="connsiteX515" fmla="*/ 9541123 w 11625583"/>
              <a:gd name="connsiteY515" fmla="*/ 4685405 h 6380470"/>
              <a:gd name="connsiteX516" fmla="*/ 9605789 w 11625583"/>
              <a:gd name="connsiteY516" fmla="*/ 4750071 h 6380470"/>
              <a:gd name="connsiteX517" fmla="*/ 9541123 w 11625583"/>
              <a:gd name="connsiteY517" fmla="*/ 4814737 h 6380470"/>
              <a:gd name="connsiteX518" fmla="*/ 9476457 w 11625583"/>
              <a:gd name="connsiteY518" fmla="*/ 4750071 h 6380470"/>
              <a:gd name="connsiteX519" fmla="*/ 9541123 w 11625583"/>
              <a:gd name="connsiteY519" fmla="*/ 4685405 h 6380470"/>
              <a:gd name="connsiteX520" fmla="*/ 7055523 w 11625583"/>
              <a:gd name="connsiteY520" fmla="*/ 4685405 h 6380470"/>
              <a:gd name="connsiteX521" fmla="*/ 7120189 w 11625583"/>
              <a:gd name="connsiteY521" fmla="*/ 4750071 h 6380470"/>
              <a:gd name="connsiteX522" fmla="*/ 7055523 w 11625583"/>
              <a:gd name="connsiteY522" fmla="*/ 4814737 h 6380470"/>
              <a:gd name="connsiteX523" fmla="*/ 6990857 w 11625583"/>
              <a:gd name="connsiteY523" fmla="*/ 4750071 h 6380470"/>
              <a:gd name="connsiteX524" fmla="*/ 7055523 w 11625583"/>
              <a:gd name="connsiteY524" fmla="*/ 4685405 h 6380470"/>
              <a:gd name="connsiteX525" fmla="*/ 6742377 w 11625583"/>
              <a:gd name="connsiteY525" fmla="*/ 4685405 h 6380470"/>
              <a:gd name="connsiteX526" fmla="*/ 6807043 w 11625583"/>
              <a:gd name="connsiteY526" fmla="*/ 4750071 h 6380470"/>
              <a:gd name="connsiteX527" fmla="*/ 6742377 w 11625583"/>
              <a:gd name="connsiteY527" fmla="*/ 4814737 h 6380470"/>
              <a:gd name="connsiteX528" fmla="*/ 6677711 w 11625583"/>
              <a:gd name="connsiteY528" fmla="*/ 4750071 h 6380470"/>
              <a:gd name="connsiteX529" fmla="*/ 6742377 w 11625583"/>
              <a:gd name="connsiteY529" fmla="*/ 4685405 h 6380470"/>
              <a:gd name="connsiteX530" fmla="*/ 6585804 w 11625583"/>
              <a:gd name="connsiteY530" fmla="*/ 4685405 h 6380470"/>
              <a:gd name="connsiteX531" fmla="*/ 6650470 w 11625583"/>
              <a:gd name="connsiteY531" fmla="*/ 4750071 h 6380470"/>
              <a:gd name="connsiteX532" fmla="*/ 6585804 w 11625583"/>
              <a:gd name="connsiteY532" fmla="*/ 4814737 h 6380470"/>
              <a:gd name="connsiteX533" fmla="*/ 6521138 w 11625583"/>
              <a:gd name="connsiteY533" fmla="*/ 4750071 h 6380470"/>
              <a:gd name="connsiteX534" fmla="*/ 6585804 w 11625583"/>
              <a:gd name="connsiteY534" fmla="*/ 4685405 h 6380470"/>
              <a:gd name="connsiteX535" fmla="*/ 6429231 w 11625583"/>
              <a:gd name="connsiteY535" fmla="*/ 4685405 h 6380470"/>
              <a:gd name="connsiteX536" fmla="*/ 6493897 w 11625583"/>
              <a:gd name="connsiteY536" fmla="*/ 4750071 h 6380470"/>
              <a:gd name="connsiteX537" fmla="*/ 6429231 w 11625583"/>
              <a:gd name="connsiteY537" fmla="*/ 4814737 h 6380470"/>
              <a:gd name="connsiteX538" fmla="*/ 6364565 w 11625583"/>
              <a:gd name="connsiteY538" fmla="*/ 4750071 h 6380470"/>
              <a:gd name="connsiteX539" fmla="*/ 6429231 w 11625583"/>
              <a:gd name="connsiteY539" fmla="*/ 4685405 h 6380470"/>
              <a:gd name="connsiteX540" fmla="*/ 6276571 w 11625583"/>
              <a:gd name="connsiteY540" fmla="*/ 4685405 h 6380470"/>
              <a:gd name="connsiteX541" fmla="*/ 6341237 w 11625583"/>
              <a:gd name="connsiteY541" fmla="*/ 4750071 h 6380470"/>
              <a:gd name="connsiteX542" fmla="*/ 6276571 w 11625583"/>
              <a:gd name="connsiteY542" fmla="*/ 4814737 h 6380470"/>
              <a:gd name="connsiteX543" fmla="*/ 6211905 w 11625583"/>
              <a:gd name="connsiteY543" fmla="*/ 4750071 h 6380470"/>
              <a:gd name="connsiteX544" fmla="*/ 6276571 w 11625583"/>
              <a:gd name="connsiteY544" fmla="*/ 4685405 h 6380470"/>
              <a:gd name="connsiteX545" fmla="*/ 6119999 w 11625583"/>
              <a:gd name="connsiteY545" fmla="*/ 4685405 h 6380470"/>
              <a:gd name="connsiteX546" fmla="*/ 6184665 w 11625583"/>
              <a:gd name="connsiteY546" fmla="*/ 4750071 h 6380470"/>
              <a:gd name="connsiteX547" fmla="*/ 6119999 w 11625583"/>
              <a:gd name="connsiteY547" fmla="*/ 4814737 h 6380470"/>
              <a:gd name="connsiteX548" fmla="*/ 6055333 w 11625583"/>
              <a:gd name="connsiteY548" fmla="*/ 4750071 h 6380470"/>
              <a:gd name="connsiteX549" fmla="*/ 6119999 w 11625583"/>
              <a:gd name="connsiteY549" fmla="*/ 4685405 h 6380470"/>
              <a:gd name="connsiteX550" fmla="*/ 5967339 w 11625583"/>
              <a:gd name="connsiteY550" fmla="*/ 4685405 h 6380470"/>
              <a:gd name="connsiteX551" fmla="*/ 6032005 w 11625583"/>
              <a:gd name="connsiteY551" fmla="*/ 4750071 h 6380470"/>
              <a:gd name="connsiteX552" fmla="*/ 5967339 w 11625583"/>
              <a:gd name="connsiteY552" fmla="*/ 4814737 h 6380470"/>
              <a:gd name="connsiteX553" fmla="*/ 5902673 w 11625583"/>
              <a:gd name="connsiteY553" fmla="*/ 4750071 h 6380470"/>
              <a:gd name="connsiteX554" fmla="*/ 5967339 w 11625583"/>
              <a:gd name="connsiteY554" fmla="*/ 4685405 h 6380470"/>
              <a:gd name="connsiteX555" fmla="*/ 4100211 w 11625583"/>
              <a:gd name="connsiteY555" fmla="*/ 4685405 h 6380470"/>
              <a:gd name="connsiteX556" fmla="*/ 4164876 w 11625583"/>
              <a:gd name="connsiteY556" fmla="*/ 4750071 h 6380470"/>
              <a:gd name="connsiteX557" fmla="*/ 4100211 w 11625583"/>
              <a:gd name="connsiteY557" fmla="*/ 4814737 h 6380470"/>
              <a:gd name="connsiteX558" fmla="*/ 4035544 w 11625583"/>
              <a:gd name="connsiteY558" fmla="*/ 4750071 h 6380470"/>
              <a:gd name="connsiteX559" fmla="*/ 4100211 w 11625583"/>
              <a:gd name="connsiteY559" fmla="*/ 4685405 h 6380470"/>
              <a:gd name="connsiteX560" fmla="*/ 3947550 w 11625583"/>
              <a:gd name="connsiteY560" fmla="*/ 4685405 h 6380470"/>
              <a:gd name="connsiteX561" fmla="*/ 4012217 w 11625583"/>
              <a:gd name="connsiteY561" fmla="*/ 4750071 h 6380470"/>
              <a:gd name="connsiteX562" fmla="*/ 3947550 w 11625583"/>
              <a:gd name="connsiteY562" fmla="*/ 4814737 h 6380470"/>
              <a:gd name="connsiteX563" fmla="*/ 3882897 w 11625583"/>
              <a:gd name="connsiteY563" fmla="*/ 4750071 h 6380470"/>
              <a:gd name="connsiteX564" fmla="*/ 3947550 w 11625583"/>
              <a:gd name="connsiteY564" fmla="*/ 4685405 h 6380470"/>
              <a:gd name="connsiteX565" fmla="*/ 3790989 w 11625583"/>
              <a:gd name="connsiteY565" fmla="*/ 4685405 h 6380470"/>
              <a:gd name="connsiteX566" fmla="*/ 3855655 w 11625583"/>
              <a:gd name="connsiteY566" fmla="*/ 4750071 h 6380470"/>
              <a:gd name="connsiteX567" fmla="*/ 3790989 w 11625583"/>
              <a:gd name="connsiteY567" fmla="*/ 4814737 h 6380470"/>
              <a:gd name="connsiteX568" fmla="*/ 3726321 w 11625583"/>
              <a:gd name="connsiteY568" fmla="*/ 4750071 h 6380470"/>
              <a:gd name="connsiteX569" fmla="*/ 3790989 w 11625583"/>
              <a:gd name="connsiteY569" fmla="*/ 4685405 h 6380470"/>
              <a:gd name="connsiteX570" fmla="*/ 3630503 w 11625583"/>
              <a:gd name="connsiteY570" fmla="*/ 4685405 h 6380470"/>
              <a:gd name="connsiteX571" fmla="*/ 3695169 w 11625583"/>
              <a:gd name="connsiteY571" fmla="*/ 4750071 h 6380470"/>
              <a:gd name="connsiteX572" fmla="*/ 3630503 w 11625583"/>
              <a:gd name="connsiteY572" fmla="*/ 4814737 h 6380470"/>
              <a:gd name="connsiteX573" fmla="*/ 3565836 w 11625583"/>
              <a:gd name="connsiteY573" fmla="*/ 4750071 h 6380470"/>
              <a:gd name="connsiteX574" fmla="*/ 3630503 w 11625583"/>
              <a:gd name="connsiteY574" fmla="*/ 4685405 h 6380470"/>
              <a:gd name="connsiteX575" fmla="*/ 3481758 w 11625583"/>
              <a:gd name="connsiteY575" fmla="*/ 4685405 h 6380470"/>
              <a:gd name="connsiteX576" fmla="*/ 3546424 w 11625583"/>
              <a:gd name="connsiteY576" fmla="*/ 4750071 h 6380470"/>
              <a:gd name="connsiteX577" fmla="*/ 3481758 w 11625583"/>
              <a:gd name="connsiteY577" fmla="*/ 4814737 h 6380470"/>
              <a:gd name="connsiteX578" fmla="*/ 3417092 w 11625583"/>
              <a:gd name="connsiteY578" fmla="*/ 4750071 h 6380470"/>
              <a:gd name="connsiteX579" fmla="*/ 3481758 w 11625583"/>
              <a:gd name="connsiteY579" fmla="*/ 4685405 h 6380470"/>
              <a:gd name="connsiteX580" fmla="*/ 3321273 w 11625583"/>
              <a:gd name="connsiteY580" fmla="*/ 4685405 h 6380470"/>
              <a:gd name="connsiteX581" fmla="*/ 3385938 w 11625583"/>
              <a:gd name="connsiteY581" fmla="*/ 4750071 h 6380470"/>
              <a:gd name="connsiteX582" fmla="*/ 3321273 w 11625583"/>
              <a:gd name="connsiteY582" fmla="*/ 4814737 h 6380470"/>
              <a:gd name="connsiteX583" fmla="*/ 3256607 w 11625583"/>
              <a:gd name="connsiteY583" fmla="*/ 4750071 h 6380470"/>
              <a:gd name="connsiteX584" fmla="*/ 3321273 w 11625583"/>
              <a:gd name="connsiteY584" fmla="*/ 4685405 h 6380470"/>
              <a:gd name="connsiteX585" fmla="*/ 10159588 w 11625583"/>
              <a:gd name="connsiteY585" fmla="*/ 4536658 h 6380470"/>
              <a:gd name="connsiteX586" fmla="*/ 10224254 w 11625583"/>
              <a:gd name="connsiteY586" fmla="*/ 4601324 h 6380470"/>
              <a:gd name="connsiteX587" fmla="*/ 10159588 w 11625583"/>
              <a:gd name="connsiteY587" fmla="*/ 4665990 h 6380470"/>
              <a:gd name="connsiteX588" fmla="*/ 10094922 w 11625583"/>
              <a:gd name="connsiteY588" fmla="*/ 4601324 h 6380470"/>
              <a:gd name="connsiteX589" fmla="*/ 10159588 w 11625583"/>
              <a:gd name="connsiteY589" fmla="*/ 4536658 h 6380470"/>
              <a:gd name="connsiteX590" fmla="*/ 9693783 w 11625583"/>
              <a:gd name="connsiteY590" fmla="*/ 4536658 h 6380470"/>
              <a:gd name="connsiteX591" fmla="*/ 9758449 w 11625583"/>
              <a:gd name="connsiteY591" fmla="*/ 4601324 h 6380470"/>
              <a:gd name="connsiteX592" fmla="*/ 9693783 w 11625583"/>
              <a:gd name="connsiteY592" fmla="*/ 4665990 h 6380470"/>
              <a:gd name="connsiteX593" fmla="*/ 9629117 w 11625583"/>
              <a:gd name="connsiteY593" fmla="*/ 4601324 h 6380470"/>
              <a:gd name="connsiteX594" fmla="*/ 9693783 w 11625583"/>
              <a:gd name="connsiteY594" fmla="*/ 4536658 h 6380470"/>
              <a:gd name="connsiteX595" fmla="*/ 7055523 w 11625583"/>
              <a:gd name="connsiteY595" fmla="*/ 4536658 h 6380470"/>
              <a:gd name="connsiteX596" fmla="*/ 7120189 w 11625583"/>
              <a:gd name="connsiteY596" fmla="*/ 4601324 h 6380470"/>
              <a:gd name="connsiteX597" fmla="*/ 7055523 w 11625583"/>
              <a:gd name="connsiteY597" fmla="*/ 4665990 h 6380470"/>
              <a:gd name="connsiteX598" fmla="*/ 6990857 w 11625583"/>
              <a:gd name="connsiteY598" fmla="*/ 4601324 h 6380470"/>
              <a:gd name="connsiteX599" fmla="*/ 7055523 w 11625583"/>
              <a:gd name="connsiteY599" fmla="*/ 4536658 h 6380470"/>
              <a:gd name="connsiteX600" fmla="*/ 9850358 w 11625583"/>
              <a:gd name="connsiteY600" fmla="*/ 4407486 h 6380470"/>
              <a:gd name="connsiteX601" fmla="*/ 9915024 w 11625583"/>
              <a:gd name="connsiteY601" fmla="*/ 4472152 h 6380470"/>
              <a:gd name="connsiteX602" fmla="*/ 9875529 w 11625583"/>
              <a:gd name="connsiteY602" fmla="*/ 4531736 h 6380470"/>
              <a:gd name="connsiteX603" fmla="*/ 9850754 w 11625583"/>
              <a:gd name="connsiteY603" fmla="*/ 4536738 h 6380470"/>
              <a:gd name="connsiteX604" fmla="*/ 9875529 w 11625583"/>
              <a:gd name="connsiteY604" fmla="*/ 4541740 h 6380470"/>
              <a:gd name="connsiteX605" fmla="*/ 9915024 w 11625583"/>
              <a:gd name="connsiteY605" fmla="*/ 4601324 h 6380470"/>
              <a:gd name="connsiteX606" fmla="*/ 9850358 w 11625583"/>
              <a:gd name="connsiteY606" fmla="*/ 4665990 h 6380470"/>
              <a:gd name="connsiteX607" fmla="*/ 9785692 w 11625583"/>
              <a:gd name="connsiteY607" fmla="*/ 4601324 h 6380470"/>
              <a:gd name="connsiteX608" fmla="*/ 9825187 w 11625583"/>
              <a:gd name="connsiteY608" fmla="*/ 4541740 h 6380470"/>
              <a:gd name="connsiteX609" fmla="*/ 9849962 w 11625583"/>
              <a:gd name="connsiteY609" fmla="*/ 4536738 h 6380470"/>
              <a:gd name="connsiteX610" fmla="*/ 9825187 w 11625583"/>
              <a:gd name="connsiteY610" fmla="*/ 4531736 h 6380470"/>
              <a:gd name="connsiteX611" fmla="*/ 9785692 w 11625583"/>
              <a:gd name="connsiteY611" fmla="*/ 4472152 h 6380470"/>
              <a:gd name="connsiteX612" fmla="*/ 9850358 w 11625583"/>
              <a:gd name="connsiteY612" fmla="*/ 4407486 h 6380470"/>
              <a:gd name="connsiteX613" fmla="*/ 6742377 w 11625583"/>
              <a:gd name="connsiteY613" fmla="*/ 4407486 h 6380470"/>
              <a:gd name="connsiteX614" fmla="*/ 6807043 w 11625583"/>
              <a:gd name="connsiteY614" fmla="*/ 4472152 h 6380470"/>
              <a:gd name="connsiteX615" fmla="*/ 6767548 w 11625583"/>
              <a:gd name="connsiteY615" fmla="*/ 4531736 h 6380470"/>
              <a:gd name="connsiteX616" fmla="*/ 6742773 w 11625583"/>
              <a:gd name="connsiteY616" fmla="*/ 4536738 h 6380470"/>
              <a:gd name="connsiteX617" fmla="*/ 6767548 w 11625583"/>
              <a:gd name="connsiteY617" fmla="*/ 4541740 h 6380470"/>
              <a:gd name="connsiteX618" fmla="*/ 6807043 w 11625583"/>
              <a:gd name="connsiteY618" fmla="*/ 4601324 h 6380470"/>
              <a:gd name="connsiteX619" fmla="*/ 6742377 w 11625583"/>
              <a:gd name="connsiteY619" fmla="*/ 4665990 h 6380470"/>
              <a:gd name="connsiteX620" fmla="*/ 6677711 w 11625583"/>
              <a:gd name="connsiteY620" fmla="*/ 4601324 h 6380470"/>
              <a:gd name="connsiteX621" fmla="*/ 6717206 w 11625583"/>
              <a:gd name="connsiteY621" fmla="*/ 4541740 h 6380470"/>
              <a:gd name="connsiteX622" fmla="*/ 6741981 w 11625583"/>
              <a:gd name="connsiteY622" fmla="*/ 4536738 h 6380470"/>
              <a:gd name="connsiteX623" fmla="*/ 6717206 w 11625583"/>
              <a:gd name="connsiteY623" fmla="*/ 4531736 h 6380470"/>
              <a:gd name="connsiteX624" fmla="*/ 6677711 w 11625583"/>
              <a:gd name="connsiteY624" fmla="*/ 4472152 h 6380470"/>
              <a:gd name="connsiteX625" fmla="*/ 6742377 w 11625583"/>
              <a:gd name="connsiteY625" fmla="*/ 4407486 h 6380470"/>
              <a:gd name="connsiteX626" fmla="*/ 6429231 w 11625583"/>
              <a:gd name="connsiteY626" fmla="*/ 4407486 h 6380470"/>
              <a:gd name="connsiteX627" fmla="*/ 6493897 w 11625583"/>
              <a:gd name="connsiteY627" fmla="*/ 4472152 h 6380470"/>
              <a:gd name="connsiteX628" fmla="*/ 6454402 w 11625583"/>
              <a:gd name="connsiteY628" fmla="*/ 4531736 h 6380470"/>
              <a:gd name="connsiteX629" fmla="*/ 6429628 w 11625583"/>
              <a:gd name="connsiteY629" fmla="*/ 4536738 h 6380470"/>
              <a:gd name="connsiteX630" fmla="*/ 6454402 w 11625583"/>
              <a:gd name="connsiteY630" fmla="*/ 4541740 h 6380470"/>
              <a:gd name="connsiteX631" fmla="*/ 6493897 w 11625583"/>
              <a:gd name="connsiteY631" fmla="*/ 4601324 h 6380470"/>
              <a:gd name="connsiteX632" fmla="*/ 6429231 w 11625583"/>
              <a:gd name="connsiteY632" fmla="*/ 4665990 h 6380470"/>
              <a:gd name="connsiteX633" fmla="*/ 6364565 w 11625583"/>
              <a:gd name="connsiteY633" fmla="*/ 4601324 h 6380470"/>
              <a:gd name="connsiteX634" fmla="*/ 6404060 w 11625583"/>
              <a:gd name="connsiteY634" fmla="*/ 4541740 h 6380470"/>
              <a:gd name="connsiteX635" fmla="*/ 6428835 w 11625583"/>
              <a:gd name="connsiteY635" fmla="*/ 4536738 h 6380470"/>
              <a:gd name="connsiteX636" fmla="*/ 6404060 w 11625583"/>
              <a:gd name="connsiteY636" fmla="*/ 4531736 h 6380470"/>
              <a:gd name="connsiteX637" fmla="*/ 6364565 w 11625583"/>
              <a:gd name="connsiteY637" fmla="*/ 4472152 h 6380470"/>
              <a:gd name="connsiteX638" fmla="*/ 6429231 w 11625583"/>
              <a:gd name="connsiteY638" fmla="*/ 4407486 h 6380470"/>
              <a:gd name="connsiteX639" fmla="*/ 6276571 w 11625583"/>
              <a:gd name="connsiteY639" fmla="*/ 4407486 h 6380470"/>
              <a:gd name="connsiteX640" fmla="*/ 6341237 w 11625583"/>
              <a:gd name="connsiteY640" fmla="*/ 4472152 h 6380470"/>
              <a:gd name="connsiteX641" fmla="*/ 6301742 w 11625583"/>
              <a:gd name="connsiteY641" fmla="*/ 4531736 h 6380470"/>
              <a:gd name="connsiteX642" fmla="*/ 6276968 w 11625583"/>
              <a:gd name="connsiteY642" fmla="*/ 4536738 h 6380470"/>
              <a:gd name="connsiteX643" fmla="*/ 6301742 w 11625583"/>
              <a:gd name="connsiteY643" fmla="*/ 4541740 h 6380470"/>
              <a:gd name="connsiteX644" fmla="*/ 6341237 w 11625583"/>
              <a:gd name="connsiteY644" fmla="*/ 4601324 h 6380470"/>
              <a:gd name="connsiteX645" fmla="*/ 6276571 w 11625583"/>
              <a:gd name="connsiteY645" fmla="*/ 4665990 h 6380470"/>
              <a:gd name="connsiteX646" fmla="*/ 6211905 w 11625583"/>
              <a:gd name="connsiteY646" fmla="*/ 4601324 h 6380470"/>
              <a:gd name="connsiteX647" fmla="*/ 6251400 w 11625583"/>
              <a:gd name="connsiteY647" fmla="*/ 4541740 h 6380470"/>
              <a:gd name="connsiteX648" fmla="*/ 6276175 w 11625583"/>
              <a:gd name="connsiteY648" fmla="*/ 4536738 h 6380470"/>
              <a:gd name="connsiteX649" fmla="*/ 6251400 w 11625583"/>
              <a:gd name="connsiteY649" fmla="*/ 4531736 h 6380470"/>
              <a:gd name="connsiteX650" fmla="*/ 6211905 w 11625583"/>
              <a:gd name="connsiteY650" fmla="*/ 4472152 h 6380470"/>
              <a:gd name="connsiteX651" fmla="*/ 6276571 w 11625583"/>
              <a:gd name="connsiteY651" fmla="*/ 4407486 h 6380470"/>
              <a:gd name="connsiteX652" fmla="*/ 5967339 w 11625583"/>
              <a:gd name="connsiteY652" fmla="*/ 4407486 h 6380470"/>
              <a:gd name="connsiteX653" fmla="*/ 6032005 w 11625583"/>
              <a:gd name="connsiteY653" fmla="*/ 4472152 h 6380470"/>
              <a:gd name="connsiteX654" fmla="*/ 5992510 w 11625583"/>
              <a:gd name="connsiteY654" fmla="*/ 4531736 h 6380470"/>
              <a:gd name="connsiteX655" fmla="*/ 5967736 w 11625583"/>
              <a:gd name="connsiteY655" fmla="*/ 4536738 h 6380470"/>
              <a:gd name="connsiteX656" fmla="*/ 5992510 w 11625583"/>
              <a:gd name="connsiteY656" fmla="*/ 4541740 h 6380470"/>
              <a:gd name="connsiteX657" fmla="*/ 6032005 w 11625583"/>
              <a:gd name="connsiteY657" fmla="*/ 4601324 h 6380470"/>
              <a:gd name="connsiteX658" fmla="*/ 5967339 w 11625583"/>
              <a:gd name="connsiteY658" fmla="*/ 4665990 h 6380470"/>
              <a:gd name="connsiteX659" fmla="*/ 5902673 w 11625583"/>
              <a:gd name="connsiteY659" fmla="*/ 4601324 h 6380470"/>
              <a:gd name="connsiteX660" fmla="*/ 5942168 w 11625583"/>
              <a:gd name="connsiteY660" fmla="*/ 4541740 h 6380470"/>
              <a:gd name="connsiteX661" fmla="*/ 5966943 w 11625583"/>
              <a:gd name="connsiteY661" fmla="*/ 4536738 h 6380470"/>
              <a:gd name="connsiteX662" fmla="*/ 5942168 w 11625583"/>
              <a:gd name="connsiteY662" fmla="*/ 4531736 h 6380470"/>
              <a:gd name="connsiteX663" fmla="*/ 5902673 w 11625583"/>
              <a:gd name="connsiteY663" fmla="*/ 4472152 h 6380470"/>
              <a:gd name="connsiteX664" fmla="*/ 5967339 w 11625583"/>
              <a:gd name="connsiteY664" fmla="*/ 4407486 h 6380470"/>
              <a:gd name="connsiteX665" fmla="*/ 4256781 w 11625583"/>
              <a:gd name="connsiteY665" fmla="*/ 4407486 h 6380470"/>
              <a:gd name="connsiteX666" fmla="*/ 4321448 w 11625583"/>
              <a:gd name="connsiteY666" fmla="*/ 4472152 h 6380470"/>
              <a:gd name="connsiteX667" fmla="*/ 4256781 w 11625583"/>
              <a:gd name="connsiteY667" fmla="*/ 4536818 h 6380470"/>
              <a:gd name="connsiteX668" fmla="*/ 4192113 w 11625583"/>
              <a:gd name="connsiteY668" fmla="*/ 4472152 h 6380470"/>
              <a:gd name="connsiteX669" fmla="*/ 4256781 w 11625583"/>
              <a:gd name="connsiteY669" fmla="*/ 4407486 h 6380470"/>
              <a:gd name="connsiteX670" fmla="*/ 3947550 w 11625583"/>
              <a:gd name="connsiteY670" fmla="*/ 4407486 h 6380470"/>
              <a:gd name="connsiteX671" fmla="*/ 4012217 w 11625583"/>
              <a:gd name="connsiteY671" fmla="*/ 4472152 h 6380470"/>
              <a:gd name="connsiteX672" fmla="*/ 3972723 w 11625583"/>
              <a:gd name="connsiteY672" fmla="*/ 4531736 h 6380470"/>
              <a:gd name="connsiteX673" fmla="*/ 3947944 w 11625583"/>
              <a:gd name="connsiteY673" fmla="*/ 4536738 h 6380470"/>
              <a:gd name="connsiteX674" fmla="*/ 3972720 w 11625583"/>
              <a:gd name="connsiteY674" fmla="*/ 4541740 h 6380470"/>
              <a:gd name="connsiteX675" fmla="*/ 4012217 w 11625583"/>
              <a:gd name="connsiteY675" fmla="*/ 4601324 h 6380470"/>
              <a:gd name="connsiteX676" fmla="*/ 3947550 w 11625583"/>
              <a:gd name="connsiteY676" fmla="*/ 4665990 h 6380470"/>
              <a:gd name="connsiteX677" fmla="*/ 3882901 w 11625583"/>
              <a:gd name="connsiteY677" fmla="*/ 4601324 h 6380470"/>
              <a:gd name="connsiteX678" fmla="*/ 3922395 w 11625583"/>
              <a:gd name="connsiteY678" fmla="*/ 4541740 h 6380470"/>
              <a:gd name="connsiteX679" fmla="*/ 3947151 w 11625583"/>
              <a:gd name="connsiteY679" fmla="*/ 4536738 h 6380470"/>
              <a:gd name="connsiteX680" fmla="*/ 3922397 w 11625583"/>
              <a:gd name="connsiteY680" fmla="*/ 4531736 h 6380470"/>
              <a:gd name="connsiteX681" fmla="*/ 3882903 w 11625583"/>
              <a:gd name="connsiteY681" fmla="*/ 4472152 h 6380470"/>
              <a:gd name="connsiteX682" fmla="*/ 3947550 w 11625583"/>
              <a:gd name="connsiteY682" fmla="*/ 4407486 h 6380470"/>
              <a:gd name="connsiteX683" fmla="*/ 3790995 w 11625583"/>
              <a:gd name="connsiteY683" fmla="*/ 4407486 h 6380470"/>
              <a:gd name="connsiteX684" fmla="*/ 3855661 w 11625583"/>
              <a:gd name="connsiteY684" fmla="*/ 4472152 h 6380470"/>
              <a:gd name="connsiteX685" fmla="*/ 3816166 w 11625583"/>
              <a:gd name="connsiteY685" fmla="*/ 4531736 h 6380470"/>
              <a:gd name="connsiteX686" fmla="*/ 3791389 w 11625583"/>
              <a:gd name="connsiteY686" fmla="*/ 4536739 h 6380470"/>
              <a:gd name="connsiteX687" fmla="*/ 3816163 w 11625583"/>
              <a:gd name="connsiteY687" fmla="*/ 4541740 h 6380470"/>
              <a:gd name="connsiteX688" fmla="*/ 3855657 w 11625583"/>
              <a:gd name="connsiteY688" fmla="*/ 4601324 h 6380470"/>
              <a:gd name="connsiteX689" fmla="*/ 3790992 w 11625583"/>
              <a:gd name="connsiteY689" fmla="*/ 4665990 h 6380470"/>
              <a:gd name="connsiteX690" fmla="*/ 3726324 w 11625583"/>
              <a:gd name="connsiteY690" fmla="*/ 4601324 h 6380470"/>
              <a:gd name="connsiteX691" fmla="*/ 3765820 w 11625583"/>
              <a:gd name="connsiteY691" fmla="*/ 4541740 h 6380470"/>
              <a:gd name="connsiteX692" fmla="*/ 3790597 w 11625583"/>
              <a:gd name="connsiteY692" fmla="*/ 4536738 h 6380470"/>
              <a:gd name="connsiteX693" fmla="*/ 3765822 w 11625583"/>
              <a:gd name="connsiteY693" fmla="*/ 4531736 h 6380470"/>
              <a:gd name="connsiteX694" fmla="*/ 3726327 w 11625583"/>
              <a:gd name="connsiteY694" fmla="*/ 4472152 h 6380470"/>
              <a:gd name="connsiteX695" fmla="*/ 3790995 w 11625583"/>
              <a:gd name="connsiteY695" fmla="*/ 4407486 h 6380470"/>
              <a:gd name="connsiteX696" fmla="*/ 3481760 w 11625583"/>
              <a:gd name="connsiteY696" fmla="*/ 4407486 h 6380470"/>
              <a:gd name="connsiteX697" fmla="*/ 3546426 w 11625583"/>
              <a:gd name="connsiteY697" fmla="*/ 4472152 h 6380470"/>
              <a:gd name="connsiteX698" fmla="*/ 3506929 w 11625583"/>
              <a:gd name="connsiteY698" fmla="*/ 4531736 h 6380470"/>
              <a:gd name="connsiteX699" fmla="*/ 3482156 w 11625583"/>
              <a:gd name="connsiteY699" fmla="*/ 4536738 h 6380470"/>
              <a:gd name="connsiteX700" fmla="*/ 3506929 w 11625583"/>
              <a:gd name="connsiteY700" fmla="*/ 4541740 h 6380470"/>
              <a:gd name="connsiteX701" fmla="*/ 3546426 w 11625583"/>
              <a:gd name="connsiteY701" fmla="*/ 4601324 h 6380470"/>
              <a:gd name="connsiteX702" fmla="*/ 3481760 w 11625583"/>
              <a:gd name="connsiteY702" fmla="*/ 4665990 h 6380470"/>
              <a:gd name="connsiteX703" fmla="*/ 3417095 w 11625583"/>
              <a:gd name="connsiteY703" fmla="*/ 4601324 h 6380470"/>
              <a:gd name="connsiteX704" fmla="*/ 3456591 w 11625583"/>
              <a:gd name="connsiteY704" fmla="*/ 4541740 h 6380470"/>
              <a:gd name="connsiteX705" fmla="*/ 3481364 w 11625583"/>
              <a:gd name="connsiteY705" fmla="*/ 4536738 h 6380470"/>
              <a:gd name="connsiteX706" fmla="*/ 3456591 w 11625583"/>
              <a:gd name="connsiteY706" fmla="*/ 4531736 h 6380470"/>
              <a:gd name="connsiteX707" fmla="*/ 3417096 w 11625583"/>
              <a:gd name="connsiteY707" fmla="*/ 4472152 h 6380470"/>
              <a:gd name="connsiteX708" fmla="*/ 3481760 w 11625583"/>
              <a:gd name="connsiteY708" fmla="*/ 4407486 h 6380470"/>
              <a:gd name="connsiteX709" fmla="*/ 3172530 w 11625583"/>
              <a:gd name="connsiteY709" fmla="*/ 4407486 h 6380470"/>
              <a:gd name="connsiteX710" fmla="*/ 3237196 w 11625583"/>
              <a:gd name="connsiteY710" fmla="*/ 4472152 h 6380470"/>
              <a:gd name="connsiteX711" fmla="*/ 3197701 w 11625583"/>
              <a:gd name="connsiteY711" fmla="*/ 4531736 h 6380470"/>
              <a:gd name="connsiteX712" fmla="*/ 3172927 w 11625583"/>
              <a:gd name="connsiteY712" fmla="*/ 4536738 h 6380470"/>
              <a:gd name="connsiteX713" fmla="*/ 3197703 w 11625583"/>
              <a:gd name="connsiteY713" fmla="*/ 4541740 h 6380470"/>
              <a:gd name="connsiteX714" fmla="*/ 3237198 w 11625583"/>
              <a:gd name="connsiteY714" fmla="*/ 4601324 h 6380470"/>
              <a:gd name="connsiteX715" fmla="*/ 3172531 w 11625583"/>
              <a:gd name="connsiteY715" fmla="*/ 4665990 h 6380470"/>
              <a:gd name="connsiteX716" fmla="*/ 3107862 w 11625583"/>
              <a:gd name="connsiteY716" fmla="*/ 4601324 h 6380470"/>
              <a:gd name="connsiteX717" fmla="*/ 3147359 w 11625583"/>
              <a:gd name="connsiteY717" fmla="*/ 4541740 h 6380470"/>
              <a:gd name="connsiteX718" fmla="*/ 3172134 w 11625583"/>
              <a:gd name="connsiteY718" fmla="*/ 4536738 h 6380470"/>
              <a:gd name="connsiteX719" fmla="*/ 3147357 w 11625583"/>
              <a:gd name="connsiteY719" fmla="*/ 4531736 h 6380470"/>
              <a:gd name="connsiteX720" fmla="*/ 3107859 w 11625583"/>
              <a:gd name="connsiteY720" fmla="*/ 4472152 h 6380470"/>
              <a:gd name="connsiteX721" fmla="*/ 3172530 w 11625583"/>
              <a:gd name="connsiteY721" fmla="*/ 4407486 h 6380470"/>
              <a:gd name="connsiteX722" fmla="*/ 6585804 w 11625583"/>
              <a:gd name="connsiteY722" fmla="*/ 4407484 h 6380470"/>
              <a:gd name="connsiteX723" fmla="*/ 6650470 w 11625583"/>
              <a:gd name="connsiteY723" fmla="*/ 4472150 h 6380470"/>
              <a:gd name="connsiteX724" fmla="*/ 6610975 w 11625583"/>
              <a:gd name="connsiteY724" fmla="*/ 4531734 h 6380470"/>
              <a:gd name="connsiteX725" fmla="*/ 6586196 w 11625583"/>
              <a:gd name="connsiteY725" fmla="*/ 4536737 h 6380470"/>
              <a:gd name="connsiteX726" fmla="*/ 6610975 w 11625583"/>
              <a:gd name="connsiteY726" fmla="*/ 4541740 h 6380470"/>
              <a:gd name="connsiteX727" fmla="*/ 6650470 w 11625583"/>
              <a:gd name="connsiteY727" fmla="*/ 4601324 h 6380470"/>
              <a:gd name="connsiteX728" fmla="*/ 6585804 w 11625583"/>
              <a:gd name="connsiteY728" fmla="*/ 4665990 h 6380470"/>
              <a:gd name="connsiteX729" fmla="*/ 6521138 w 11625583"/>
              <a:gd name="connsiteY729" fmla="*/ 4601324 h 6380470"/>
              <a:gd name="connsiteX730" fmla="*/ 6560633 w 11625583"/>
              <a:gd name="connsiteY730" fmla="*/ 4541740 h 6380470"/>
              <a:gd name="connsiteX731" fmla="*/ 6585413 w 11625583"/>
              <a:gd name="connsiteY731" fmla="*/ 4536737 h 6380470"/>
              <a:gd name="connsiteX732" fmla="*/ 6560633 w 11625583"/>
              <a:gd name="connsiteY732" fmla="*/ 4531734 h 6380470"/>
              <a:gd name="connsiteX733" fmla="*/ 6521138 w 11625583"/>
              <a:gd name="connsiteY733" fmla="*/ 4472150 h 6380470"/>
              <a:gd name="connsiteX734" fmla="*/ 6585804 w 11625583"/>
              <a:gd name="connsiteY734" fmla="*/ 4407484 h 6380470"/>
              <a:gd name="connsiteX735" fmla="*/ 6119999 w 11625583"/>
              <a:gd name="connsiteY735" fmla="*/ 4407484 h 6380470"/>
              <a:gd name="connsiteX736" fmla="*/ 6184665 w 11625583"/>
              <a:gd name="connsiteY736" fmla="*/ 4472150 h 6380470"/>
              <a:gd name="connsiteX737" fmla="*/ 6145170 w 11625583"/>
              <a:gd name="connsiteY737" fmla="*/ 4531734 h 6380470"/>
              <a:gd name="connsiteX738" fmla="*/ 6120391 w 11625583"/>
              <a:gd name="connsiteY738" fmla="*/ 4536737 h 6380470"/>
              <a:gd name="connsiteX739" fmla="*/ 6145170 w 11625583"/>
              <a:gd name="connsiteY739" fmla="*/ 4541740 h 6380470"/>
              <a:gd name="connsiteX740" fmla="*/ 6184665 w 11625583"/>
              <a:gd name="connsiteY740" fmla="*/ 4601324 h 6380470"/>
              <a:gd name="connsiteX741" fmla="*/ 6119999 w 11625583"/>
              <a:gd name="connsiteY741" fmla="*/ 4665990 h 6380470"/>
              <a:gd name="connsiteX742" fmla="*/ 6055333 w 11625583"/>
              <a:gd name="connsiteY742" fmla="*/ 4601324 h 6380470"/>
              <a:gd name="connsiteX743" fmla="*/ 6094828 w 11625583"/>
              <a:gd name="connsiteY743" fmla="*/ 4541740 h 6380470"/>
              <a:gd name="connsiteX744" fmla="*/ 6119608 w 11625583"/>
              <a:gd name="connsiteY744" fmla="*/ 4536737 h 6380470"/>
              <a:gd name="connsiteX745" fmla="*/ 6094828 w 11625583"/>
              <a:gd name="connsiteY745" fmla="*/ 4531734 h 6380470"/>
              <a:gd name="connsiteX746" fmla="*/ 6055333 w 11625583"/>
              <a:gd name="connsiteY746" fmla="*/ 4472150 h 6380470"/>
              <a:gd name="connsiteX747" fmla="*/ 6119999 w 11625583"/>
              <a:gd name="connsiteY747" fmla="*/ 4407484 h 6380470"/>
              <a:gd name="connsiteX748" fmla="*/ 4100213 w 11625583"/>
              <a:gd name="connsiteY748" fmla="*/ 4407484 h 6380470"/>
              <a:gd name="connsiteX749" fmla="*/ 4164879 w 11625583"/>
              <a:gd name="connsiteY749" fmla="*/ 4472150 h 6380470"/>
              <a:gd name="connsiteX750" fmla="*/ 4125383 w 11625583"/>
              <a:gd name="connsiteY750" fmla="*/ 4531734 h 6380470"/>
              <a:gd name="connsiteX751" fmla="*/ 4100603 w 11625583"/>
              <a:gd name="connsiteY751" fmla="*/ 4536737 h 6380470"/>
              <a:gd name="connsiteX752" fmla="*/ 4125383 w 11625583"/>
              <a:gd name="connsiteY752" fmla="*/ 4541740 h 6380470"/>
              <a:gd name="connsiteX753" fmla="*/ 4164876 w 11625583"/>
              <a:gd name="connsiteY753" fmla="*/ 4601324 h 6380470"/>
              <a:gd name="connsiteX754" fmla="*/ 4100211 w 11625583"/>
              <a:gd name="connsiteY754" fmla="*/ 4665990 h 6380470"/>
              <a:gd name="connsiteX755" fmla="*/ 4035548 w 11625583"/>
              <a:gd name="connsiteY755" fmla="*/ 4601324 h 6380470"/>
              <a:gd name="connsiteX756" fmla="*/ 4075037 w 11625583"/>
              <a:gd name="connsiteY756" fmla="*/ 4541740 h 6380470"/>
              <a:gd name="connsiteX757" fmla="*/ 4099820 w 11625583"/>
              <a:gd name="connsiteY757" fmla="*/ 4536737 h 6380470"/>
              <a:gd name="connsiteX758" fmla="*/ 4075039 w 11625583"/>
              <a:gd name="connsiteY758" fmla="*/ 4531734 h 6380470"/>
              <a:gd name="connsiteX759" fmla="*/ 4035548 w 11625583"/>
              <a:gd name="connsiteY759" fmla="*/ 4472150 h 6380470"/>
              <a:gd name="connsiteX760" fmla="*/ 4100213 w 11625583"/>
              <a:gd name="connsiteY760" fmla="*/ 4407484 h 6380470"/>
              <a:gd name="connsiteX761" fmla="*/ 3630508 w 11625583"/>
              <a:gd name="connsiteY761" fmla="*/ 4407484 h 6380470"/>
              <a:gd name="connsiteX762" fmla="*/ 3695174 w 11625583"/>
              <a:gd name="connsiteY762" fmla="*/ 4472150 h 6380470"/>
              <a:gd name="connsiteX763" fmla="*/ 3655679 w 11625583"/>
              <a:gd name="connsiteY763" fmla="*/ 4531734 h 6380470"/>
              <a:gd name="connsiteX764" fmla="*/ 3630899 w 11625583"/>
              <a:gd name="connsiteY764" fmla="*/ 4536738 h 6380470"/>
              <a:gd name="connsiteX765" fmla="*/ 3655677 w 11625583"/>
              <a:gd name="connsiteY765" fmla="*/ 4541740 h 6380470"/>
              <a:gd name="connsiteX766" fmla="*/ 3695171 w 11625583"/>
              <a:gd name="connsiteY766" fmla="*/ 4601324 h 6380470"/>
              <a:gd name="connsiteX767" fmla="*/ 3630506 w 11625583"/>
              <a:gd name="connsiteY767" fmla="*/ 4665990 h 6380470"/>
              <a:gd name="connsiteX768" fmla="*/ 3565838 w 11625583"/>
              <a:gd name="connsiteY768" fmla="*/ 4601324 h 6380470"/>
              <a:gd name="connsiteX769" fmla="*/ 3605333 w 11625583"/>
              <a:gd name="connsiteY769" fmla="*/ 4541740 h 6380470"/>
              <a:gd name="connsiteX770" fmla="*/ 3630116 w 11625583"/>
              <a:gd name="connsiteY770" fmla="*/ 4536737 h 6380470"/>
              <a:gd name="connsiteX771" fmla="*/ 3605335 w 11625583"/>
              <a:gd name="connsiteY771" fmla="*/ 4531734 h 6380470"/>
              <a:gd name="connsiteX772" fmla="*/ 3565841 w 11625583"/>
              <a:gd name="connsiteY772" fmla="*/ 4472150 h 6380470"/>
              <a:gd name="connsiteX773" fmla="*/ 3630508 w 11625583"/>
              <a:gd name="connsiteY773" fmla="*/ 4407484 h 6380470"/>
              <a:gd name="connsiteX774" fmla="*/ 3321277 w 11625583"/>
              <a:gd name="connsiteY774" fmla="*/ 4407484 h 6380470"/>
              <a:gd name="connsiteX775" fmla="*/ 3385940 w 11625583"/>
              <a:gd name="connsiteY775" fmla="*/ 4472150 h 6380470"/>
              <a:gd name="connsiteX776" fmla="*/ 3346447 w 11625583"/>
              <a:gd name="connsiteY776" fmla="*/ 4531734 h 6380470"/>
              <a:gd name="connsiteX777" fmla="*/ 3321669 w 11625583"/>
              <a:gd name="connsiteY777" fmla="*/ 4536737 h 6380470"/>
              <a:gd name="connsiteX778" fmla="*/ 3346446 w 11625583"/>
              <a:gd name="connsiteY778" fmla="*/ 4541740 h 6380470"/>
              <a:gd name="connsiteX779" fmla="*/ 3385940 w 11625583"/>
              <a:gd name="connsiteY779" fmla="*/ 4601324 h 6380470"/>
              <a:gd name="connsiteX780" fmla="*/ 3321277 w 11625583"/>
              <a:gd name="connsiteY780" fmla="*/ 4665990 h 6380470"/>
              <a:gd name="connsiteX781" fmla="*/ 3256612 w 11625583"/>
              <a:gd name="connsiteY781" fmla="*/ 4601324 h 6380470"/>
              <a:gd name="connsiteX782" fmla="*/ 3296104 w 11625583"/>
              <a:gd name="connsiteY782" fmla="*/ 4541740 h 6380470"/>
              <a:gd name="connsiteX783" fmla="*/ 3320887 w 11625583"/>
              <a:gd name="connsiteY783" fmla="*/ 4536737 h 6380470"/>
              <a:gd name="connsiteX784" fmla="*/ 3296104 w 11625583"/>
              <a:gd name="connsiteY784" fmla="*/ 4531734 h 6380470"/>
              <a:gd name="connsiteX785" fmla="*/ 3256612 w 11625583"/>
              <a:gd name="connsiteY785" fmla="*/ 4472150 h 6380470"/>
              <a:gd name="connsiteX786" fmla="*/ 3321277 w 11625583"/>
              <a:gd name="connsiteY786" fmla="*/ 4407484 h 6380470"/>
              <a:gd name="connsiteX787" fmla="*/ 3012037 w 11625583"/>
              <a:gd name="connsiteY787" fmla="*/ 4407484 h 6380470"/>
              <a:gd name="connsiteX788" fmla="*/ 3076704 w 11625583"/>
              <a:gd name="connsiteY788" fmla="*/ 4472150 h 6380470"/>
              <a:gd name="connsiteX789" fmla="*/ 3012037 w 11625583"/>
              <a:gd name="connsiteY789" fmla="*/ 4536816 h 6380470"/>
              <a:gd name="connsiteX790" fmla="*/ 2947373 w 11625583"/>
              <a:gd name="connsiteY790" fmla="*/ 4472150 h 6380470"/>
              <a:gd name="connsiteX791" fmla="*/ 3012037 w 11625583"/>
              <a:gd name="connsiteY791" fmla="*/ 4407484 h 6380470"/>
              <a:gd name="connsiteX792" fmla="*/ 10159586 w 11625583"/>
              <a:gd name="connsiteY792" fmla="*/ 4266568 h 6380470"/>
              <a:gd name="connsiteX793" fmla="*/ 10224252 w 11625583"/>
              <a:gd name="connsiteY793" fmla="*/ 4331234 h 6380470"/>
              <a:gd name="connsiteX794" fmla="*/ 10159586 w 11625583"/>
              <a:gd name="connsiteY794" fmla="*/ 4395900 h 6380470"/>
              <a:gd name="connsiteX795" fmla="*/ 10094920 w 11625583"/>
              <a:gd name="connsiteY795" fmla="*/ 4331234 h 6380470"/>
              <a:gd name="connsiteX796" fmla="*/ 10159586 w 11625583"/>
              <a:gd name="connsiteY796" fmla="*/ 4266568 h 6380470"/>
              <a:gd name="connsiteX797" fmla="*/ 9227976 w 11625583"/>
              <a:gd name="connsiteY797" fmla="*/ 4266568 h 6380470"/>
              <a:gd name="connsiteX798" fmla="*/ 9292642 w 11625583"/>
              <a:gd name="connsiteY798" fmla="*/ 4331234 h 6380470"/>
              <a:gd name="connsiteX799" fmla="*/ 9227976 w 11625583"/>
              <a:gd name="connsiteY799" fmla="*/ 4395900 h 6380470"/>
              <a:gd name="connsiteX800" fmla="*/ 9163310 w 11625583"/>
              <a:gd name="connsiteY800" fmla="*/ 4331234 h 6380470"/>
              <a:gd name="connsiteX801" fmla="*/ 9227976 w 11625583"/>
              <a:gd name="connsiteY801" fmla="*/ 4266568 h 6380470"/>
              <a:gd name="connsiteX802" fmla="*/ 9075316 w 11625583"/>
              <a:gd name="connsiteY802" fmla="*/ 4266568 h 6380470"/>
              <a:gd name="connsiteX803" fmla="*/ 9139982 w 11625583"/>
              <a:gd name="connsiteY803" fmla="*/ 4331234 h 6380470"/>
              <a:gd name="connsiteX804" fmla="*/ 9075316 w 11625583"/>
              <a:gd name="connsiteY804" fmla="*/ 4395900 h 6380470"/>
              <a:gd name="connsiteX805" fmla="*/ 9010650 w 11625583"/>
              <a:gd name="connsiteY805" fmla="*/ 4331234 h 6380470"/>
              <a:gd name="connsiteX806" fmla="*/ 9075316 w 11625583"/>
              <a:gd name="connsiteY806" fmla="*/ 4266568 h 6380470"/>
              <a:gd name="connsiteX807" fmla="*/ 6742375 w 11625583"/>
              <a:gd name="connsiteY807" fmla="*/ 4266568 h 6380470"/>
              <a:gd name="connsiteX808" fmla="*/ 6807041 w 11625583"/>
              <a:gd name="connsiteY808" fmla="*/ 4331234 h 6380470"/>
              <a:gd name="connsiteX809" fmla="*/ 6742375 w 11625583"/>
              <a:gd name="connsiteY809" fmla="*/ 4395900 h 6380470"/>
              <a:gd name="connsiteX810" fmla="*/ 6677709 w 11625583"/>
              <a:gd name="connsiteY810" fmla="*/ 4331234 h 6380470"/>
              <a:gd name="connsiteX811" fmla="*/ 6742375 w 11625583"/>
              <a:gd name="connsiteY811" fmla="*/ 4266568 h 6380470"/>
              <a:gd name="connsiteX812" fmla="*/ 6585802 w 11625583"/>
              <a:gd name="connsiteY812" fmla="*/ 4266568 h 6380470"/>
              <a:gd name="connsiteX813" fmla="*/ 6650468 w 11625583"/>
              <a:gd name="connsiteY813" fmla="*/ 4331234 h 6380470"/>
              <a:gd name="connsiteX814" fmla="*/ 6585802 w 11625583"/>
              <a:gd name="connsiteY814" fmla="*/ 4395900 h 6380470"/>
              <a:gd name="connsiteX815" fmla="*/ 6521136 w 11625583"/>
              <a:gd name="connsiteY815" fmla="*/ 4331234 h 6380470"/>
              <a:gd name="connsiteX816" fmla="*/ 6585802 w 11625583"/>
              <a:gd name="connsiteY816" fmla="*/ 4266568 h 6380470"/>
              <a:gd name="connsiteX817" fmla="*/ 6429228 w 11625583"/>
              <a:gd name="connsiteY817" fmla="*/ 4266568 h 6380470"/>
              <a:gd name="connsiteX818" fmla="*/ 6493894 w 11625583"/>
              <a:gd name="connsiteY818" fmla="*/ 4331234 h 6380470"/>
              <a:gd name="connsiteX819" fmla="*/ 6429228 w 11625583"/>
              <a:gd name="connsiteY819" fmla="*/ 4395900 h 6380470"/>
              <a:gd name="connsiteX820" fmla="*/ 6364562 w 11625583"/>
              <a:gd name="connsiteY820" fmla="*/ 4331234 h 6380470"/>
              <a:gd name="connsiteX821" fmla="*/ 6429228 w 11625583"/>
              <a:gd name="connsiteY821" fmla="*/ 4266568 h 6380470"/>
              <a:gd name="connsiteX822" fmla="*/ 6276569 w 11625583"/>
              <a:gd name="connsiteY822" fmla="*/ 4266568 h 6380470"/>
              <a:gd name="connsiteX823" fmla="*/ 6341235 w 11625583"/>
              <a:gd name="connsiteY823" fmla="*/ 4331234 h 6380470"/>
              <a:gd name="connsiteX824" fmla="*/ 6276569 w 11625583"/>
              <a:gd name="connsiteY824" fmla="*/ 4395900 h 6380470"/>
              <a:gd name="connsiteX825" fmla="*/ 6211903 w 11625583"/>
              <a:gd name="connsiteY825" fmla="*/ 4331234 h 6380470"/>
              <a:gd name="connsiteX826" fmla="*/ 6276569 w 11625583"/>
              <a:gd name="connsiteY826" fmla="*/ 4266568 h 6380470"/>
              <a:gd name="connsiteX827" fmla="*/ 6119998 w 11625583"/>
              <a:gd name="connsiteY827" fmla="*/ 4266568 h 6380470"/>
              <a:gd name="connsiteX828" fmla="*/ 6184664 w 11625583"/>
              <a:gd name="connsiteY828" fmla="*/ 4331234 h 6380470"/>
              <a:gd name="connsiteX829" fmla="*/ 6119998 w 11625583"/>
              <a:gd name="connsiteY829" fmla="*/ 4395900 h 6380470"/>
              <a:gd name="connsiteX830" fmla="*/ 6055332 w 11625583"/>
              <a:gd name="connsiteY830" fmla="*/ 4331234 h 6380470"/>
              <a:gd name="connsiteX831" fmla="*/ 6119998 w 11625583"/>
              <a:gd name="connsiteY831" fmla="*/ 4266568 h 6380470"/>
              <a:gd name="connsiteX832" fmla="*/ 5967338 w 11625583"/>
              <a:gd name="connsiteY832" fmla="*/ 4266568 h 6380470"/>
              <a:gd name="connsiteX833" fmla="*/ 6032004 w 11625583"/>
              <a:gd name="connsiteY833" fmla="*/ 4331234 h 6380470"/>
              <a:gd name="connsiteX834" fmla="*/ 5967338 w 11625583"/>
              <a:gd name="connsiteY834" fmla="*/ 4395900 h 6380470"/>
              <a:gd name="connsiteX835" fmla="*/ 5902672 w 11625583"/>
              <a:gd name="connsiteY835" fmla="*/ 4331234 h 6380470"/>
              <a:gd name="connsiteX836" fmla="*/ 5967338 w 11625583"/>
              <a:gd name="connsiteY836" fmla="*/ 4266568 h 6380470"/>
              <a:gd name="connsiteX837" fmla="*/ 4256780 w 11625583"/>
              <a:gd name="connsiteY837" fmla="*/ 4266568 h 6380470"/>
              <a:gd name="connsiteX838" fmla="*/ 4321446 w 11625583"/>
              <a:gd name="connsiteY838" fmla="*/ 4331234 h 6380470"/>
              <a:gd name="connsiteX839" fmla="*/ 4256780 w 11625583"/>
              <a:gd name="connsiteY839" fmla="*/ 4395900 h 6380470"/>
              <a:gd name="connsiteX840" fmla="*/ 4192113 w 11625583"/>
              <a:gd name="connsiteY840" fmla="*/ 4331234 h 6380470"/>
              <a:gd name="connsiteX841" fmla="*/ 4256780 w 11625583"/>
              <a:gd name="connsiteY841" fmla="*/ 4266568 h 6380470"/>
              <a:gd name="connsiteX842" fmla="*/ 4100211 w 11625583"/>
              <a:gd name="connsiteY842" fmla="*/ 4266568 h 6380470"/>
              <a:gd name="connsiteX843" fmla="*/ 4164879 w 11625583"/>
              <a:gd name="connsiteY843" fmla="*/ 4331234 h 6380470"/>
              <a:gd name="connsiteX844" fmla="*/ 4100211 w 11625583"/>
              <a:gd name="connsiteY844" fmla="*/ 4395900 h 6380470"/>
              <a:gd name="connsiteX845" fmla="*/ 4035548 w 11625583"/>
              <a:gd name="connsiteY845" fmla="*/ 4331234 h 6380470"/>
              <a:gd name="connsiteX846" fmla="*/ 4100211 w 11625583"/>
              <a:gd name="connsiteY846" fmla="*/ 4266568 h 6380470"/>
              <a:gd name="connsiteX847" fmla="*/ 3947545 w 11625583"/>
              <a:gd name="connsiteY847" fmla="*/ 4266568 h 6380470"/>
              <a:gd name="connsiteX848" fmla="*/ 4012217 w 11625583"/>
              <a:gd name="connsiteY848" fmla="*/ 4331234 h 6380470"/>
              <a:gd name="connsiteX849" fmla="*/ 3947545 w 11625583"/>
              <a:gd name="connsiteY849" fmla="*/ 4395900 h 6380470"/>
              <a:gd name="connsiteX850" fmla="*/ 3882903 w 11625583"/>
              <a:gd name="connsiteY850" fmla="*/ 4331234 h 6380470"/>
              <a:gd name="connsiteX851" fmla="*/ 3947545 w 11625583"/>
              <a:gd name="connsiteY851" fmla="*/ 4266568 h 6380470"/>
              <a:gd name="connsiteX852" fmla="*/ 3790995 w 11625583"/>
              <a:gd name="connsiteY852" fmla="*/ 4266568 h 6380470"/>
              <a:gd name="connsiteX853" fmla="*/ 3855662 w 11625583"/>
              <a:gd name="connsiteY853" fmla="*/ 4331234 h 6380470"/>
              <a:gd name="connsiteX854" fmla="*/ 3790995 w 11625583"/>
              <a:gd name="connsiteY854" fmla="*/ 4395900 h 6380470"/>
              <a:gd name="connsiteX855" fmla="*/ 3726328 w 11625583"/>
              <a:gd name="connsiteY855" fmla="*/ 4331234 h 6380470"/>
              <a:gd name="connsiteX856" fmla="*/ 3790995 w 11625583"/>
              <a:gd name="connsiteY856" fmla="*/ 4266568 h 6380470"/>
              <a:gd name="connsiteX857" fmla="*/ 3630508 w 11625583"/>
              <a:gd name="connsiteY857" fmla="*/ 4266568 h 6380470"/>
              <a:gd name="connsiteX858" fmla="*/ 3695175 w 11625583"/>
              <a:gd name="connsiteY858" fmla="*/ 4331234 h 6380470"/>
              <a:gd name="connsiteX859" fmla="*/ 3630508 w 11625583"/>
              <a:gd name="connsiteY859" fmla="*/ 4395900 h 6380470"/>
              <a:gd name="connsiteX860" fmla="*/ 3565840 w 11625583"/>
              <a:gd name="connsiteY860" fmla="*/ 4331234 h 6380470"/>
              <a:gd name="connsiteX861" fmla="*/ 3630508 w 11625583"/>
              <a:gd name="connsiteY861" fmla="*/ 4266568 h 6380470"/>
              <a:gd name="connsiteX862" fmla="*/ 3481762 w 11625583"/>
              <a:gd name="connsiteY862" fmla="*/ 4266568 h 6380470"/>
              <a:gd name="connsiteX863" fmla="*/ 3546428 w 11625583"/>
              <a:gd name="connsiteY863" fmla="*/ 4331234 h 6380470"/>
              <a:gd name="connsiteX864" fmla="*/ 3481762 w 11625583"/>
              <a:gd name="connsiteY864" fmla="*/ 4395900 h 6380470"/>
              <a:gd name="connsiteX865" fmla="*/ 3417099 w 11625583"/>
              <a:gd name="connsiteY865" fmla="*/ 4331234 h 6380470"/>
              <a:gd name="connsiteX866" fmla="*/ 3481762 w 11625583"/>
              <a:gd name="connsiteY866" fmla="*/ 4266568 h 6380470"/>
              <a:gd name="connsiteX867" fmla="*/ 3321282 w 11625583"/>
              <a:gd name="connsiteY867" fmla="*/ 4266568 h 6380470"/>
              <a:gd name="connsiteX868" fmla="*/ 3385942 w 11625583"/>
              <a:gd name="connsiteY868" fmla="*/ 4331234 h 6380470"/>
              <a:gd name="connsiteX869" fmla="*/ 3321282 w 11625583"/>
              <a:gd name="connsiteY869" fmla="*/ 4395900 h 6380470"/>
              <a:gd name="connsiteX870" fmla="*/ 3256617 w 11625583"/>
              <a:gd name="connsiteY870" fmla="*/ 4331234 h 6380470"/>
              <a:gd name="connsiteX871" fmla="*/ 3321282 w 11625583"/>
              <a:gd name="connsiteY871" fmla="*/ 4266568 h 6380470"/>
              <a:gd name="connsiteX872" fmla="*/ 3172532 w 11625583"/>
              <a:gd name="connsiteY872" fmla="*/ 4266568 h 6380470"/>
              <a:gd name="connsiteX873" fmla="*/ 3237198 w 11625583"/>
              <a:gd name="connsiteY873" fmla="*/ 4331234 h 6380470"/>
              <a:gd name="connsiteX874" fmla="*/ 3172532 w 11625583"/>
              <a:gd name="connsiteY874" fmla="*/ 4395900 h 6380470"/>
              <a:gd name="connsiteX875" fmla="*/ 3107863 w 11625583"/>
              <a:gd name="connsiteY875" fmla="*/ 4331234 h 6380470"/>
              <a:gd name="connsiteX876" fmla="*/ 3172532 w 11625583"/>
              <a:gd name="connsiteY876" fmla="*/ 4266568 h 6380470"/>
              <a:gd name="connsiteX877" fmla="*/ 3012039 w 11625583"/>
              <a:gd name="connsiteY877" fmla="*/ 4266568 h 6380470"/>
              <a:gd name="connsiteX878" fmla="*/ 3076706 w 11625583"/>
              <a:gd name="connsiteY878" fmla="*/ 4331234 h 6380470"/>
              <a:gd name="connsiteX879" fmla="*/ 3012039 w 11625583"/>
              <a:gd name="connsiteY879" fmla="*/ 4395900 h 6380470"/>
              <a:gd name="connsiteX880" fmla="*/ 2947375 w 11625583"/>
              <a:gd name="connsiteY880" fmla="*/ 4331234 h 6380470"/>
              <a:gd name="connsiteX881" fmla="*/ 3012039 w 11625583"/>
              <a:gd name="connsiteY881" fmla="*/ 4266568 h 6380470"/>
              <a:gd name="connsiteX882" fmla="*/ 10159586 w 11625583"/>
              <a:gd name="connsiteY882" fmla="*/ 4113910 h 6380470"/>
              <a:gd name="connsiteX883" fmla="*/ 10224252 w 11625583"/>
              <a:gd name="connsiteY883" fmla="*/ 4178576 h 6380470"/>
              <a:gd name="connsiteX884" fmla="*/ 10159586 w 11625583"/>
              <a:gd name="connsiteY884" fmla="*/ 4243242 h 6380470"/>
              <a:gd name="connsiteX885" fmla="*/ 10094920 w 11625583"/>
              <a:gd name="connsiteY885" fmla="*/ 4178576 h 6380470"/>
              <a:gd name="connsiteX886" fmla="*/ 10159586 w 11625583"/>
              <a:gd name="connsiteY886" fmla="*/ 4113910 h 6380470"/>
              <a:gd name="connsiteX887" fmla="*/ 10003015 w 11625583"/>
              <a:gd name="connsiteY887" fmla="*/ 4113910 h 6380470"/>
              <a:gd name="connsiteX888" fmla="*/ 10067681 w 11625583"/>
              <a:gd name="connsiteY888" fmla="*/ 4178576 h 6380470"/>
              <a:gd name="connsiteX889" fmla="*/ 10003015 w 11625583"/>
              <a:gd name="connsiteY889" fmla="*/ 4243242 h 6380470"/>
              <a:gd name="connsiteX890" fmla="*/ 9938349 w 11625583"/>
              <a:gd name="connsiteY890" fmla="*/ 4178576 h 6380470"/>
              <a:gd name="connsiteX891" fmla="*/ 10003015 w 11625583"/>
              <a:gd name="connsiteY891" fmla="*/ 4113910 h 6380470"/>
              <a:gd name="connsiteX892" fmla="*/ 9850355 w 11625583"/>
              <a:gd name="connsiteY892" fmla="*/ 4113910 h 6380470"/>
              <a:gd name="connsiteX893" fmla="*/ 9915021 w 11625583"/>
              <a:gd name="connsiteY893" fmla="*/ 4178576 h 6380470"/>
              <a:gd name="connsiteX894" fmla="*/ 9850355 w 11625583"/>
              <a:gd name="connsiteY894" fmla="*/ 4243242 h 6380470"/>
              <a:gd name="connsiteX895" fmla="*/ 9785689 w 11625583"/>
              <a:gd name="connsiteY895" fmla="*/ 4178576 h 6380470"/>
              <a:gd name="connsiteX896" fmla="*/ 9850355 w 11625583"/>
              <a:gd name="connsiteY896" fmla="*/ 4113910 h 6380470"/>
              <a:gd name="connsiteX897" fmla="*/ 9384549 w 11625583"/>
              <a:gd name="connsiteY897" fmla="*/ 4113910 h 6380470"/>
              <a:gd name="connsiteX898" fmla="*/ 9449215 w 11625583"/>
              <a:gd name="connsiteY898" fmla="*/ 4178576 h 6380470"/>
              <a:gd name="connsiteX899" fmla="*/ 9384549 w 11625583"/>
              <a:gd name="connsiteY899" fmla="*/ 4243242 h 6380470"/>
              <a:gd name="connsiteX900" fmla="*/ 9319883 w 11625583"/>
              <a:gd name="connsiteY900" fmla="*/ 4178576 h 6380470"/>
              <a:gd name="connsiteX901" fmla="*/ 9384549 w 11625583"/>
              <a:gd name="connsiteY901" fmla="*/ 4113910 h 6380470"/>
              <a:gd name="connsiteX902" fmla="*/ 8914828 w 11625583"/>
              <a:gd name="connsiteY902" fmla="*/ 4113910 h 6380470"/>
              <a:gd name="connsiteX903" fmla="*/ 8979494 w 11625583"/>
              <a:gd name="connsiteY903" fmla="*/ 4178576 h 6380470"/>
              <a:gd name="connsiteX904" fmla="*/ 8914828 w 11625583"/>
              <a:gd name="connsiteY904" fmla="*/ 4243242 h 6380470"/>
              <a:gd name="connsiteX905" fmla="*/ 8850162 w 11625583"/>
              <a:gd name="connsiteY905" fmla="*/ 4178576 h 6380470"/>
              <a:gd name="connsiteX906" fmla="*/ 8914828 w 11625583"/>
              <a:gd name="connsiteY906" fmla="*/ 4113910 h 6380470"/>
              <a:gd name="connsiteX907" fmla="*/ 6742375 w 11625583"/>
              <a:gd name="connsiteY907" fmla="*/ 4113910 h 6380470"/>
              <a:gd name="connsiteX908" fmla="*/ 6807041 w 11625583"/>
              <a:gd name="connsiteY908" fmla="*/ 4178576 h 6380470"/>
              <a:gd name="connsiteX909" fmla="*/ 6742375 w 11625583"/>
              <a:gd name="connsiteY909" fmla="*/ 4243242 h 6380470"/>
              <a:gd name="connsiteX910" fmla="*/ 6677709 w 11625583"/>
              <a:gd name="connsiteY910" fmla="*/ 4178576 h 6380470"/>
              <a:gd name="connsiteX911" fmla="*/ 6742375 w 11625583"/>
              <a:gd name="connsiteY911" fmla="*/ 4113910 h 6380470"/>
              <a:gd name="connsiteX912" fmla="*/ 6585802 w 11625583"/>
              <a:gd name="connsiteY912" fmla="*/ 4113910 h 6380470"/>
              <a:gd name="connsiteX913" fmla="*/ 6650468 w 11625583"/>
              <a:gd name="connsiteY913" fmla="*/ 4178576 h 6380470"/>
              <a:gd name="connsiteX914" fmla="*/ 6585802 w 11625583"/>
              <a:gd name="connsiteY914" fmla="*/ 4243242 h 6380470"/>
              <a:gd name="connsiteX915" fmla="*/ 6521136 w 11625583"/>
              <a:gd name="connsiteY915" fmla="*/ 4178576 h 6380470"/>
              <a:gd name="connsiteX916" fmla="*/ 6585802 w 11625583"/>
              <a:gd name="connsiteY916" fmla="*/ 4113910 h 6380470"/>
              <a:gd name="connsiteX917" fmla="*/ 6429228 w 11625583"/>
              <a:gd name="connsiteY917" fmla="*/ 4113910 h 6380470"/>
              <a:gd name="connsiteX918" fmla="*/ 6493894 w 11625583"/>
              <a:gd name="connsiteY918" fmla="*/ 4178576 h 6380470"/>
              <a:gd name="connsiteX919" fmla="*/ 6429228 w 11625583"/>
              <a:gd name="connsiteY919" fmla="*/ 4243242 h 6380470"/>
              <a:gd name="connsiteX920" fmla="*/ 6364562 w 11625583"/>
              <a:gd name="connsiteY920" fmla="*/ 4178576 h 6380470"/>
              <a:gd name="connsiteX921" fmla="*/ 6429228 w 11625583"/>
              <a:gd name="connsiteY921" fmla="*/ 4113910 h 6380470"/>
              <a:gd name="connsiteX922" fmla="*/ 6276569 w 11625583"/>
              <a:gd name="connsiteY922" fmla="*/ 4113910 h 6380470"/>
              <a:gd name="connsiteX923" fmla="*/ 6341235 w 11625583"/>
              <a:gd name="connsiteY923" fmla="*/ 4178576 h 6380470"/>
              <a:gd name="connsiteX924" fmla="*/ 6276569 w 11625583"/>
              <a:gd name="connsiteY924" fmla="*/ 4243242 h 6380470"/>
              <a:gd name="connsiteX925" fmla="*/ 6211903 w 11625583"/>
              <a:gd name="connsiteY925" fmla="*/ 4178576 h 6380470"/>
              <a:gd name="connsiteX926" fmla="*/ 6276569 w 11625583"/>
              <a:gd name="connsiteY926" fmla="*/ 4113910 h 6380470"/>
              <a:gd name="connsiteX927" fmla="*/ 6119998 w 11625583"/>
              <a:gd name="connsiteY927" fmla="*/ 4113910 h 6380470"/>
              <a:gd name="connsiteX928" fmla="*/ 6184664 w 11625583"/>
              <a:gd name="connsiteY928" fmla="*/ 4178576 h 6380470"/>
              <a:gd name="connsiteX929" fmla="*/ 6119998 w 11625583"/>
              <a:gd name="connsiteY929" fmla="*/ 4243242 h 6380470"/>
              <a:gd name="connsiteX930" fmla="*/ 6055332 w 11625583"/>
              <a:gd name="connsiteY930" fmla="*/ 4178576 h 6380470"/>
              <a:gd name="connsiteX931" fmla="*/ 6119998 w 11625583"/>
              <a:gd name="connsiteY931" fmla="*/ 4113910 h 6380470"/>
              <a:gd name="connsiteX932" fmla="*/ 5967338 w 11625583"/>
              <a:gd name="connsiteY932" fmla="*/ 4113910 h 6380470"/>
              <a:gd name="connsiteX933" fmla="*/ 6032004 w 11625583"/>
              <a:gd name="connsiteY933" fmla="*/ 4178576 h 6380470"/>
              <a:gd name="connsiteX934" fmla="*/ 5967338 w 11625583"/>
              <a:gd name="connsiteY934" fmla="*/ 4243242 h 6380470"/>
              <a:gd name="connsiteX935" fmla="*/ 5902672 w 11625583"/>
              <a:gd name="connsiteY935" fmla="*/ 4178576 h 6380470"/>
              <a:gd name="connsiteX936" fmla="*/ 5967338 w 11625583"/>
              <a:gd name="connsiteY936" fmla="*/ 4113910 h 6380470"/>
              <a:gd name="connsiteX937" fmla="*/ 4256780 w 11625583"/>
              <a:gd name="connsiteY937" fmla="*/ 4113910 h 6380470"/>
              <a:gd name="connsiteX938" fmla="*/ 4321446 w 11625583"/>
              <a:gd name="connsiteY938" fmla="*/ 4178576 h 6380470"/>
              <a:gd name="connsiteX939" fmla="*/ 4256780 w 11625583"/>
              <a:gd name="connsiteY939" fmla="*/ 4243242 h 6380470"/>
              <a:gd name="connsiteX940" fmla="*/ 4192119 w 11625583"/>
              <a:gd name="connsiteY940" fmla="*/ 4178576 h 6380470"/>
              <a:gd name="connsiteX941" fmla="*/ 4256780 w 11625583"/>
              <a:gd name="connsiteY941" fmla="*/ 4113910 h 6380470"/>
              <a:gd name="connsiteX942" fmla="*/ 4100213 w 11625583"/>
              <a:gd name="connsiteY942" fmla="*/ 4113910 h 6380470"/>
              <a:gd name="connsiteX943" fmla="*/ 4164879 w 11625583"/>
              <a:gd name="connsiteY943" fmla="*/ 4178576 h 6380470"/>
              <a:gd name="connsiteX944" fmla="*/ 4100213 w 11625583"/>
              <a:gd name="connsiteY944" fmla="*/ 4243242 h 6380470"/>
              <a:gd name="connsiteX945" fmla="*/ 4035548 w 11625583"/>
              <a:gd name="connsiteY945" fmla="*/ 4178576 h 6380470"/>
              <a:gd name="connsiteX946" fmla="*/ 4100213 w 11625583"/>
              <a:gd name="connsiteY946" fmla="*/ 4113910 h 6380470"/>
              <a:gd name="connsiteX947" fmla="*/ 3947550 w 11625583"/>
              <a:gd name="connsiteY947" fmla="*/ 4113910 h 6380470"/>
              <a:gd name="connsiteX948" fmla="*/ 4012217 w 11625583"/>
              <a:gd name="connsiteY948" fmla="*/ 4178576 h 6380470"/>
              <a:gd name="connsiteX949" fmla="*/ 3947550 w 11625583"/>
              <a:gd name="connsiteY949" fmla="*/ 4243242 h 6380470"/>
              <a:gd name="connsiteX950" fmla="*/ 3882906 w 11625583"/>
              <a:gd name="connsiteY950" fmla="*/ 4178576 h 6380470"/>
              <a:gd name="connsiteX951" fmla="*/ 3947550 w 11625583"/>
              <a:gd name="connsiteY951" fmla="*/ 4113910 h 6380470"/>
              <a:gd name="connsiteX952" fmla="*/ 3791000 w 11625583"/>
              <a:gd name="connsiteY952" fmla="*/ 4113910 h 6380470"/>
              <a:gd name="connsiteX953" fmla="*/ 3855665 w 11625583"/>
              <a:gd name="connsiteY953" fmla="*/ 4178576 h 6380470"/>
              <a:gd name="connsiteX954" fmla="*/ 3791000 w 11625583"/>
              <a:gd name="connsiteY954" fmla="*/ 4243242 h 6380470"/>
              <a:gd name="connsiteX955" fmla="*/ 3726332 w 11625583"/>
              <a:gd name="connsiteY955" fmla="*/ 4178576 h 6380470"/>
              <a:gd name="connsiteX956" fmla="*/ 3791000 w 11625583"/>
              <a:gd name="connsiteY956" fmla="*/ 4113910 h 6380470"/>
              <a:gd name="connsiteX957" fmla="*/ 3630513 w 11625583"/>
              <a:gd name="connsiteY957" fmla="*/ 4113910 h 6380470"/>
              <a:gd name="connsiteX958" fmla="*/ 3695178 w 11625583"/>
              <a:gd name="connsiteY958" fmla="*/ 4178576 h 6380470"/>
              <a:gd name="connsiteX959" fmla="*/ 3630513 w 11625583"/>
              <a:gd name="connsiteY959" fmla="*/ 4243242 h 6380470"/>
              <a:gd name="connsiteX960" fmla="*/ 3565843 w 11625583"/>
              <a:gd name="connsiteY960" fmla="*/ 4178576 h 6380470"/>
              <a:gd name="connsiteX961" fmla="*/ 3630513 w 11625583"/>
              <a:gd name="connsiteY961" fmla="*/ 4113910 h 6380470"/>
              <a:gd name="connsiteX962" fmla="*/ 3481765 w 11625583"/>
              <a:gd name="connsiteY962" fmla="*/ 4113910 h 6380470"/>
              <a:gd name="connsiteX963" fmla="*/ 3546432 w 11625583"/>
              <a:gd name="connsiteY963" fmla="*/ 4178576 h 6380470"/>
              <a:gd name="connsiteX964" fmla="*/ 3481765 w 11625583"/>
              <a:gd name="connsiteY964" fmla="*/ 4243242 h 6380470"/>
              <a:gd name="connsiteX965" fmla="*/ 3417102 w 11625583"/>
              <a:gd name="connsiteY965" fmla="*/ 4178576 h 6380470"/>
              <a:gd name="connsiteX966" fmla="*/ 3481765 w 11625583"/>
              <a:gd name="connsiteY966" fmla="*/ 4113910 h 6380470"/>
              <a:gd name="connsiteX967" fmla="*/ 3321284 w 11625583"/>
              <a:gd name="connsiteY967" fmla="*/ 4113910 h 6380470"/>
              <a:gd name="connsiteX968" fmla="*/ 3385944 w 11625583"/>
              <a:gd name="connsiteY968" fmla="*/ 4178576 h 6380470"/>
              <a:gd name="connsiteX969" fmla="*/ 3321284 w 11625583"/>
              <a:gd name="connsiteY969" fmla="*/ 4243242 h 6380470"/>
              <a:gd name="connsiteX970" fmla="*/ 3256621 w 11625583"/>
              <a:gd name="connsiteY970" fmla="*/ 4178576 h 6380470"/>
              <a:gd name="connsiteX971" fmla="*/ 3321284 w 11625583"/>
              <a:gd name="connsiteY971" fmla="*/ 4113910 h 6380470"/>
              <a:gd name="connsiteX972" fmla="*/ 3172536 w 11625583"/>
              <a:gd name="connsiteY972" fmla="*/ 4113910 h 6380470"/>
              <a:gd name="connsiteX973" fmla="*/ 3237201 w 11625583"/>
              <a:gd name="connsiteY973" fmla="*/ 4178576 h 6380470"/>
              <a:gd name="connsiteX974" fmla="*/ 3172536 w 11625583"/>
              <a:gd name="connsiteY974" fmla="*/ 4243242 h 6380470"/>
              <a:gd name="connsiteX975" fmla="*/ 3107865 w 11625583"/>
              <a:gd name="connsiteY975" fmla="*/ 4178576 h 6380470"/>
              <a:gd name="connsiteX976" fmla="*/ 3172536 w 11625583"/>
              <a:gd name="connsiteY976" fmla="*/ 4113910 h 6380470"/>
              <a:gd name="connsiteX977" fmla="*/ 3012042 w 11625583"/>
              <a:gd name="connsiteY977" fmla="*/ 4113910 h 6380470"/>
              <a:gd name="connsiteX978" fmla="*/ 3076709 w 11625583"/>
              <a:gd name="connsiteY978" fmla="*/ 4178576 h 6380470"/>
              <a:gd name="connsiteX979" fmla="*/ 3012042 w 11625583"/>
              <a:gd name="connsiteY979" fmla="*/ 4243242 h 6380470"/>
              <a:gd name="connsiteX980" fmla="*/ 2947378 w 11625583"/>
              <a:gd name="connsiteY980" fmla="*/ 4178576 h 6380470"/>
              <a:gd name="connsiteX981" fmla="*/ 3012042 w 11625583"/>
              <a:gd name="connsiteY981" fmla="*/ 4113910 h 6380470"/>
              <a:gd name="connsiteX982" fmla="*/ 2855474 w 11625583"/>
              <a:gd name="connsiteY982" fmla="*/ 4113910 h 6380470"/>
              <a:gd name="connsiteX983" fmla="*/ 2920138 w 11625583"/>
              <a:gd name="connsiteY983" fmla="*/ 4178576 h 6380470"/>
              <a:gd name="connsiteX984" fmla="*/ 2855474 w 11625583"/>
              <a:gd name="connsiteY984" fmla="*/ 4243242 h 6380470"/>
              <a:gd name="connsiteX985" fmla="*/ 2790811 w 11625583"/>
              <a:gd name="connsiteY985" fmla="*/ 4178576 h 6380470"/>
              <a:gd name="connsiteX986" fmla="*/ 2855474 w 11625583"/>
              <a:gd name="connsiteY986" fmla="*/ 4113910 h 6380470"/>
              <a:gd name="connsiteX987" fmla="*/ 9384549 w 11625583"/>
              <a:gd name="connsiteY987" fmla="*/ 3972994 h 6380470"/>
              <a:gd name="connsiteX988" fmla="*/ 9449215 w 11625583"/>
              <a:gd name="connsiteY988" fmla="*/ 4037660 h 6380470"/>
              <a:gd name="connsiteX989" fmla="*/ 9384549 w 11625583"/>
              <a:gd name="connsiteY989" fmla="*/ 4102326 h 6380470"/>
              <a:gd name="connsiteX990" fmla="*/ 9319883 w 11625583"/>
              <a:gd name="connsiteY990" fmla="*/ 4037660 h 6380470"/>
              <a:gd name="connsiteX991" fmla="*/ 9384549 w 11625583"/>
              <a:gd name="connsiteY991" fmla="*/ 3972994 h 6380470"/>
              <a:gd name="connsiteX992" fmla="*/ 9227976 w 11625583"/>
              <a:gd name="connsiteY992" fmla="*/ 3972994 h 6380470"/>
              <a:gd name="connsiteX993" fmla="*/ 9292642 w 11625583"/>
              <a:gd name="connsiteY993" fmla="*/ 4037660 h 6380470"/>
              <a:gd name="connsiteX994" fmla="*/ 9227976 w 11625583"/>
              <a:gd name="connsiteY994" fmla="*/ 4102326 h 6380470"/>
              <a:gd name="connsiteX995" fmla="*/ 9163310 w 11625583"/>
              <a:gd name="connsiteY995" fmla="*/ 4037660 h 6380470"/>
              <a:gd name="connsiteX996" fmla="*/ 9227976 w 11625583"/>
              <a:gd name="connsiteY996" fmla="*/ 3972994 h 6380470"/>
              <a:gd name="connsiteX997" fmla="*/ 9075316 w 11625583"/>
              <a:gd name="connsiteY997" fmla="*/ 3972994 h 6380470"/>
              <a:gd name="connsiteX998" fmla="*/ 9139982 w 11625583"/>
              <a:gd name="connsiteY998" fmla="*/ 4037660 h 6380470"/>
              <a:gd name="connsiteX999" fmla="*/ 9075316 w 11625583"/>
              <a:gd name="connsiteY999" fmla="*/ 4102326 h 6380470"/>
              <a:gd name="connsiteX1000" fmla="*/ 9010650 w 11625583"/>
              <a:gd name="connsiteY1000" fmla="*/ 4037660 h 6380470"/>
              <a:gd name="connsiteX1001" fmla="*/ 9075316 w 11625583"/>
              <a:gd name="connsiteY1001" fmla="*/ 3972994 h 6380470"/>
              <a:gd name="connsiteX1002" fmla="*/ 8766084 w 11625583"/>
              <a:gd name="connsiteY1002" fmla="*/ 3972994 h 6380470"/>
              <a:gd name="connsiteX1003" fmla="*/ 8830750 w 11625583"/>
              <a:gd name="connsiteY1003" fmla="*/ 4037660 h 6380470"/>
              <a:gd name="connsiteX1004" fmla="*/ 8766084 w 11625583"/>
              <a:gd name="connsiteY1004" fmla="*/ 4102326 h 6380470"/>
              <a:gd name="connsiteX1005" fmla="*/ 8701418 w 11625583"/>
              <a:gd name="connsiteY1005" fmla="*/ 4037660 h 6380470"/>
              <a:gd name="connsiteX1006" fmla="*/ 8766084 w 11625583"/>
              <a:gd name="connsiteY1006" fmla="*/ 3972994 h 6380470"/>
              <a:gd name="connsiteX1007" fmla="*/ 6895035 w 11625583"/>
              <a:gd name="connsiteY1007" fmla="*/ 3972994 h 6380470"/>
              <a:gd name="connsiteX1008" fmla="*/ 6959701 w 11625583"/>
              <a:gd name="connsiteY1008" fmla="*/ 4037660 h 6380470"/>
              <a:gd name="connsiteX1009" fmla="*/ 6895035 w 11625583"/>
              <a:gd name="connsiteY1009" fmla="*/ 4102326 h 6380470"/>
              <a:gd name="connsiteX1010" fmla="*/ 6830369 w 11625583"/>
              <a:gd name="connsiteY1010" fmla="*/ 4037660 h 6380470"/>
              <a:gd name="connsiteX1011" fmla="*/ 6895035 w 11625583"/>
              <a:gd name="connsiteY1011" fmla="*/ 3972994 h 6380470"/>
              <a:gd name="connsiteX1012" fmla="*/ 6742375 w 11625583"/>
              <a:gd name="connsiteY1012" fmla="*/ 3972994 h 6380470"/>
              <a:gd name="connsiteX1013" fmla="*/ 6807041 w 11625583"/>
              <a:gd name="connsiteY1013" fmla="*/ 4037660 h 6380470"/>
              <a:gd name="connsiteX1014" fmla="*/ 6742375 w 11625583"/>
              <a:gd name="connsiteY1014" fmla="*/ 4102326 h 6380470"/>
              <a:gd name="connsiteX1015" fmla="*/ 6677709 w 11625583"/>
              <a:gd name="connsiteY1015" fmla="*/ 4037660 h 6380470"/>
              <a:gd name="connsiteX1016" fmla="*/ 6742375 w 11625583"/>
              <a:gd name="connsiteY1016" fmla="*/ 3972994 h 6380470"/>
              <a:gd name="connsiteX1017" fmla="*/ 6585802 w 11625583"/>
              <a:gd name="connsiteY1017" fmla="*/ 3972994 h 6380470"/>
              <a:gd name="connsiteX1018" fmla="*/ 6650468 w 11625583"/>
              <a:gd name="connsiteY1018" fmla="*/ 4037660 h 6380470"/>
              <a:gd name="connsiteX1019" fmla="*/ 6585802 w 11625583"/>
              <a:gd name="connsiteY1019" fmla="*/ 4102326 h 6380470"/>
              <a:gd name="connsiteX1020" fmla="*/ 6521136 w 11625583"/>
              <a:gd name="connsiteY1020" fmla="*/ 4037660 h 6380470"/>
              <a:gd name="connsiteX1021" fmla="*/ 6585802 w 11625583"/>
              <a:gd name="connsiteY1021" fmla="*/ 3972994 h 6380470"/>
              <a:gd name="connsiteX1022" fmla="*/ 6429228 w 11625583"/>
              <a:gd name="connsiteY1022" fmla="*/ 3972994 h 6380470"/>
              <a:gd name="connsiteX1023" fmla="*/ 6493894 w 11625583"/>
              <a:gd name="connsiteY1023" fmla="*/ 4037660 h 6380470"/>
              <a:gd name="connsiteX1024" fmla="*/ 6429228 w 11625583"/>
              <a:gd name="connsiteY1024" fmla="*/ 4102326 h 6380470"/>
              <a:gd name="connsiteX1025" fmla="*/ 6364562 w 11625583"/>
              <a:gd name="connsiteY1025" fmla="*/ 4037660 h 6380470"/>
              <a:gd name="connsiteX1026" fmla="*/ 6429228 w 11625583"/>
              <a:gd name="connsiteY1026" fmla="*/ 3972994 h 6380470"/>
              <a:gd name="connsiteX1027" fmla="*/ 6276569 w 11625583"/>
              <a:gd name="connsiteY1027" fmla="*/ 3972994 h 6380470"/>
              <a:gd name="connsiteX1028" fmla="*/ 6341235 w 11625583"/>
              <a:gd name="connsiteY1028" fmla="*/ 4037660 h 6380470"/>
              <a:gd name="connsiteX1029" fmla="*/ 6276569 w 11625583"/>
              <a:gd name="connsiteY1029" fmla="*/ 4102326 h 6380470"/>
              <a:gd name="connsiteX1030" fmla="*/ 6211903 w 11625583"/>
              <a:gd name="connsiteY1030" fmla="*/ 4037660 h 6380470"/>
              <a:gd name="connsiteX1031" fmla="*/ 6276569 w 11625583"/>
              <a:gd name="connsiteY1031" fmla="*/ 3972994 h 6380470"/>
              <a:gd name="connsiteX1032" fmla="*/ 6119998 w 11625583"/>
              <a:gd name="connsiteY1032" fmla="*/ 3972994 h 6380470"/>
              <a:gd name="connsiteX1033" fmla="*/ 6184664 w 11625583"/>
              <a:gd name="connsiteY1033" fmla="*/ 4037660 h 6380470"/>
              <a:gd name="connsiteX1034" fmla="*/ 6119998 w 11625583"/>
              <a:gd name="connsiteY1034" fmla="*/ 4102326 h 6380470"/>
              <a:gd name="connsiteX1035" fmla="*/ 6055332 w 11625583"/>
              <a:gd name="connsiteY1035" fmla="*/ 4037660 h 6380470"/>
              <a:gd name="connsiteX1036" fmla="*/ 6119998 w 11625583"/>
              <a:gd name="connsiteY1036" fmla="*/ 3972994 h 6380470"/>
              <a:gd name="connsiteX1037" fmla="*/ 5967338 w 11625583"/>
              <a:gd name="connsiteY1037" fmla="*/ 3972994 h 6380470"/>
              <a:gd name="connsiteX1038" fmla="*/ 6032004 w 11625583"/>
              <a:gd name="connsiteY1038" fmla="*/ 4037660 h 6380470"/>
              <a:gd name="connsiteX1039" fmla="*/ 5967338 w 11625583"/>
              <a:gd name="connsiteY1039" fmla="*/ 4102326 h 6380470"/>
              <a:gd name="connsiteX1040" fmla="*/ 5902672 w 11625583"/>
              <a:gd name="connsiteY1040" fmla="*/ 4037660 h 6380470"/>
              <a:gd name="connsiteX1041" fmla="*/ 5967338 w 11625583"/>
              <a:gd name="connsiteY1041" fmla="*/ 3972994 h 6380470"/>
              <a:gd name="connsiteX1042" fmla="*/ 5810774 w 11625583"/>
              <a:gd name="connsiteY1042" fmla="*/ 3972994 h 6380470"/>
              <a:gd name="connsiteX1043" fmla="*/ 5875431 w 11625583"/>
              <a:gd name="connsiteY1043" fmla="*/ 4037660 h 6380470"/>
              <a:gd name="connsiteX1044" fmla="*/ 5810774 w 11625583"/>
              <a:gd name="connsiteY1044" fmla="*/ 4102326 h 6380470"/>
              <a:gd name="connsiteX1045" fmla="*/ 5746103 w 11625583"/>
              <a:gd name="connsiteY1045" fmla="*/ 4037660 h 6380470"/>
              <a:gd name="connsiteX1046" fmla="*/ 5810774 w 11625583"/>
              <a:gd name="connsiteY1046" fmla="*/ 3972994 h 6380470"/>
              <a:gd name="connsiteX1047" fmla="*/ 3947550 w 11625583"/>
              <a:gd name="connsiteY1047" fmla="*/ 3972994 h 6380470"/>
              <a:gd name="connsiteX1048" fmla="*/ 4012219 w 11625583"/>
              <a:gd name="connsiteY1048" fmla="*/ 4037660 h 6380470"/>
              <a:gd name="connsiteX1049" fmla="*/ 3947550 w 11625583"/>
              <a:gd name="connsiteY1049" fmla="*/ 4102326 h 6380470"/>
              <a:gd name="connsiteX1050" fmla="*/ 3882909 w 11625583"/>
              <a:gd name="connsiteY1050" fmla="*/ 4037660 h 6380470"/>
              <a:gd name="connsiteX1051" fmla="*/ 3947550 w 11625583"/>
              <a:gd name="connsiteY1051" fmla="*/ 3972994 h 6380470"/>
              <a:gd name="connsiteX1052" fmla="*/ 3791003 w 11625583"/>
              <a:gd name="connsiteY1052" fmla="*/ 3972994 h 6380470"/>
              <a:gd name="connsiteX1053" fmla="*/ 3855668 w 11625583"/>
              <a:gd name="connsiteY1053" fmla="*/ 4037660 h 6380470"/>
              <a:gd name="connsiteX1054" fmla="*/ 3791003 w 11625583"/>
              <a:gd name="connsiteY1054" fmla="*/ 4102326 h 6380470"/>
              <a:gd name="connsiteX1055" fmla="*/ 3726335 w 11625583"/>
              <a:gd name="connsiteY1055" fmla="*/ 4037660 h 6380470"/>
              <a:gd name="connsiteX1056" fmla="*/ 3791003 w 11625583"/>
              <a:gd name="connsiteY1056" fmla="*/ 3972994 h 6380470"/>
              <a:gd name="connsiteX1057" fmla="*/ 3630515 w 11625583"/>
              <a:gd name="connsiteY1057" fmla="*/ 3972994 h 6380470"/>
              <a:gd name="connsiteX1058" fmla="*/ 3695180 w 11625583"/>
              <a:gd name="connsiteY1058" fmla="*/ 4037660 h 6380470"/>
              <a:gd name="connsiteX1059" fmla="*/ 3630515 w 11625583"/>
              <a:gd name="connsiteY1059" fmla="*/ 4102326 h 6380470"/>
              <a:gd name="connsiteX1060" fmla="*/ 3565845 w 11625583"/>
              <a:gd name="connsiteY1060" fmla="*/ 4037660 h 6380470"/>
              <a:gd name="connsiteX1061" fmla="*/ 3630515 w 11625583"/>
              <a:gd name="connsiteY1061" fmla="*/ 3972994 h 6380470"/>
              <a:gd name="connsiteX1062" fmla="*/ 3481768 w 11625583"/>
              <a:gd name="connsiteY1062" fmla="*/ 3972994 h 6380470"/>
              <a:gd name="connsiteX1063" fmla="*/ 3546437 w 11625583"/>
              <a:gd name="connsiteY1063" fmla="*/ 4037660 h 6380470"/>
              <a:gd name="connsiteX1064" fmla="*/ 3481768 w 11625583"/>
              <a:gd name="connsiteY1064" fmla="*/ 4102326 h 6380470"/>
              <a:gd name="connsiteX1065" fmla="*/ 3417106 w 11625583"/>
              <a:gd name="connsiteY1065" fmla="*/ 4037660 h 6380470"/>
              <a:gd name="connsiteX1066" fmla="*/ 3481768 w 11625583"/>
              <a:gd name="connsiteY1066" fmla="*/ 3972994 h 6380470"/>
              <a:gd name="connsiteX1067" fmla="*/ 3321288 w 11625583"/>
              <a:gd name="connsiteY1067" fmla="*/ 3972994 h 6380470"/>
              <a:gd name="connsiteX1068" fmla="*/ 3385949 w 11625583"/>
              <a:gd name="connsiteY1068" fmla="*/ 4037660 h 6380470"/>
              <a:gd name="connsiteX1069" fmla="*/ 3321288 w 11625583"/>
              <a:gd name="connsiteY1069" fmla="*/ 4102326 h 6380470"/>
              <a:gd name="connsiteX1070" fmla="*/ 3256626 w 11625583"/>
              <a:gd name="connsiteY1070" fmla="*/ 4037660 h 6380470"/>
              <a:gd name="connsiteX1071" fmla="*/ 3321288 w 11625583"/>
              <a:gd name="connsiteY1071" fmla="*/ 3972994 h 6380470"/>
              <a:gd name="connsiteX1072" fmla="*/ 3172540 w 11625583"/>
              <a:gd name="connsiteY1072" fmla="*/ 3972994 h 6380470"/>
              <a:gd name="connsiteX1073" fmla="*/ 3237208 w 11625583"/>
              <a:gd name="connsiteY1073" fmla="*/ 4037660 h 6380470"/>
              <a:gd name="connsiteX1074" fmla="*/ 3172540 w 11625583"/>
              <a:gd name="connsiteY1074" fmla="*/ 4102326 h 6380470"/>
              <a:gd name="connsiteX1075" fmla="*/ 3107868 w 11625583"/>
              <a:gd name="connsiteY1075" fmla="*/ 4037660 h 6380470"/>
              <a:gd name="connsiteX1076" fmla="*/ 3172540 w 11625583"/>
              <a:gd name="connsiteY1076" fmla="*/ 3972994 h 6380470"/>
              <a:gd name="connsiteX1077" fmla="*/ 3012045 w 11625583"/>
              <a:gd name="connsiteY1077" fmla="*/ 3972994 h 6380470"/>
              <a:gd name="connsiteX1078" fmla="*/ 3076711 w 11625583"/>
              <a:gd name="connsiteY1078" fmla="*/ 4037660 h 6380470"/>
              <a:gd name="connsiteX1079" fmla="*/ 3012045 w 11625583"/>
              <a:gd name="connsiteY1079" fmla="*/ 4102326 h 6380470"/>
              <a:gd name="connsiteX1080" fmla="*/ 2947381 w 11625583"/>
              <a:gd name="connsiteY1080" fmla="*/ 4037660 h 6380470"/>
              <a:gd name="connsiteX1081" fmla="*/ 3012045 w 11625583"/>
              <a:gd name="connsiteY1081" fmla="*/ 3972994 h 6380470"/>
              <a:gd name="connsiteX1082" fmla="*/ 2855478 w 11625583"/>
              <a:gd name="connsiteY1082" fmla="*/ 3972994 h 6380470"/>
              <a:gd name="connsiteX1083" fmla="*/ 2920141 w 11625583"/>
              <a:gd name="connsiteY1083" fmla="*/ 4037660 h 6380470"/>
              <a:gd name="connsiteX1084" fmla="*/ 2855478 w 11625583"/>
              <a:gd name="connsiteY1084" fmla="*/ 4102326 h 6380470"/>
              <a:gd name="connsiteX1085" fmla="*/ 2790815 w 11625583"/>
              <a:gd name="connsiteY1085" fmla="*/ 4037660 h 6380470"/>
              <a:gd name="connsiteX1086" fmla="*/ 2855478 w 11625583"/>
              <a:gd name="connsiteY1086" fmla="*/ 3972994 h 6380470"/>
              <a:gd name="connsiteX1087" fmla="*/ 6742377 w 11625583"/>
              <a:gd name="connsiteY1087" fmla="*/ 3835996 h 6380470"/>
              <a:gd name="connsiteX1088" fmla="*/ 6807043 w 11625583"/>
              <a:gd name="connsiteY1088" fmla="*/ 3900662 h 6380470"/>
              <a:gd name="connsiteX1089" fmla="*/ 6742377 w 11625583"/>
              <a:gd name="connsiteY1089" fmla="*/ 3965328 h 6380470"/>
              <a:gd name="connsiteX1090" fmla="*/ 6677711 w 11625583"/>
              <a:gd name="connsiteY1090" fmla="*/ 3900662 h 6380470"/>
              <a:gd name="connsiteX1091" fmla="*/ 6742377 w 11625583"/>
              <a:gd name="connsiteY1091" fmla="*/ 3835996 h 6380470"/>
              <a:gd name="connsiteX1092" fmla="*/ 6585804 w 11625583"/>
              <a:gd name="connsiteY1092" fmla="*/ 3835996 h 6380470"/>
              <a:gd name="connsiteX1093" fmla="*/ 6650470 w 11625583"/>
              <a:gd name="connsiteY1093" fmla="*/ 3900662 h 6380470"/>
              <a:gd name="connsiteX1094" fmla="*/ 6585804 w 11625583"/>
              <a:gd name="connsiteY1094" fmla="*/ 3965328 h 6380470"/>
              <a:gd name="connsiteX1095" fmla="*/ 6521138 w 11625583"/>
              <a:gd name="connsiteY1095" fmla="*/ 3900662 h 6380470"/>
              <a:gd name="connsiteX1096" fmla="*/ 6585804 w 11625583"/>
              <a:gd name="connsiteY1096" fmla="*/ 3835996 h 6380470"/>
              <a:gd name="connsiteX1097" fmla="*/ 6429231 w 11625583"/>
              <a:gd name="connsiteY1097" fmla="*/ 3835996 h 6380470"/>
              <a:gd name="connsiteX1098" fmla="*/ 6493897 w 11625583"/>
              <a:gd name="connsiteY1098" fmla="*/ 3900662 h 6380470"/>
              <a:gd name="connsiteX1099" fmla="*/ 6429231 w 11625583"/>
              <a:gd name="connsiteY1099" fmla="*/ 3965328 h 6380470"/>
              <a:gd name="connsiteX1100" fmla="*/ 6364565 w 11625583"/>
              <a:gd name="connsiteY1100" fmla="*/ 3900662 h 6380470"/>
              <a:gd name="connsiteX1101" fmla="*/ 6429231 w 11625583"/>
              <a:gd name="connsiteY1101" fmla="*/ 3835996 h 6380470"/>
              <a:gd name="connsiteX1102" fmla="*/ 6276571 w 11625583"/>
              <a:gd name="connsiteY1102" fmla="*/ 3835996 h 6380470"/>
              <a:gd name="connsiteX1103" fmla="*/ 6341237 w 11625583"/>
              <a:gd name="connsiteY1103" fmla="*/ 3900662 h 6380470"/>
              <a:gd name="connsiteX1104" fmla="*/ 6276571 w 11625583"/>
              <a:gd name="connsiteY1104" fmla="*/ 3965328 h 6380470"/>
              <a:gd name="connsiteX1105" fmla="*/ 6211905 w 11625583"/>
              <a:gd name="connsiteY1105" fmla="*/ 3900662 h 6380470"/>
              <a:gd name="connsiteX1106" fmla="*/ 6276571 w 11625583"/>
              <a:gd name="connsiteY1106" fmla="*/ 3835996 h 6380470"/>
              <a:gd name="connsiteX1107" fmla="*/ 6119999 w 11625583"/>
              <a:gd name="connsiteY1107" fmla="*/ 3835996 h 6380470"/>
              <a:gd name="connsiteX1108" fmla="*/ 6184665 w 11625583"/>
              <a:gd name="connsiteY1108" fmla="*/ 3900662 h 6380470"/>
              <a:gd name="connsiteX1109" fmla="*/ 6119999 w 11625583"/>
              <a:gd name="connsiteY1109" fmla="*/ 3965328 h 6380470"/>
              <a:gd name="connsiteX1110" fmla="*/ 6055333 w 11625583"/>
              <a:gd name="connsiteY1110" fmla="*/ 3900662 h 6380470"/>
              <a:gd name="connsiteX1111" fmla="*/ 6119999 w 11625583"/>
              <a:gd name="connsiteY1111" fmla="*/ 3835996 h 6380470"/>
              <a:gd name="connsiteX1112" fmla="*/ 5967339 w 11625583"/>
              <a:gd name="connsiteY1112" fmla="*/ 3835996 h 6380470"/>
              <a:gd name="connsiteX1113" fmla="*/ 6032005 w 11625583"/>
              <a:gd name="connsiteY1113" fmla="*/ 3900662 h 6380470"/>
              <a:gd name="connsiteX1114" fmla="*/ 5967339 w 11625583"/>
              <a:gd name="connsiteY1114" fmla="*/ 3965328 h 6380470"/>
              <a:gd name="connsiteX1115" fmla="*/ 5902673 w 11625583"/>
              <a:gd name="connsiteY1115" fmla="*/ 3900662 h 6380470"/>
              <a:gd name="connsiteX1116" fmla="*/ 5967339 w 11625583"/>
              <a:gd name="connsiteY1116" fmla="*/ 3835996 h 6380470"/>
              <a:gd name="connsiteX1117" fmla="*/ 5810776 w 11625583"/>
              <a:gd name="connsiteY1117" fmla="*/ 3835996 h 6380470"/>
              <a:gd name="connsiteX1118" fmla="*/ 5875432 w 11625583"/>
              <a:gd name="connsiteY1118" fmla="*/ 3900662 h 6380470"/>
              <a:gd name="connsiteX1119" fmla="*/ 5810776 w 11625583"/>
              <a:gd name="connsiteY1119" fmla="*/ 3965328 h 6380470"/>
              <a:gd name="connsiteX1120" fmla="*/ 5746106 w 11625583"/>
              <a:gd name="connsiteY1120" fmla="*/ 3900662 h 6380470"/>
              <a:gd name="connsiteX1121" fmla="*/ 5810776 w 11625583"/>
              <a:gd name="connsiteY1121" fmla="*/ 3835996 h 6380470"/>
              <a:gd name="connsiteX1122" fmla="*/ 3791007 w 11625583"/>
              <a:gd name="connsiteY1122" fmla="*/ 3835996 h 6380470"/>
              <a:gd name="connsiteX1123" fmla="*/ 3855672 w 11625583"/>
              <a:gd name="connsiteY1123" fmla="*/ 3900662 h 6380470"/>
              <a:gd name="connsiteX1124" fmla="*/ 3791007 w 11625583"/>
              <a:gd name="connsiteY1124" fmla="*/ 3965328 h 6380470"/>
              <a:gd name="connsiteX1125" fmla="*/ 3726338 w 11625583"/>
              <a:gd name="connsiteY1125" fmla="*/ 3900662 h 6380470"/>
              <a:gd name="connsiteX1126" fmla="*/ 3791007 w 11625583"/>
              <a:gd name="connsiteY1126" fmla="*/ 3835996 h 6380470"/>
              <a:gd name="connsiteX1127" fmla="*/ 3630520 w 11625583"/>
              <a:gd name="connsiteY1127" fmla="*/ 3835996 h 6380470"/>
              <a:gd name="connsiteX1128" fmla="*/ 3695188 w 11625583"/>
              <a:gd name="connsiteY1128" fmla="*/ 3900662 h 6380470"/>
              <a:gd name="connsiteX1129" fmla="*/ 3630520 w 11625583"/>
              <a:gd name="connsiteY1129" fmla="*/ 3965328 h 6380470"/>
              <a:gd name="connsiteX1130" fmla="*/ 3565851 w 11625583"/>
              <a:gd name="connsiteY1130" fmla="*/ 3900662 h 6380470"/>
              <a:gd name="connsiteX1131" fmla="*/ 3630520 w 11625583"/>
              <a:gd name="connsiteY1131" fmla="*/ 3835996 h 6380470"/>
              <a:gd name="connsiteX1132" fmla="*/ 3481771 w 11625583"/>
              <a:gd name="connsiteY1132" fmla="*/ 3835996 h 6380470"/>
              <a:gd name="connsiteX1133" fmla="*/ 3546439 w 11625583"/>
              <a:gd name="connsiteY1133" fmla="*/ 3900662 h 6380470"/>
              <a:gd name="connsiteX1134" fmla="*/ 3481771 w 11625583"/>
              <a:gd name="connsiteY1134" fmla="*/ 3965328 h 6380470"/>
              <a:gd name="connsiteX1135" fmla="*/ 3417108 w 11625583"/>
              <a:gd name="connsiteY1135" fmla="*/ 3900662 h 6380470"/>
              <a:gd name="connsiteX1136" fmla="*/ 3481771 w 11625583"/>
              <a:gd name="connsiteY1136" fmla="*/ 3835996 h 6380470"/>
              <a:gd name="connsiteX1137" fmla="*/ 3321291 w 11625583"/>
              <a:gd name="connsiteY1137" fmla="*/ 3835996 h 6380470"/>
              <a:gd name="connsiteX1138" fmla="*/ 3385951 w 11625583"/>
              <a:gd name="connsiteY1138" fmla="*/ 3900662 h 6380470"/>
              <a:gd name="connsiteX1139" fmla="*/ 3321291 w 11625583"/>
              <a:gd name="connsiteY1139" fmla="*/ 3965328 h 6380470"/>
              <a:gd name="connsiteX1140" fmla="*/ 3256626 w 11625583"/>
              <a:gd name="connsiteY1140" fmla="*/ 3900662 h 6380470"/>
              <a:gd name="connsiteX1141" fmla="*/ 3321291 w 11625583"/>
              <a:gd name="connsiteY1141" fmla="*/ 3835996 h 6380470"/>
              <a:gd name="connsiteX1142" fmla="*/ 3172544 w 11625583"/>
              <a:gd name="connsiteY1142" fmla="*/ 3835996 h 6380470"/>
              <a:gd name="connsiteX1143" fmla="*/ 3237212 w 11625583"/>
              <a:gd name="connsiteY1143" fmla="*/ 3900662 h 6380470"/>
              <a:gd name="connsiteX1144" fmla="*/ 3172544 w 11625583"/>
              <a:gd name="connsiteY1144" fmla="*/ 3965328 h 6380470"/>
              <a:gd name="connsiteX1145" fmla="*/ 3107874 w 11625583"/>
              <a:gd name="connsiteY1145" fmla="*/ 3900662 h 6380470"/>
              <a:gd name="connsiteX1146" fmla="*/ 3172544 w 11625583"/>
              <a:gd name="connsiteY1146" fmla="*/ 3835996 h 6380470"/>
              <a:gd name="connsiteX1147" fmla="*/ 3012048 w 11625583"/>
              <a:gd name="connsiteY1147" fmla="*/ 3835996 h 6380470"/>
              <a:gd name="connsiteX1148" fmla="*/ 3076714 w 11625583"/>
              <a:gd name="connsiteY1148" fmla="*/ 3900662 h 6380470"/>
              <a:gd name="connsiteX1149" fmla="*/ 3012048 w 11625583"/>
              <a:gd name="connsiteY1149" fmla="*/ 3965328 h 6380470"/>
              <a:gd name="connsiteX1150" fmla="*/ 2947384 w 11625583"/>
              <a:gd name="connsiteY1150" fmla="*/ 3900662 h 6380470"/>
              <a:gd name="connsiteX1151" fmla="*/ 3012048 w 11625583"/>
              <a:gd name="connsiteY1151" fmla="*/ 3835996 h 6380470"/>
              <a:gd name="connsiteX1152" fmla="*/ 9227976 w 11625583"/>
              <a:gd name="connsiteY1152" fmla="*/ 3835993 h 6380470"/>
              <a:gd name="connsiteX1153" fmla="*/ 9292642 w 11625583"/>
              <a:gd name="connsiteY1153" fmla="*/ 3900659 h 6380470"/>
              <a:gd name="connsiteX1154" fmla="*/ 9227976 w 11625583"/>
              <a:gd name="connsiteY1154" fmla="*/ 3965325 h 6380470"/>
              <a:gd name="connsiteX1155" fmla="*/ 9163310 w 11625583"/>
              <a:gd name="connsiteY1155" fmla="*/ 3900659 h 6380470"/>
              <a:gd name="connsiteX1156" fmla="*/ 9227976 w 11625583"/>
              <a:gd name="connsiteY1156" fmla="*/ 3835993 h 6380470"/>
              <a:gd name="connsiteX1157" fmla="*/ 8766084 w 11625583"/>
              <a:gd name="connsiteY1157" fmla="*/ 3835993 h 6380470"/>
              <a:gd name="connsiteX1158" fmla="*/ 8830750 w 11625583"/>
              <a:gd name="connsiteY1158" fmla="*/ 3900659 h 6380470"/>
              <a:gd name="connsiteX1159" fmla="*/ 8766084 w 11625583"/>
              <a:gd name="connsiteY1159" fmla="*/ 3965325 h 6380470"/>
              <a:gd name="connsiteX1160" fmla="*/ 8701418 w 11625583"/>
              <a:gd name="connsiteY1160" fmla="*/ 3900659 h 6380470"/>
              <a:gd name="connsiteX1161" fmla="*/ 8766084 w 11625583"/>
              <a:gd name="connsiteY1161" fmla="*/ 3835993 h 6380470"/>
              <a:gd name="connsiteX1162" fmla="*/ 7055521 w 11625583"/>
              <a:gd name="connsiteY1162" fmla="*/ 3835993 h 6380470"/>
              <a:gd name="connsiteX1163" fmla="*/ 7120187 w 11625583"/>
              <a:gd name="connsiteY1163" fmla="*/ 3900659 h 6380470"/>
              <a:gd name="connsiteX1164" fmla="*/ 7055521 w 11625583"/>
              <a:gd name="connsiteY1164" fmla="*/ 3965325 h 6380470"/>
              <a:gd name="connsiteX1165" fmla="*/ 6990855 w 11625583"/>
              <a:gd name="connsiteY1165" fmla="*/ 3900659 h 6380470"/>
              <a:gd name="connsiteX1166" fmla="*/ 7055521 w 11625583"/>
              <a:gd name="connsiteY1166" fmla="*/ 3835993 h 6380470"/>
              <a:gd name="connsiteX1167" fmla="*/ 6895035 w 11625583"/>
              <a:gd name="connsiteY1167" fmla="*/ 3835993 h 6380470"/>
              <a:gd name="connsiteX1168" fmla="*/ 6959701 w 11625583"/>
              <a:gd name="connsiteY1168" fmla="*/ 3900659 h 6380470"/>
              <a:gd name="connsiteX1169" fmla="*/ 6895035 w 11625583"/>
              <a:gd name="connsiteY1169" fmla="*/ 3965325 h 6380470"/>
              <a:gd name="connsiteX1170" fmla="*/ 6830369 w 11625583"/>
              <a:gd name="connsiteY1170" fmla="*/ 3900659 h 6380470"/>
              <a:gd name="connsiteX1171" fmla="*/ 6895035 w 11625583"/>
              <a:gd name="connsiteY1171" fmla="*/ 3835993 h 6380470"/>
              <a:gd name="connsiteX1172" fmla="*/ 9541125 w 11625583"/>
              <a:gd name="connsiteY1172" fmla="*/ 3695080 h 6380470"/>
              <a:gd name="connsiteX1173" fmla="*/ 9605791 w 11625583"/>
              <a:gd name="connsiteY1173" fmla="*/ 3759746 h 6380470"/>
              <a:gd name="connsiteX1174" fmla="*/ 9541125 w 11625583"/>
              <a:gd name="connsiteY1174" fmla="*/ 3824412 h 6380470"/>
              <a:gd name="connsiteX1175" fmla="*/ 9476459 w 11625583"/>
              <a:gd name="connsiteY1175" fmla="*/ 3759746 h 6380470"/>
              <a:gd name="connsiteX1176" fmla="*/ 9541125 w 11625583"/>
              <a:gd name="connsiteY1176" fmla="*/ 3695080 h 6380470"/>
              <a:gd name="connsiteX1177" fmla="*/ 8766086 w 11625583"/>
              <a:gd name="connsiteY1177" fmla="*/ 3695080 h 6380470"/>
              <a:gd name="connsiteX1178" fmla="*/ 8830752 w 11625583"/>
              <a:gd name="connsiteY1178" fmla="*/ 3759746 h 6380470"/>
              <a:gd name="connsiteX1179" fmla="*/ 8766086 w 11625583"/>
              <a:gd name="connsiteY1179" fmla="*/ 3824412 h 6380470"/>
              <a:gd name="connsiteX1180" fmla="*/ 8701420 w 11625583"/>
              <a:gd name="connsiteY1180" fmla="*/ 3759746 h 6380470"/>
              <a:gd name="connsiteX1181" fmla="*/ 8766086 w 11625583"/>
              <a:gd name="connsiteY1181" fmla="*/ 3695080 h 6380470"/>
              <a:gd name="connsiteX1182" fmla="*/ 8139793 w 11625583"/>
              <a:gd name="connsiteY1182" fmla="*/ 3695080 h 6380470"/>
              <a:gd name="connsiteX1183" fmla="*/ 8204459 w 11625583"/>
              <a:gd name="connsiteY1183" fmla="*/ 3759746 h 6380470"/>
              <a:gd name="connsiteX1184" fmla="*/ 8139793 w 11625583"/>
              <a:gd name="connsiteY1184" fmla="*/ 3824412 h 6380470"/>
              <a:gd name="connsiteX1185" fmla="*/ 8075127 w 11625583"/>
              <a:gd name="connsiteY1185" fmla="*/ 3759746 h 6380470"/>
              <a:gd name="connsiteX1186" fmla="*/ 8139793 w 11625583"/>
              <a:gd name="connsiteY1186" fmla="*/ 3695080 h 6380470"/>
              <a:gd name="connsiteX1187" fmla="*/ 7055523 w 11625583"/>
              <a:gd name="connsiteY1187" fmla="*/ 3695080 h 6380470"/>
              <a:gd name="connsiteX1188" fmla="*/ 7120189 w 11625583"/>
              <a:gd name="connsiteY1188" fmla="*/ 3759746 h 6380470"/>
              <a:gd name="connsiteX1189" fmla="*/ 7055523 w 11625583"/>
              <a:gd name="connsiteY1189" fmla="*/ 3824412 h 6380470"/>
              <a:gd name="connsiteX1190" fmla="*/ 6990857 w 11625583"/>
              <a:gd name="connsiteY1190" fmla="*/ 3759746 h 6380470"/>
              <a:gd name="connsiteX1191" fmla="*/ 7055523 w 11625583"/>
              <a:gd name="connsiteY1191" fmla="*/ 3695080 h 6380470"/>
              <a:gd name="connsiteX1192" fmla="*/ 6895037 w 11625583"/>
              <a:gd name="connsiteY1192" fmla="*/ 3695080 h 6380470"/>
              <a:gd name="connsiteX1193" fmla="*/ 6959703 w 11625583"/>
              <a:gd name="connsiteY1193" fmla="*/ 3759746 h 6380470"/>
              <a:gd name="connsiteX1194" fmla="*/ 6895037 w 11625583"/>
              <a:gd name="connsiteY1194" fmla="*/ 3824412 h 6380470"/>
              <a:gd name="connsiteX1195" fmla="*/ 6830371 w 11625583"/>
              <a:gd name="connsiteY1195" fmla="*/ 3759746 h 6380470"/>
              <a:gd name="connsiteX1196" fmla="*/ 6895037 w 11625583"/>
              <a:gd name="connsiteY1196" fmla="*/ 3695080 h 6380470"/>
              <a:gd name="connsiteX1197" fmla="*/ 6742377 w 11625583"/>
              <a:gd name="connsiteY1197" fmla="*/ 3695080 h 6380470"/>
              <a:gd name="connsiteX1198" fmla="*/ 6807043 w 11625583"/>
              <a:gd name="connsiteY1198" fmla="*/ 3759746 h 6380470"/>
              <a:gd name="connsiteX1199" fmla="*/ 6742377 w 11625583"/>
              <a:gd name="connsiteY1199" fmla="*/ 3824412 h 6380470"/>
              <a:gd name="connsiteX1200" fmla="*/ 6677711 w 11625583"/>
              <a:gd name="connsiteY1200" fmla="*/ 3759746 h 6380470"/>
              <a:gd name="connsiteX1201" fmla="*/ 6742377 w 11625583"/>
              <a:gd name="connsiteY1201" fmla="*/ 3695080 h 6380470"/>
              <a:gd name="connsiteX1202" fmla="*/ 6585804 w 11625583"/>
              <a:gd name="connsiteY1202" fmla="*/ 3695080 h 6380470"/>
              <a:gd name="connsiteX1203" fmla="*/ 6650470 w 11625583"/>
              <a:gd name="connsiteY1203" fmla="*/ 3759746 h 6380470"/>
              <a:gd name="connsiteX1204" fmla="*/ 6585804 w 11625583"/>
              <a:gd name="connsiteY1204" fmla="*/ 3824412 h 6380470"/>
              <a:gd name="connsiteX1205" fmla="*/ 6521138 w 11625583"/>
              <a:gd name="connsiteY1205" fmla="*/ 3759746 h 6380470"/>
              <a:gd name="connsiteX1206" fmla="*/ 6585804 w 11625583"/>
              <a:gd name="connsiteY1206" fmla="*/ 3695080 h 6380470"/>
              <a:gd name="connsiteX1207" fmla="*/ 6429231 w 11625583"/>
              <a:gd name="connsiteY1207" fmla="*/ 3695080 h 6380470"/>
              <a:gd name="connsiteX1208" fmla="*/ 6493897 w 11625583"/>
              <a:gd name="connsiteY1208" fmla="*/ 3759746 h 6380470"/>
              <a:gd name="connsiteX1209" fmla="*/ 6429231 w 11625583"/>
              <a:gd name="connsiteY1209" fmla="*/ 3824412 h 6380470"/>
              <a:gd name="connsiteX1210" fmla="*/ 6364565 w 11625583"/>
              <a:gd name="connsiteY1210" fmla="*/ 3759746 h 6380470"/>
              <a:gd name="connsiteX1211" fmla="*/ 6429231 w 11625583"/>
              <a:gd name="connsiteY1211" fmla="*/ 3695080 h 6380470"/>
              <a:gd name="connsiteX1212" fmla="*/ 6276571 w 11625583"/>
              <a:gd name="connsiteY1212" fmla="*/ 3695080 h 6380470"/>
              <a:gd name="connsiteX1213" fmla="*/ 6341237 w 11625583"/>
              <a:gd name="connsiteY1213" fmla="*/ 3759746 h 6380470"/>
              <a:gd name="connsiteX1214" fmla="*/ 6276571 w 11625583"/>
              <a:gd name="connsiteY1214" fmla="*/ 3824412 h 6380470"/>
              <a:gd name="connsiteX1215" fmla="*/ 6211905 w 11625583"/>
              <a:gd name="connsiteY1215" fmla="*/ 3759746 h 6380470"/>
              <a:gd name="connsiteX1216" fmla="*/ 6276571 w 11625583"/>
              <a:gd name="connsiteY1216" fmla="*/ 3695080 h 6380470"/>
              <a:gd name="connsiteX1217" fmla="*/ 6119999 w 11625583"/>
              <a:gd name="connsiteY1217" fmla="*/ 3695080 h 6380470"/>
              <a:gd name="connsiteX1218" fmla="*/ 6184665 w 11625583"/>
              <a:gd name="connsiteY1218" fmla="*/ 3759746 h 6380470"/>
              <a:gd name="connsiteX1219" fmla="*/ 6119999 w 11625583"/>
              <a:gd name="connsiteY1219" fmla="*/ 3824412 h 6380470"/>
              <a:gd name="connsiteX1220" fmla="*/ 6055333 w 11625583"/>
              <a:gd name="connsiteY1220" fmla="*/ 3759746 h 6380470"/>
              <a:gd name="connsiteX1221" fmla="*/ 6119999 w 11625583"/>
              <a:gd name="connsiteY1221" fmla="*/ 3695080 h 6380470"/>
              <a:gd name="connsiteX1222" fmla="*/ 5967339 w 11625583"/>
              <a:gd name="connsiteY1222" fmla="*/ 3695080 h 6380470"/>
              <a:gd name="connsiteX1223" fmla="*/ 6032005 w 11625583"/>
              <a:gd name="connsiteY1223" fmla="*/ 3759746 h 6380470"/>
              <a:gd name="connsiteX1224" fmla="*/ 5967339 w 11625583"/>
              <a:gd name="connsiteY1224" fmla="*/ 3824412 h 6380470"/>
              <a:gd name="connsiteX1225" fmla="*/ 5902673 w 11625583"/>
              <a:gd name="connsiteY1225" fmla="*/ 3759746 h 6380470"/>
              <a:gd name="connsiteX1226" fmla="*/ 5967339 w 11625583"/>
              <a:gd name="connsiteY1226" fmla="*/ 3695080 h 6380470"/>
              <a:gd name="connsiteX1227" fmla="*/ 5810776 w 11625583"/>
              <a:gd name="connsiteY1227" fmla="*/ 3695080 h 6380470"/>
              <a:gd name="connsiteX1228" fmla="*/ 5875432 w 11625583"/>
              <a:gd name="connsiteY1228" fmla="*/ 3759746 h 6380470"/>
              <a:gd name="connsiteX1229" fmla="*/ 5810776 w 11625583"/>
              <a:gd name="connsiteY1229" fmla="*/ 3824412 h 6380470"/>
              <a:gd name="connsiteX1230" fmla="*/ 5746106 w 11625583"/>
              <a:gd name="connsiteY1230" fmla="*/ 3759746 h 6380470"/>
              <a:gd name="connsiteX1231" fmla="*/ 5810776 w 11625583"/>
              <a:gd name="connsiteY1231" fmla="*/ 3695080 h 6380470"/>
              <a:gd name="connsiteX1232" fmla="*/ 5658107 w 11625583"/>
              <a:gd name="connsiteY1232" fmla="*/ 3695080 h 6380470"/>
              <a:gd name="connsiteX1233" fmla="*/ 5722777 w 11625583"/>
              <a:gd name="connsiteY1233" fmla="*/ 3759746 h 6380470"/>
              <a:gd name="connsiteX1234" fmla="*/ 5658107 w 11625583"/>
              <a:gd name="connsiteY1234" fmla="*/ 3824412 h 6380470"/>
              <a:gd name="connsiteX1235" fmla="*/ 5593441 w 11625583"/>
              <a:gd name="connsiteY1235" fmla="*/ 3759746 h 6380470"/>
              <a:gd name="connsiteX1236" fmla="*/ 5658107 w 11625583"/>
              <a:gd name="connsiteY1236" fmla="*/ 3695080 h 6380470"/>
              <a:gd name="connsiteX1237" fmla="*/ 5501536 w 11625583"/>
              <a:gd name="connsiteY1237" fmla="*/ 3695080 h 6380470"/>
              <a:gd name="connsiteX1238" fmla="*/ 5566201 w 11625583"/>
              <a:gd name="connsiteY1238" fmla="*/ 3759746 h 6380470"/>
              <a:gd name="connsiteX1239" fmla="*/ 5501536 w 11625583"/>
              <a:gd name="connsiteY1239" fmla="*/ 3824412 h 6380470"/>
              <a:gd name="connsiteX1240" fmla="*/ 5436873 w 11625583"/>
              <a:gd name="connsiteY1240" fmla="*/ 3759746 h 6380470"/>
              <a:gd name="connsiteX1241" fmla="*/ 5501536 w 11625583"/>
              <a:gd name="connsiteY1241" fmla="*/ 3695080 h 6380470"/>
              <a:gd name="connsiteX1242" fmla="*/ 5348883 w 11625583"/>
              <a:gd name="connsiteY1242" fmla="*/ 3695080 h 6380470"/>
              <a:gd name="connsiteX1243" fmla="*/ 5413547 w 11625583"/>
              <a:gd name="connsiteY1243" fmla="*/ 3759746 h 6380470"/>
              <a:gd name="connsiteX1244" fmla="*/ 5348883 w 11625583"/>
              <a:gd name="connsiteY1244" fmla="*/ 3824412 h 6380470"/>
              <a:gd name="connsiteX1245" fmla="*/ 5284218 w 11625583"/>
              <a:gd name="connsiteY1245" fmla="*/ 3759746 h 6380470"/>
              <a:gd name="connsiteX1246" fmla="*/ 5348883 w 11625583"/>
              <a:gd name="connsiteY1246" fmla="*/ 3695080 h 6380470"/>
              <a:gd name="connsiteX1247" fmla="*/ 5192310 w 11625583"/>
              <a:gd name="connsiteY1247" fmla="*/ 3695080 h 6380470"/>
              <a:gd name="connsiteX1248" fmla="*/ 5256975 w 11625583"/>
              <a:gd name="connsiteY1248" fmla="*/ 3759746 h 6380470"/>
              <a:gd name="connsiteX1249" fmla="*/ 5192310 w 11625583"/>
              <a:gd name="connsiteY1249" fmla="*/ 3824412 h 6380470"/>
              <a:gd name="connsiteX1250" fmla="*/ 5127644 w 11625583"/>
              <a:gd name="connsiteY1250" fmla="*/ 3759746 h 6380470"/>
              <a:gd name="connsiteX1251" fmla="*/ 5192310 w 11625583"/>
              <a:gd name="connsiteY1251" fmla="*/ 3695080 h 6380470"/>
              <a:gd name="connsiteX1252" fmla="*/ 3481774 w 11625583"/>
              <a:gd name="connsiteY1252" fmla="*/ 3695080 h 6380470"/>
              <a:gd name="connsiteX1253" fmla="*/ 3546442 w 11625583"/>
              <a:gd name="connsiteY1253" fmla="*/ 3759746 h 6380470"/>
              <a:gd name="connsiteX1254" fmla="*/ 3481774 w 11625583"/>
              <a:gd name="connsiteY1254" fmla="*/ 3824412 h 6380470"/>
              <a:gd name="connsiteX1255" fmla="*/ 3417111 w 11625583"/>
              <a:gd name="connsiteY1255" fmla="*/ 3759746 h 6380470"/>
              <a:gd name="connsiteX1256" fmla="*/ 3481774 w 11625583"/>
              <a:gd name="connsiteY1256" fmla="*/ 3695080 h 6380470"/>
              <a:gd name="connsiteX1257" fmla="*/ 3321295 w 11625583"/>
              <a:gd name="connsiteY1257" fmla="*/ 3695080 h 6380470"/>
              <a:gd name="connsiteX1258" fmla="*/ 3385953 w 11625583"/>
              <a:gd name="connsiteY1258" fmla="*/ 3759746 h 6380470"/>
              <a:gd name="connsiteX1259" fmla="*/ 3321295 w 11625583"/>
              <a:gd name="connsiteY1259" fmla="*/ 3824412 h 6380470"/>
              <a:gd name="connsiteX1260" fmla="*/ 3256628 w 11625583"/>
              <a:gd name="connsiteY1260" fmla="*/ 3759746 h 6380470"/>
              <a:gd name="connsiteX1261" fmla="*/ 3321295 w 11625583"/>
              <a:gd name="connsiteY1261" fmla="*/ 3695080 h 6380470"/>
              <a:gd name="connsiteX1262" fmla="*/ 3172548 w 11625583"/>
              <a:gd name="connsiteY1262" fmla="*/ 3695080 h 6380470"/>
              <a:gd name="connsiteX1263" fmla="*/ 3237218 w 11625583"/>
              <a:gd name="connsiteY1263" fmla="*/ 3759746 h 6380470"/>
              <a:gd name="connsiteX1264" fmla="*/ 3172548 w 11625583"/>
              <a:gd name="connsiteY1264" fmla="*/ 3824412 h 6380470"/>
              <a:gd name="connsiteX1265" fmla="*/ 3107876 w 11625583"/>
              <a:gd name="connsiteY1265" fmla="*/ 3759746 h 6380470"/>
              <a:gd name="connsiteX1266" fmla="*/ 3172548 w 11625583"/>
              <a:gd name="connsiteY1266" fmla="*/ 3695080 h 6380470"/>
              <a:gd name="connsiteX1267" fmla="*/ 3012051 w 11625583"/>
              <a:gd name="connsiteY1267" fmla="*/ 3695080 h 6380470"/>
              <a:gd name="connsiteX1268" fmla="*/ 3076718 w 11625583"/>
              <a:gd name="connsiteY1268" fmla="*/ 3759746 h 6380470"/>
              <a:gd name="connsiteX1269" fmla="*/ 3012051 w 11625583"/>
              <a:gd name="connsiteY1269" fmla="*/ 3824412 h 6380470"/>
              <a:gd name="connsiteX1270" fmla="*/ 2947387 w 11625583"/>
              <a:gd name="connsiteY1270" fmla="*/ 3759746 h 6380470"/>
              <a:gd name="connsiteX1271" fmla="*/ 3012051 w 11625583"/>
              <a:gd name="connsiteY1271" fmla="*/ 3695080 h 6380470"/>
              <a:gd name="connsiteX1272" fmla="*/ 9541125 w 11625583"/>
              <a:gd name="connsiteY1272" fmla="*/ 3550250 h 6380470"/>
              <a:gd name="connsiteX1273" fmla="*/ 9605791 w 11625583"/>
              <a:gd name="connsiteY1273" fmla="*/ 3614916 h 6380470"/>
              <a:gd name="connsiteX1274" fmla="*/ 9541125 w 11625583"/>
              <a:gd name="connsiteY1274" fmla="*/ 3679582 h 6380470"/>
              <a:gd name="connsiteX1275" fmla="*/ 9476459 w 11625583"/>
              <a:gd name="connsiteY1275" fmla="*/ 3614916 h 6380470"/>
              <a:gd name="connsiteX1276" fmla="*/ 9541125 w 11625583"/>
              <a:gd name="connsiteY1276" fmla="*/ 3550250 h 6380470"/>
              <a:gd name="connsiteX1277" fmla="*/ 8914831 w 11625583"/>
              <a:gd name="connsiteY1277" fmla="*/ 3550250 h 6380470"/>
              <a:gd name="connsiteX1278" fmla="*/ 8979497 w 11625583"/>
              <a:gd name="connsiteY1278" fmla="*/ 3614916 h 6380470"/>
              <a:gd name="connsiteX1279" fmla="*/ 8914831 w 11625583"/>
              <a:gd name="connsiteY1279" fmla="*/ 3679582 h 6380470"/>
              <a:gd name="connsiteX1280" fmla="*/ 8850165 w 11625583"/>
              <a:gd name="connsiteY1280" fmla="*/ 3614916 h 6380470"/>
              <a:gd name="connsiteX1281" fmla="*/ 8914831 w 11625583"/>
              <a:gd name="connsiteY1281" fmla="*/ 3550250 h 6380470"/>
              <a:gd name="connsiteX1282" fmla="*/ 8766086 w 11625583"/>
              <a:gd name="connsiteY1282" fmla="*/ 3550250 h 6380470"/>
              <a:gd name="connsiteX1283" fmla="*/ 8830752 w 11625583"/>
              <a:gd name="connsiteY1283" fmla="*/ 3614916 h 6380470"/>
              <a:gd name="connsiteX1284" fmla="*/ 8766086 w 11625583"/>
              <a:gd name="connsiteY1284" fmla="*/ 3679582 h 6380470"/>
              <a:gd name="connsiteX1285" fmla="*/ 8701420 w 11625583"/>
              <a:gd name="connsiteY1285" fmla="*/ 3614916 h 6380470"/>
              <a:gd name="connsiteX1286" fmla="*/ 8766086 w 11625583"/>
              <a:gd name="connsiteY1286" fmla="*/ 3550250 h 6380470"/>
              <a:gd name="connsiteX1287" fmla="*/ 7987135 w 11625583"/>
              <a:gd name="connsiteY1287" fmla="*/ 3550250 h 6380470"/>
              <a:gd name="connsiteX1288" fmla="*/ 8051801 w 11625583"/>
              <a:gd name="connsiteY1288" fmla="*/ 3614916 h 6380470"/>
              <a:gd name="connsiteX1289" fmla="*/ 7987135 w 11625583"/>
              <a:gd name="connsiteY1289" fmla="*/ 3679582 h 6380470"/>
              <a:gd name="connsiteX1290" fmla="*/ 7922469 w 11625583"/>
              <a:gd name="connsiteY1290" fmla="*/ 3614916 h 6380470"/>
              <a:gd name="connsiteX1291" fmla="*/ 7987135 w 11625583"/>
              <a:gd name="connsiteY1291" fmla="*/ 3550250 h 6380470"/>
              <a:gd name="connsiteX1292" fmla="*/ 7212096 w 11625583"/>
              <a:gd name="connsiteY1292" fmla="*/ 3550250 h 6380470"/>
              <a:gd name="connsiteX1293" fmla="*/ 7276762 w 11625583"/>
              <a:gd name="connsiteY1293" fmla="*/ 3614916 h 6380470"/>
              <a:gd name="connsiteX1294" fmla="*/ 7212096 w 11625583"/>
              <a:gd name="connsiteY1294" fmla="*/ 3679582 h 6380470"/>
              <a:gd name="connsiteX1295" fmla="*/ 7147430 w 11625583"/>
              <a:gd name="connsiteY1295" fmla="*/ 3614916 h 6380470"/>
              <a:gd name="connsiteX1296" fmla="*/ 7212096 w 11625583"/>
              <a:gd name="connsiteY1296" fmla="*/ 3550250 h 6380470"/>
              <a:gd name="connsiteX1297" fmla="*/ 7055523 w 11625583"/>
              <a:gd name="connsiteY1297" fmla="*/ 3550250 h 6380470"/>
              <a:gd name="connsiteX1298" fmla="*/ 7120189 w 11625583"/>
              <a:gd name="connsiteY1298" fmla="*/ 3614916 h 6380470"/>
              <a:gd name="connsiteX1299" fmla="*/ 7055523 w 11625583"/>
              <a:gd name="connsiteY1299" fmla="*/ 3679582 h 6380470"/>
              <a:gd name="connsiteX1300" fmla="*/ 6990857 w 11625583"/>
              <a:gd name="connsiteY1300" fmla="*/ 3614916 h 6380470"/>
              <a:gd name="connsiteX1301" fmla="*/ 7055523 w 11625583"/>
              <a:gd name="connsiteY1301" fmla="*/ 3550250 h 6380470"/>
              <a:gd name="connsiteX1302" fmla="*/ 6895037 w 11625583"/>
              <a:gd name="connsiteY1302" fmla="*/ 3550250 h 6380470"/>
              <a:gd name="connsiteX1303" fmla="*/ 6959703 w 11625583"/>
              <a:gd name="connsiteY1303" fmla="*/ 3614916 h 6380470"/>
              <a:gd name="connsiteX1304" fmla="*/ 6895037 w 11625583"/>
              <a:gd name="connsiteY1304" fmla="*/ 3679582 h 6380470"/>
              <a:gd name="connsiteX1305" fmla="*/ 6830371 w 11625583"/>
              <a:gd name="connsiteY1305" fmla="*/ 3614916 h 6380470"/>
              <a:gd name="connsiteX1306" fmla="*/ 6895037 w 11625583"/>
              <a:gd name="connsiteY1306" fmla="*/ 3550250 h 6380470"/>
              <a:gd name="connsiteX1307" fmla="*/ 6742377 w 11625583"/>
              <a:gd name="connsiteY1307" fmla="*/ 3550250 h 6380470"/>
              <a:gd name="connsiteX1308" fmla="*/ 6807043 w 11625583"/>
              <a:gd name="connsiteY1308" fmla="*/ 3614916 h 6380470"/>
              <a:gd name="connsiteX1309" fmla="*/ 6742377 w 11625583"/>
              <a:gd name="connsiteY1309" fmla="*/ 3679582 h 6380470"/>
              <a:gd name="connsiteX1310" fmla="*/ 6677711 w 11625583"/>
              <a:gd name="connsiteY1310" fmla="*/ 3614916 h 6380470"/>
              <a:gd name="connsiteX1311" fmla="*/ 6742377 w 11625583"/>
              <a:gd name="connsiteY1311" fmla="*/ 3550250 h 6380470"/>
              <a:gd name="connsiteX1312" fmla="*/ 6585804 w 11625583"/>
              <a:gd name="connsiteY1312" fmla="*/ 3550250 h 6380470"/>
              <a:gd name="connsiteX1313" fmla="*/ 6650470 w 11625583"/>
              <a:gd name="connsiteY1313" fmla="*/ 3614916 h 6380470"/>
              <a:gd name="connsiteX1314" fmla="*/ 6585804 w 11625583"/>
              <a:gd name="connsiteY1314" fmla="*/ 3679582 h 6380470"/>
              <a:gd name="connsiteX1315" fmla="*/ 6521138 w 11625583"/>
              <a:gd name="connsiteY1315" fmla="*/ 3614916 h 6380470"/>
              <a:gd name="connsiteX1316" fmla="*/ 6585804 w 11625583"/>
              <a:gd name="connsiteY1316" fmla="*/ 3550250 h 6380470"/>
              <a:gd name="connsiteX1317" fmla="*/ 6429231 w 11625583"/>
              <a:gd name="connsiteY1317" fmla="*/ 3550250 h 6380470"/>
              <a:gd name="connsiteX1318" fmla="*/ 6493897 w 11625583"/>
              <a:gd name="connsiteY1318" fmla="*/ 3614916 h 6380470"/>
              <a:gd name="connsiteX1319" fmla="*/ 6429231 w 11625583"/>
              <a:gd name="connsiteY1319" fmla="*/ 3679582 h 6380470"/>
              <a:gd name="connsiteX1320" fmla="*/ 6364565 w 11625583"/>
              <a:gd name="connsiteY1320" fmla="*/ 3614916 h 6380470"/>
              <a:gd name="connsiteX1321" fmla="*/ 6429231 w 11625583"/>
              <a:gd name="connsiteY1321" fmla="*/ 3550250 h 6380470"/>
              <a:gd name="connsiteX1322" fmla="*/ 6276571 w 11625583"/>
              <a:gd name="connsiteY1322" fmla="*/ 3550250 h 6380470"/>
              <a:gd name="connsiteX1323" fmla="*/ 6341237 w 11625583"/>
              <a:gd name="connsiteY1323" fmla="*/ 3614916 h 6380470"/>
              <a:gd name="connsiteX1324" fmla="*/ 6276571 w 11625583"/>
              <a:gd name="connsiteY1324" fmla="*/ 3679582 h 6380470"/>
              <a:gd name="connsiteX1325" fmla="*/ 6211905 w 11625583"/>
              <a:gd name="connsiteY1325" fmla="*/ 3614916 h 6380470"/>
              <a:gd name="connsiteX1326" fmla="*/ 6276571 w 11625583"/>
              <a:gd name="connsiteY1326" fmla="*/ 3550250 h 6380470"/>
              <a:gd name="connsiteX1327" fmla="*/ 6119999 w 11625583"/>
              <a:gd name="connsiteY1327" fmla="*/ 3550250 h 6380470"/>
              <a:gd name="connsiteX1328" fmla="*/ 6184665 w 11625583"/>
              <a:gd name="connsiteY1328" fmla="*/ 3614916 h 6380470"/>
              <a:gd name="connsiteX1329" fmla="*/ 6119999 w 11625583"/>
              <a:gd name="connsiteY1329" fmla="*/ 3679582 h 6380470"/>
              <a:gd name="connsiteX1330" fmla="*/ 6055333 w 11625583"/>
              <a:gd name="connsiteY1330" fmla="*/ 3614916 h 6380470"/>
              <a:gd name="connsiteX1331" fmla="*/ 6119999 w 11625583"/>
              <a:gd name="connsiteY1331" fmla="*/ 3550250 h 6380470"/>
              <a:gd name="connsiteX1332" fmla="*/ 5967339 w 11625583"/>
              <a:gd name="connsiteY1332" fmla="*/ 3550250 h 6380470"/>
              <a:gd name="connsiteX1333" fmla="*/ 6032005 w 11625583"/>
              <a:gd name="connsiteY1333" fmla="*/ 3614916 h 6380470"/>
              <a:gd name="connsiteX1334" fmla="*/ 5967339 w 11625583"/>
              <a:gd name="connsiteY1334" fmla="*/ 3679582 h 6380470"/>
              <a:gd name="connsiteX1335" fmla="*/ 5902673 w 11625583"/>
              <a:gd name="connsiteY1335" fmla="*/ 3614916 h 6380470"/>
              <a:gd name="connsiteX1336" fmla="*/ 5967339 w 11625583"/>
              <a:gd name="connsiteY1336" fmla="*/ 3550250 h 6380470"/>
              <a:gd name="connsiteX1337" fmla="*/ 5810778 w 11625583"/>
              <a:gd name="connsiteY1337" fmla="*/ 3550250 h 6380470"/>
              <a:gd name="connsiteX1338" fmla="*/ 5875432 w 11625583"/>
              <a:gd name="connsiteY1338" fmla="*/ 3614916 h 6380470"/>
              <a:gd name="connsiteX1339" fmla="*/ 5810778 w 11625583"/>
              <a:gd name="connsiteY1339" fmla="*/ 3679582 h 6380470"/>
              <a:gd name="connsiteX1340" fmla="*/ 5746106 w 11625583"/>
              <a:gd name="connsiteY1340" fmla="*/ 3614916 h 6380470"/>
              <a:gd name="connsiteX1341" fmla="*/ 5810778 w 11625583"/>
              <a:gd name="connsiteY1341" fmla="*/ 3550250 h 6380470"/>
              <a:gd name="connsiteX1342" fmla="*/ 5658107 w 11625583"/>
              <a:gd name="connsiteY1342" fmla="*/ 3550250 h 6380470"/>
              <a:gd name="connsiteX1343" fmla="*/ 5722777 w 11625583"/>
              <a:gd name="connsiteY1343" fmla="*/ 3614916 h 6380470"/>
              <a:gd name="connsiteX1344" fmla="*/ 5658107 w 11625583"/>
              <a:gd name="connsiteY1344" fmla="*/ 3679582 h 6380470"/>
              <a:gd name="connsiteX1345" fmla="*/ 5593441 w 11625583"/>
              <a:gd name="connsiteY1345" fmla="*/ 3614916 h 6380470"/>
              <a:gd name="connsiteX1346" fmla="*/ 5658107 w 11625583"/>
              <a:gd name="connsiteY1346" fmla="*/ 3550250 h 6380470"/>
              <a:gd name="connsiteX1347" fmla="*/ 5501536 w 11625583"/>
              <a:gd name="connsiteY1347" fmla="*/ 3550250 h 6380470"/>
              <a:gd name="connsiteX1348" fmla="*/ 5566201 w 11625583"/>
              <a:gd name="connsiteY1348" fmla="*/ 3614916 h 6380470"/>
              <a:gd name="connsiteX1349" fmla="*/ 5501536 w 11625583"/>
              <a:gd name="connsiteY1349" fmla="*/ 3679582 h 6380470"/>
              <a:gd name="connsiteX1350" fmla="*/ 5436874 w 11625583"/>
              <a:gd name="connsiteY1350" fmla="*/ 3614916 h 6380470"/>
              <a:gd name="connsiteX1351" fmla="*/ 5501536 w 11625583"/>
              <a:gd name="connsiteY1351" fmla="*/ 3550250 h 6380470"/>
              <a:gd name="connsiteX1352" fmla="*/ 5348883 w 11625583"/>
              <a:gd name="connsiteY1352" fmla="*/ 3550250 h 6380470"/>
              <a:gd name="connsiteX1353" fmla="*/ 5413547 w 11625583"/>
              <a:gd name="connsiteY1353" fmla="*/ 3614916 h 6380470"/>
              <a:gd name="connsiteX1354" fmla="*/ 5348883 w 11625583"/>
              <a:gd name="connsiteY1354" fmla="*/ 3679582 h 6380470"/>
              <a:gd name="connsiteX1355" fmla="*/ 5284218 w 11625583"/>
              <a:gd name="connsiteY1355" fmla="*/ 3614916 h 6380470"/>
              <a:gd name="connsiteX1356" fmla="*/ 5348883 w 11625583"/>
              <a:gd name="connsiteY1356" fmla="*/ 3550250 h 6380470"/>
              <a:gd name="connsiteX1357" fmla="*/ 5192310 w 11625583"/>
              <a:gd name="connsiteY1357" fmla="*/ 3550250 h 6380470"/>
              <a:gd name="connsiteX1358" fmla="*/ 5256975 w 11625583"/>
              <a:gd name="connsiteY1358" fmla="*/ 3614916 h 6380470"/>
              <a:gd name="connsiteX1359" fmla="*/ 5192310 w 11625583"/>
              <a:gd name="connsiteY1359" fmla="*/ 3679582 h 6380470"/>
              <a:gd name="connsiteX1360" fmla="*/ 5127644 w 11625583"/>
              <a:gd name="connsiteY1360" fmla="*/ 3614916 h 6380470"/>
              <a:gd name="connsiteX1361" fmla="*/ 5192310 w 11625583"/>
              <a:gd name="connsiteY1361" fmla="*/ 3550250 h 6380470"/>
              <a:gd name="connsiteX1362" fmla="*/ 5031828 w 11625583"/>
              <a:gd name="connsiteY1362" fmla="*/ 3550250 h 6380470"/>
              <a:gd name="connsiteX1363" fmla="*/ 5096490 w 11625583"/>
              <a:gd name="connsiteY1363" fmla="*/ 3614916 h 6380470"/>
              <a:gd name="connsiteX1364" fmla="*/ 5031828 w 11625583"/>
              <a:gd name="connsiteY1364" fmla="*/ 3679582 h 6380470"/>
              <a:gd name="connsiteX1365" fmla="*/ 4967158 w 11625583"/>
              <a:gd name="connsiteY1365" fmla="*/ 3614916 h 6380470"/>
              <a:gd name="connsiteX1366" fmla="*/ 5031828 w 11625583"/>
              <a:gd name="connsiteY1366" fmla="*/ 3550250 h 6380470"/>
              <a:gd name="connsiteX1367" fmla="*/ 3321299 w 11625583"/>
              <a:gd name="connsiteY1367" fmla="*/ 3550250 h 6380470"/>
              <a:gd name="connsiteX1368" fmla="*/ 3385957 w 11625583"/>
              <a:gd name="connsiteY1368" fmla="*/ 3614916 h 6380470"/>
              <a:gd name="connsiteX1369" fmla="*/ 3321299 w 11625583"/>
              <a:gd name="connsiteY1369" fmla="*/ 3679582 h 6380470"/>
              <a:gd name="connsiteX1370" fmla="*/ 3256631 w 11625583"/>
              <a:gd name="connsiteY1370" fmla="*/ 3614916 h 6380470"/>
              <a:gd name="connsiteX1371" fmla="*/ 3321299 w 11625583"/>
              <a:gd name="connsiteY1371" fmla="*/ 3550250 h 6380470"/>
              <a:gd name="connsiteX1372" fmla="*/ 3172552 w 11625583"/>
              <a:gd name="connsiteY1372" fmla="*/ 3550250 h 6380470"/>
              <a:gd name="connsiteX1373" fmla="*/ 3237221 w 11625583"/>
              <a:gd name="connsiteY1373" fmla="*/ 3614916 h 6380470"/>
              <a:gd name="connsiteX1374" fmla="*/ 3172552 w 11625583"/>
              <a:gd name="connsiteY1374" fmla="*/ 3679582 h 6380470"/>
              <a:gd name="connsiteX1375" fmla="*/ 3107879 w 11625583"/>
              <a:gd name="connsiteY1375" fmla="*/ 3614916 h 6380470"/>
              <a:gd name="connsiteX1376" fmla="*/ 3172552 w 11625583"/>
              <a:gd name="connsiteY1376" fmla="*/ 3550250 h 6380470"/>
              <a:gd name="connsiteX1377" fmla="*/ 3012054 w 11625583"/>
              <a:gd name="connsiteY1377" fmla="*/ 3550250 h 6380470"/>
              <a:gd name="connsiteX1378" fmla="*/ 3076721 w 11625583"/>
              <a:gd name="connsiteY1378" fmla="*/ 3614916 h 6380470"/>
              <a:gd name="connsiteX1379" fmla="*/ 3012054 w 11625583"/>
              <a:gd name="connsiteY1379" fmla="*/ 3679582 h 6380470"/>
              <a:gd name="connsiteX1380" fmla="*/ 2947391 w 11625583"/>
              <a:gd name="connsiteY1380" fmla="*/ 3614916 h 6380470"/>
              <a:gd name="connsiteX1381" fmla="*/ 3012054 w 11625583"/>
              <a:gd name="connsiteY1381" fmla="*/ 3550250 h 6380470"/>
              <a:gd name="connsiteX1382" fmla="*/ 2855489 w 11625583"/>
              <a:gd name="connsiteY1382" fmla="*/ 3550250 h 6380470"/>
              <a:gd name="connsiteX1383" fmla="*/ 2920151 w 11625583"/>
              <a:gd name="connsiteY1383" fmla="*/ 3614916 h 6380470"/>
              <a:gd name="connsiteX1384" fmla="*/ 2855489 w 11625583"/>
              <a:gd name="connsiteY1384" fmla="*/ 3679582 h 6380470"/>
              <a:gd name="connsiteX1385" fmla="*/ 2790826 w 11625583"/>
              <a:gd name="connsiteY1385" fmla="*/ 3614916 h 6380470"/>
              <a:gd name="connsiteX1386" fmla="*/ 2855489 w 11625583"/>
              <a:gd name="connsiteY1386" fmla="*/ 3550250 h 6380470"/>
              <a:gd name="connsiteX1387" fmla="*/ 2698923 w 11625583"/>
              <a:gd name="connsiteY1387" fmla="*/ 3550250 h 6380470"/>
              <a:gd name="connsiteX1388" fmla="*/ 2763586 w 11625583"/>
              <a:gd name="connsiteY1388" fmla="*/ 3614916 h 6380470"/>
              <a:gd name="connsiteX1389" fmla="*/ 2698923 w 11625583"/>
              <a:gd name="connsiteY1389" fmla="*/ 3679582 h 6380470"/>
              <a:gd name="connsiteX1390" fmla="*/ 2634261 w 11625583"/>
              <a:gd name="connsiteY1390" fmla="*/ 3614916 h 6380470"/>
              <a:gd name="connsiteX1391" fmla="*/ 2698923 w 11625583"/>
              <a:gd name="connsiteY1391" fmla="*/ 3550250 h 6380470"/>
              <a:gd name="connsiteX1392" fmla="*/ 9541125 w 11625583"/>
              <a:gd name="connsiteY1392" fmla="*/ 3401506 h 6380470"/>
              <a:gd name="connsiteX1393" fmla="*/ 9605791 w 11625583"/>
              <a:gd name="connsiteY1393" fmla="*/ 3466172 h 6380470"/>
              <a:gd name="connsiteX1394" fmla="*/ 9541125 w 11625583"/>
              <a:gd name="connsiteY1394" fmla="*/ 3530838 h 6380470"/>
              <a:gd name="connsiteX1395" fmla="*/ 9476459 w 11625583"/>
              <a:gd name="connsiteY1395" fmla="*/ 3466172 h 6380470"/>
              <a:gd name="connsiteX1396" fmla="*/ 9541125 w 11625583"/>
              <a:gd name="connsiteY1396" fmla="*/ 3401506 h 6380470"/>
              <a:gd name="connsiteX1397" fmla="*/ 8914831 w 11625583"/>
              <a:gd name="connsiteY1397" fmla="*/ 3401506 h 6380470"/>
              <a:gd name="connsiteX1398" fmla="*/ 8979497 w 11625583"/>
              <a:gd name="connsiteY1398" fmla="*/ 3466172 h 6380470"/>
              <a:gd name="connsiteX1399" fmla="*/ 8914831 w 11625583"/>
              <a:gd name="connsiteY1399" fmla="*/ 3530838 h 6380470"/>
              <a:gd name="connsiteX1400" fmla="*/ 8850165 w 11625583"/>
              <a:gd name="connsiteY1400" fmla="*/ 3466172 h 6380470"/>
              <a:gd name="connsiteX1401" fmla="*/ 8914831 w 11625583"/>
              <a:gd name="connsiteY1401" fmla="*/ 3401506 h 6380470"/>
              <a:gd name="connsiteX1402" fmla="*/ 8766086 w 11625583"/>
              <a:gd name="connsiteY1402" fmla="*/ 3401506 h 6380470"/>
              <a:gd name="connsiteX1403" fmla="*/ 8830752 w 11625583"/>
              <a:gd name="connsiteY1403" fmla="*/ 3466172 h 6380470"/>
              <a:gd name="connsiteX1404" fmla="*/ 8766086 w 11625583"/>
              <a:gd name="connsiteY1404" fmla="*/ 3530838 h 6380470"/>
              <a:gd name="connsiteX1405" fmla="*/ 8701420 w 11625583"/>
              <a:gd name="connsiteY1405" fmla="*/ 3466172 h 6380470"/>
              <a:gd name="connsiteX1406" fmla="*/ 8766086 w 11625583"/>
              <a:gd name="connsiteY1406" fmla="*/ 3401506 h 6380470"/>
              <a:gd name="connsiteX1407" fmla="*/ 8139793 w 11625583"/>
              <a:gd name="connsiteY1407" fmla="*/ 3401506 h 6380470"/>
              <a:gd name="connsiteX1408" fmla="*/ 8204459 w 11625583"/>
              <a:gd name="connsiteY1408" fmla="*/ 3466172 h 6380470"/>
              <a:gd name="connsiteX1409" fmla="*/ 8139793 w 11625583"/>
              <a:gd name="connsiteY1409" fmla="*/ 3530838 h 6380470"/>
              <a:gd name="connsiteX1410" fmla="*/ 8075127 w 11625583"/>
              <a:gd name="connsiteY1410" fmla="*/ 3466172 h 6380470"/>
              <a:gd name="connsiteX1411" fmla="*/ 8139793 w 11625583"/>
              <a:gd name="connsiteY1411" fmla="*/ 3401506 h 6380470"/>
              <a:gd name="connsiteX1412" fmla="*/ 7987135 w 11625583"/>
              <a:gd name="connsiteY1412" fmla="*/ 3401506 h 6380470"/>
              <a:gd name="connsiteX1413" fmla="*/ 8051801 w 11625583"/>
              <a:gd name="connsiteY1413" fmla="*/ 3466172 h 6380470"/>
              <a:gd name="connsiteX1414" fmla="*/ 7987135 w 11625583"/>
              <a:gd name="connsiteY1414" fmla="*/ 3530838 h 6380470"/>
              <a:gd name="connsiteX1415" fmla="*/ 7922469 w 11625583"/>
              <a:gd name="connsiteY1415" fmla="*/ 3466172 h 6380470"/>
              <a:gd name="connsiteX1416" fmla="*/ 7987135 w 11625583"/>
              <a:gd name="connsiteY1416" fmla="*/ 3401506 h 6380470"/>
              <a:gd name="connsiteX1417" fmla="*/ 6742377 w 11625583"/>
              <a:gd name="connsiteY1417" fmla="*/ 3401506 h 6380470"/>
              <a:gd name="connsiteX1418" fmla="*/ 6807043 w 11625583"/>
              <a:gd name="connsiteY1418" fmla="*/ 3466172 h 6380470"/>
              <a:gd name="connsiteX1419" fmla="*/ 6742377 w 11625583"/>
              <a:gd name="connsiteY1419" fmla="*/ 3530838 h 6380470"/>
              <a:gd name="connsiteX1420" fmla="*/ 6677711 w 11625583"/>
              <a:gd name="connsiteY1420" fmla="*/ 3466172 h 6380470"/>
              <a:gd name="connsiteX1421" fmla="*/ 6742377 w 11625583"/>
              <a:gd name="connsiteY1421" fmla="*/ 3401506 h 6380470"/>
              <a:gd name="connsiteX1422" fmla="*/ 6585804 w 11625583"/>
              <a:gd name="connsiteY1422" fmla="*/ 3401506 h 6380470"/>
              <a:gd name="connsiteX1423" fmla="*/ 6650470 w 11625583"/>
              <a:gd name="connsiteY1423" fmla="*/ 3466172 h 6380470"/>
              <a:gd name="connsiteX1424" fmla="*/ 6585804 w 11625583"/>
              <a:gd name="connsiteY1424" fmla="*/ 3530838 h 6380470"/>
              <a:gd name="connsiteX1425" fmla="*/ 6521138 w 11625583"/>
              <a:gd name="connsiteY1425" fmla="*/ 3466172 h 6380470"/>
              <a:gd name="connsiteX1426" fmla="*/ 6585804 w 11625583"/>
              <a:gd name="connsiteY1426" fmla="*/ 3401506 h 6380470"/>
              <a:gd name="connsiteX1427" fmla="*/ 6429231 w 11625583"/>
              <a:gd name="connsiteY1427" fmla="*/ 3401506 h 6380470"/>
              <a:gd name="connsiteX1428" fmla="*/ 6493897 w 11625583"/>
              <a:gd name="connsiteY1428" fmla="*/ 3466172 h 6380470"/>
              <a:gd name="connsiteX1429" fmla="*/ 6429231 w 11625583"/>
              <a:gd name="connsiteY1429" fmla="*/ 3530838 h 6380470"/>
              <a:gd name="connsiteX1430" fmla="*/ 6364565 w 11625583"/>
              <a:gd name="connsiteY1430" fmla="*/ 3466172 h 6380470"/>
              <a:gd name="connsiteX1431" fmla="*/ 6429231 w 11625583"/>
              <a:gd name="connsiteY1431" fmla="*/ 3401506 h 6380470"/>
              <a:gd name="connsiteX1432" fmla="*/ 6276571 w 11625583"/>
              <a:gd name="connsiteY1432" fmla="*/ 3401506 h 6380470"/>
              <a:gd name="connsiteX1433" fmla="*/ 6341237 w 11625583"/>
              <a:gd name="connsiteY1433" fmla="*/ 3466172 h 6380470"/>
              <a:gd name="connsiteX1434" fmla="*/ 6276571 w 11625583"/>
              <a:gd name="connsiteY1434" fmla="*/ 3530838 h 6380470"/>
              <a:gd name="connsiteX1435" fmla="*/ 6211905 w 11625583"/>
              <a:gd name="connsiteY1435" fmla="*/ 3466172 h 6380470"/>
              <a:gd name="connsiteX1436" fmla="*/ 6276571 w 11625583"/>
              <a:gd name="connsiteY1436" fmla="*/ 3401506 h 6380470"/>
              <a:gd name="connsiteX1437" fmla="*/ 6119999 w 11625583"/>
              <a:gd name="connsiteY1437" fmla="*/ 3401506 h 6380470"/>
              <a:gd name="connsiteX1438" fmla="*/ 6184665 w 11625583"/>
              <a:gd name="connsiteY1438" fmla="*/ 3466172 h 6380470"/>
              <a:gd name="connsiteX1439" fmla="*/ 6119999 w 11625583"/>
              <a:gd name="connsiteY1439" fmla="*/ 3530838 h 6380470"/>
              <a:gd name="connsiteX1440" fmla="*/ 6055333 w 11625583"/>
              <a:gd name="connsiteY1440" fmla="*/ 3466172 h 6380470"/>
              <a:gd name="connsiteX1441" fmla="*/ 6119999 w 11625583"/>
              <a:gd name="connsiteY1441" fmla="*/ 3401506 h 6380470"/>
              <a:gd name="connsiteX1442" fmla="*/ 5967338 w 11625583"/>
              <a:gd name="connsiteY1442" fmla="*/ 3401504 h 6380470"/>
              <a:gd name="connsiteX1443" fmla="*/ 6032004 w 11625583"/>
              <a:gd name="connsiteY1443" fmla="*/ 3466170 h 6380470"/>
              <a:gd name="connsiteX1444" fmla="*/ 5967338 w 11625583"/>
              <a:gd name="connsiteY1444" fmla="*/ 3530836 h 6380470"/>
              <a:gd name="connsiteX1445" fmla="*/ 5902672 w 11625583"/>
              <a:gd name="connsiteY1445" fmla="*/ 3466170 h 6380470"/>
              <a:gd name="connsiteX1446" fmla="*/ 5967338 w 11625583"/>
              <a:gd name="connsiteY1446" fmla="*/ 3401504 h 6380470"/>
              <a:gd name="connsiteX1447" fmla="*/ 5810778 w 11625583"/>
              <a:gd name="connsiteY1447" fmla="*/ 3401504 h 6380470"/>
              <a:gd name="connsiteX1448" fmla="*/ 5875431 w 11625583"/>
              <a:gd name="connsiteY1448" fmla="*/ 3466170 h 6380470"/>
              <a:gd name="connsiteX1449" fmla="*/ 5810778 w 11625583"/>
              <a:gd name="connsiteY1449" fmla="*/ 3530836 h 6380470"/>
              <a:gd name="connsiteX1450" fmla="*/ 5746106 w 11625583"/>
              <a:gd name="connsiteY1450" fmla="*/ 3466170 h 6380470"/>
              <a:gd name="connsiteX1451" fmla="*/ 5810778 w 11625583"/>
              <a:gd name="connsiteY1451" fmla="*/ 3401504 h 6380470"/>
              <a:gd name="connsiteX1452" fmla="*/ 5658107 w 11625583"/>
              <a:gd name="connsiteY1452" fmla="*/ 3401504 h 6380470"/>
              <a:gd name="connsiteX1453" fmla="*/ 5722777 w 11625583"/>
              <a:gd name="connsiteY1453" fmla="*/ 3466170 h 6380470"/>
              <a:gd name="connsiteX1454" fmla="*/ 5658107 w 11625583"/>
              <a:gd name="connsiteY1454" fmla="*/ 3530836 h 6380470"/>
              <a:gd name="connsiteX1455" fmla="*/ 5593441 w 11625583"/>
              <a:gd name="connsiteY1455" fmla="*/ 3466170 h 6380470"/>
              <a:gd name="connsiteX1456" fmla="*/ 5658107 w 11625583"/>
              <a:gd name="connsiteY1456" fmla="*/ 3401504 h 6380470"/>
              <a:gd name="connsiteX1457" fmla="*/ 5501536 w 11625583"/>
              <a:gd name="connsiteY1457" fmla="*/ 3401504 h 6380470"/>
              <a:gd name="connsiteX1458" fmla="*/ 5566202 w 11625583"/>
              <a:gd name="connsiteY1458" fmla="*/ 3466170 h 6380470"/>
              <a:gd name="connsiteX1459" fmla="*/ 5501536 w 11625583"/>
              <a:gd name="connsiteY1459" fmla="*/ 3530836 h 6380470"/>
              <a:gd name="connsiteX1460" fmla="*/ 5436874 w 11625583"/>
              <a:gd name="connsiteY1460" fmla="*/ 3466170 h 6380470"/>
              <a:gd name="connsiteX1461" fmla="*/ 5501536 w 11625583"/>
              <a:gd name="connsiteY1461" fmla="*/ 3401504 h 6380470"/>
              <a:gd name="connsiteX1462" fmla="*/ 5348883 w 11625583"/>
              <a:gd name="connsiteY1462" fmla="*/ 3401504 h 6380470"/>
              <a:gd name="connsiteX1463" fmla="*/ 5413547 w 11625583"/>
              <a:gd name="connsiteY1463" fmla="*/ 3466170 h 6380470"/>
              <a:gd name="connsiteX1464" fmla="*/ 5348883 w 11625583"/>
              <a:gd name="connsiteY1464" fmla="*/ 3530836 h 6380470"/>
              <a:gd name="connsiteX1465" fmla="*/ 5284218 w 11625583"/>
              <a:gd name="connsiteY1465" fmla="*/ 3466170 h 6380470"/>
              <a:gd name="connsiteX1466" fmla="*/ 5348883 w 11625583"/>
              <a:gd name="connsiteY1466" fmla="*/ 3401504 h 6380470"/>
              <a:gd name="connsiteX1467" fmla="*/ 5192310 w 11625583"/>
              <a:gd name="connsiteY1467" fmla="*/ 3401504 h 6380470"/>
              <a:gd name="connsiteX1468" fmla="*/ 5256973 w 11625583"/>
              <a:gd name="connsiteY1468" fmla="*/ 3466170 h 6380470"/>
              <a:gd name="connsiteX1469" fmla="*/ 5192310 w 11625583"/>
              <a:gd name="connsiteY1469" fmla="*/ 3530836 h 6380470"/>
              <a:gd name="connsiteX1470" fmla="*/ 5127643 w 11625583"/>
              <a:gd name="connsiteY1470" fmla="*/ 3466170 h 6380470"/>
              <a:gd name="connsiteX1471" fmla="*/ 5192310 w 11625583"/>
              <a:gd name="connsiteY1471" fmla="*/ 3401504 h 6380470"/>
              <a:gd name="connsiteX1472" fmla="*/ 5031826 w 11625583"/>
              <a:gd name="connsiteY1472" fmla="*/ 3401504 h 6380470"/>
              <a:gd name="connsiteX1473" fmla="*/ 5096490 w 11625583"/>
              <a:gd name="connsiteY1473" fmla="*/ 3466170 h 6380470"/>
              <a:gd name="connsiteX1474" fmla="*/ 5031826 w 11625583"/>
              <a:gd name="connsiteY1474" fmla="*/ 3530836 h 6380470"/>
              <a:gd name="connsiteX1475" fmla="*/ 4967156 w 11625583"/>
              <a:gd name="connsiteY1475" fmla="*/ 3466170 h 6380470"/>
              <a:gd name="connsiteX1476" fmla="*/ 5031826 w 11625583"/>
              <a:gd name="connsiteY1476" fmla="*/ 3401504 h 6380470"/>
              <a:gd name="connsiteX1477" fmla="*/ 2698926 w 11625583"/>
              <a:gd name="connsiteY1477" fmla="*/ 3401504 h 6380470"/>
              <a:gd name="connsiteX1478" fmla="*/ 2763588 w 11625583"/>
              <a:gd name="connsiteY1478" fmla="*/ 3466170 h 6380470"/>
              <a:gd name="connsiteX1479" fmla="*/ 2698926 w 11625583"/>
              <a:gd name="connsiteY1479" fmla="*/ 3530836 h 6380470"/>
              <a:gd name="connsiteX1480" fmla="*/ 2634264 w 11625583"/>
              <a:gd name="connsiteY1480" fmla="*/ 3466170 h 6380470"/>
              <a:gd name="connsiteX1481" fmla="*/ 2698926 w 11625583"/>
              <a:gd name="connsiteY1481" fmla="*/ 3401504 h 6380470"/>
              <a:gd name="connsiteX1482" fmla="*/ 2546275 w 11625583"/>
              <a:gd name="connsiteY1482" fmla="*/ 3401504 h 6380470"/>
              <a:gd name="connsiteX1483" fmla="*/ 2610938 w 11625583"/>
              <a:gd name="connsiteY1483" fmla="*/ 3466170 h 6380470"/>
              <a:gd name="connsiteX1484" fmla="*/ 2546275 w 11625583"/>
              <a:gd name="connsiteY1484" fmla="*/ 3530836 h 6380470"/>
              <a:gd name="connsiteX1485" fmla="*/ 2481613 w 11625583"/>
              <a:gd name="connsiteY1485" fmla="*/ 3466170 h 6380470"/>
              <a:gd name="connsiteX1486" fmla="*/ 2546275 w 11625583"/>
              <a:gd name="connsiteY1486" fmla="*/ 3401504 h 6380470"/>
              <a:gd name="connsiteX1487" fmla="*/ 9541123 w 11625583"/>
              <a:gd name="connsiteY1487" fmla="*/ 3264501 h 6380470"/>
              <a:gd name="connsiteX1488" fmla="*/ 9605789 w 11625583"/>
              <a:gd name="connsiteY1488" fmla="*/ 3329167 h 6380470"/>
              <a:gd name="connsiteX1489" fmla="*/ 9541123 w 11625583"/>
              <a:gd name="connsiteY1489" fmla="*/ 3393833 h 6380470"/>
              <a:gd name="connsiteX1490" fmla="*/ 9476457 w 11625583"/>
              <a:gd name="connsiteY1490" fmla="*/ 3329167 h 6380470"/>
              <a:gd name="connsiteX1491" fmla="*/ 9541123 w 11625583"/>
              <a:gd name="connsiteY1491" fmla="*/ 3264501 h 6380470"/>
              <a:gd name="connsiteX1492" fmla="*/ 9384550 w 11625583"/>
              <a:gd name="connsiteY1492" fmla="*/ 3264501 h 6380470"/>
              <a:gd name="connsiteX1493" fmla="*/ 9449216 w 11625583"/>
              <a:gd name="connsiteY1493" fmla="*/ 3329167 h 6380470"/>
              <a:gd name="connsiteX1494" fmla="*/ 9384550 w 11625583"/>
              <a:gd name="connsiteY1494" fmla="*/ 3393833 h 6380470"/>
              <a:gd name="connsiteX1495" fmla="*/ 9319884 w 11625583"/>
              <a:gd name="connsiteY1495" fmla="*/ 3329167 h 6380470"/>
              <a:gd name="connsiteX1496" fmla="*/ 9384550 w 11625583"/>
              <a:gd name="connsiteY1496" fmla="*/ 3264501 h 6380470"/>
              <a:gd name="connsiteX1497" fmla="*/ 9075317 w 11625583"/>
              <a:gd name="connsiteY1497" fmla="*/ 3264501 h 6380470"/>
              <a:gd name="connsiteX1498" fmla="*/ 9139983 w 11625583"/>
              <a:gd name="connsiteY1498" fmla="*/ 3329167 h 6380470"/>
              <a:gd name="connsiteX1499" fmla="*/ 9075317 w 11625583"/>
              <a:gd name="connsiteY1499" fmla="*/ 3393833 h 6380470"/>
              <a:gd name="connsiteX1500" fmla="*/ 9010651 w 11625583"/>
              <a:gd name="connsiteY1500" fmla="*/ 3329167 h 6380470"/>
              <a:gd name="connsiteX1501" fmla="*/ 9075317 w 11625583"/>
              <a:gd name="connsiteY1501" fmla="*/ 3264501 h 6380470"/>
              <a:gd name="connsiteX1502" fmla="*/ 8914829 w 11625583"/>
              <a:gd name="connsiteY1502" fmla="*/ 3264501 h 6380470"/>
              <a:gd name="connsiteX1503" fmla="*/ 8979495 w 11625583"/>
              <a:gd name="connsiteY1503" fmla="*/ 3329167 h 6380470"/>
              <a:gd name="connsiteX1504" fmla="*/ 8914829 w 11625583"/>
              <a:gd name="connsiteY1504" fmla="*/ 3393833 h 6380470"/>
              <a:gd name="connsiteX1505" fmla="*/ 8850163 w 11625583"/>
              <a:gd name="connsiteY1505" fmla="*/ 3329167 h 6380470"/>
              <a:gd name="connsiteX1506" fmla="*/ 8914829 w 11625583"/>
              <a:gd name="connsiteY1506" fmla="*/ 3264501 h 6380470"/>
              <a:gd name="connsiteX1507" fmla="*/ 8766086 w 11625583"/>
              <a:gd name="connsiteY1507" fmla="*/ 3264501 h 6380470"/>
              <a:gd name="connsiteX1508" fmla="*/ 8830752 w 11625583"/>
              <a:gd name="connsiteY1508" fmla="*/ 3329167 h 6380470"/>
              <a:gd name="connsiteX1509" fmla="*/ 8766086 w 11625583"/>
              <a:gd name="connsiteY1509" fmla="*/ 3393833 h 6380470"/>
              <a:gd name="connsiteX1510" fmla="*/ 8701420 w 11625583"/>
              <a:gd name="connsiteY1510" fmla="*/ 3329167 h 6380470"/>
              <a:gd name="connsiteX1511" fmla="*/ 8766086 w 11625583"/>
              <a:gd name="connsiteY1511" fmla="*/ 3264501 h 6380470"/>
              <a:gd name="connsiteX1512" fmla="*/ 8601683 w 11625583"/>
              <a:gd name="connsiteY1512" fmla="*/ 3264501 h 6380470"/>
              <a:gd name="connsiteX1513" fmla="*/ 8666349 w 11625583"/>
              <a:gd name="connsiteY1513" fmla="*/ 3329167 h 6380470"/>
              <a:gd name="connsiteX1514" fmla="*/ 8601683 w 11625583"/>
              <a:gd name="connsiteY1514" fmla="*/ 3393833 h 6380470"/>
              <a:gd name="connsiteX1515" fmla="*/ 8537017 w 11625583"/>
              <a:gd name="connsiteY1515" fmla="*/ 3329167 h 6380470"/>
              <a:gd name="connsiteX1516" fmla="*/ 8601683 w 11625583"/>
              <a:gd name="connsiteY1516" fmla="*/ 3264501 h 6380470"/>
              <a:gd name="connsiteX1517" fmla="*/ 8139792 w 11625583"/>
              <a:gd name="connsiteY1517" fmla="*/ 3264501 h 6380470"/>
              <a:gd name="connsiteX1518" fmla="*/ 8204458 w 11625583"/>
              <a:gd name="connsiteY1518" fmla="*/ 3329167 h 6380470"/>
              <a:gd name="connsiteX1519" fmla="*/ 8139792 w 11625583"/>
              <a:gd name="connsiteY1519" fmla="*/ 3393833 h 6380470"/>
              <a:gd name="connsiteX1520" fmla="*/ 8075126 w 11625583"/>
              <a:gd name="connsiteY1520" fmla="*/ 3329167 h 6380470"/>
              <a:gd name="connsiteX1521" fmla="*/ 8139792 w 11625583"/>
              <a:gd name="connsiteY1521" fmla="*/ 3264501 h 6380470"/>
              <a:gd name="connsiteX1522" fmla="*/ 7987133 w 11625583"/>
              <a:gd name="connsiteY1522" fmla="*/ 3264501 h 6380470"/>
              <a:gd name="connsiteX1523" fmla="*/ 8051799 w 11625583"/>
              <a:gd name="connsiteY1523" fmla="*/ 3329167 h 6380470"/>
              <a:gd name="connsiteX1524" fmla="*/ 7987133 w 11625583"/>
              <a:gd name="connsiteY1524" fmla="*/ 3393833 h 6380470"/>
              <a:gd name="connsiteX1525" fmla="*/ 7922467 w 11625583"/>
              <a:gd name="connsiteY1525" fmla="*/ 3329167 h 6380470"/>
              <a:gd name="connsiteX1526" fmla="*/ 7987133 w 11625583"/>
              <a:gd name="connsiteY1526" fmla="*/ 3264501 h 6380470"/>
              <a:gd name="connsiteX1527" fmla="*/ 7212096 w 11625583"/>
              <a:gd name="connsiteY1527" fmla="*/ 3264501 h 6380470"/>
              <a:gd name="connsiteX1528" fmla="*/ 7276762 w 11625583"/>
              <a:gd name="connsiteY1528" fmla="*/ 3329167 h 6380470"/>
              <a:gd name="connsiteX1529" fmla="*/ 7212096 w 11625583"/>
              <a:gd name="connsiteY1529" fmla="*/ 3393833 h 6380470"/>
              <a:gd name="connsiteX1530" fmla="*/ 7147430 w 11625583"/>
              <a:gd name="connsiteY1530" fmla="*/ 3329167 h 6380470"/>
              <a:gd name="connsiteX1531" fmla="*/ 7212096 w 11625583"/>
              <a:gd name="connsiteY1531" fmla="*/ 3264501 h 6380470"/>
              <a:gd name="connsiteX1532" fmla="*/ 7055523 w 11625583"/>
              <a:gd name="connsiteY1532" fmla="*/ 3264501 h 6380470"/>
              <a:gd name="connsiteX1533" fmla="*/ 7120189 w 11625583"/>
              <a:gd name="connsiteY1533" fmla="*/ 3329167 h 6380470"/>
              <a:gd name="connsiteX1534" fmla="*/ 7055523 w 11625583"/>
              <a:gd name="connsiteY1534" fmla="*/ 3393833 h 6380470"/>
              <a:gd name="connsiteX1535" fmla="*/ 6990857 w 11625583"/>
              <a:gd name="connsiteY1535" fmla="*/ 3329167 h 6380470"/>
              <a:gd name="connsiteX1536" fmla="*/ 7055523 w 11625583"/>
              <a:gd name="connsiteY1536" fmla="*/ 3264501 h 6380470"/>
              <a:gd name="connsiteX1537" fmla="*/ 6895037 w 11625583"/>
              <a:gd name="connsiteY1537" fmla="*/ 3264501 h 6380470"/>
              <a:gd name="connsiteX1538" fmla="*/ 6959703 w 11625583"/>
              <a:gd name="connsiteY1538" fmla="*/ 3329167 h 6380470"/>
              <a:gd name="connsiteX1539" fmla="*/ 6895037 w 11625583"/>
              <a:gd name="connsiteY1539" fmla="*/ 3393833 h 6380470"/>
              <a:gd name="connsiteX1540" fmla="*/ 6830371 w 11625583"/>
              <a:gd name="connsiteY1540" fmla="*/ 3329167 h 6380470"/>
              <a:gd name="connsiteX1541" fmla="*/ 6895037 w 11625583"/>
              <a:gd name="connsiteY1541" fmla="*/ 3264501 h 6380470"/>
              <a:gd name="connsiteX1542" fmla="*/ 6585802 w 11625583"/>
              <a:gd name="connsiteY1542" fmla="*/ 3264501 h 6380470"/>
              <a:gd name="connsiteX1543" fmla="*/ 6650468 w 11625583"/>
              <a:gd name="connsiteY1543" fmla="*/ 3329167 h 6380470"/>
              <a:gd name="connsiteX1544" fmla="*/ 6585802 w 11625583"/>
              <a:gd name="connsiteY1544" fmla="*/ 3393833 h 6380470"/>
              <a:gd name="connsiteX1545" fmla="*/ 6521136 w 11625583"/>
              <a:gd name="connsiteY1545" fmla="*/ 3329167 h 6380470"/>
              <a:gd name="connsiteX1546" fmla="*/ 6585802 w 11625583"/>
              <a:gd name="connsiteY1546" fmla="*/ 3264501 h 6380470"/>
              <a:gd name="connsiteX1547" fmla="*/ 6429229 w 11625583"/>
              <a:gd name="connsiteY1547" fmla="*/ 3264501 h 6380470"/>
              <a:gd name="connsiteX1548" fmla="*/ 6493895 w 11625583"/>
              <a:gd name="connsiteY1548" fmla="*/ 3329167 h 6380470"/>
              <a:gd name="connsiteX1549" fmla="*/ 6429229 w 11625583"/>
              <a:gd name="connsiteY1549" fmla="*/ 3393833 h 6380470"/>
              <a:gd name="connsiteX1550" fmla="*/ 6364563 w 11625583"/>
              <a:gd name="connsiteY1550" fmla="*/ 3329167 h 6380470"/>
              <a:gd name="connsiteX1551" fmla="*/ 6429229 w 11625583"/>
              <a:gd name="connsiteY1551" fmla="*/ 3264501 h 6380470"/>
              <a:gd name="connsiteX1552" fmla="*/ 6276571 w 11625583"/>
              <a:gd name="connsiteY1552" fmla="*/ 3264501 h 6380470"/>
              <a:gd name="connsiteX1553" fmla="*/ 6341237 w 11625583"/>
              <a:gd name="connsiteY1553" fmla="*/ 3329167 h 6380470"/>
              <a:gd name="connsiteX1554" fmla="*/ 6276571 w 11625583"/>
              <a:gd name="connsiteY1554" fmla="*/ 3393833 h 6380470"/>
              <a:gd name="connsiteX1555" fmla="*/ 6211905 w 11625583"/>
              <a:gd name="connsiteY1555" fmla="*/ 3329167 h 6380470"/>
              <a:gd name="connsiteX1556" fmla="*/ 6276571 w 11625583"/>
              <a:gd name="connsiteY1556" fmla="*/ 3264501 h 6380470"/>
              <a:gd name="connsiteX1557" fmla="*/ 6119999 w 11625583"/>
              <a:gd name="connsiteY1557" fmla="*/ 3264501 h 6380470"/>
              <a:gd name="connsiteX1558" fmla="*/ 6184665 w 11625583"/>
              <a:gd name="connsiteY1558" fmla="*/ 3329167 h 6380470"/>
              <a:gd name="connsiteX1559" fmla="*/ 6119999 w 11625583"/>
              <a:gd name="connsiteY1559" fmla="*/ 3393833 h 6380470"/>
              <a:gd name="connsiteX1560" fmla="*/ 6055333 w 11625583"/>
              <a:gd name="connsiteY1560" fmla="*/ 3329167 h 6380470"/>
              <a:gd name="connsiteX1561" fmla="*/ 6119999 w 11625583"/>
              <a:gd name="connsiteY1561" fmla="*/ 3264501 h 6380470"/>
              <a:gd name="connsiteX1562" fmla="*/ 5967338 w 11625583"/>
              <a:gd name="connsiteY1562" fmla="*/ 3264501 h 6380470"/>
              <a:gd name="connsiteX1563" fmla="*/ 6032004 w 11625583"/>
              <a:gd name="connsiteY1563" fmla="*/ 3329167 h 6380470"/>
              <a:gd name="connsiteX1564" fmla="*/ 5967338 w 11625583"/>
              <a:gd name="connsiteY1564" fmla="*/ 3393833 h 6380470"/>
              <a:gd name="connsiteX1565" fmla="*/ 5902672 w 11625583"/>
              <a:gd name="connsiteY1565" fmla="*/ 3329167 h 6380470"/>
              <a:gd name="connsiteX1566" fmla="*/ 5967338 w 11625583"/>
              <a:gd name="connsiteY1566" fmla="*/ 3264501 h 6380470"/>
              <a:gd name="connsiteX1567" fmla="*/ 5810780 w 11625583"/>
              <a:gd name="connsiteY1567" fmla="*/ 3264501 h 6380470"/>
              <a:gd name="connsiteX1568" fmla="*/ 5875431 w 11625583"/>
              <a:gd name="connsiteY1568" fmla="*/ 3329167 h 6380470"/>
              <a:gd name="connsiteX1569" fmla="*/ 5810780 w 11625583"/>
              <a:gd name="connsiteY1569" fmla="*/ 3393833 h 6380470"/>
              <a:gd name="connsiteX1570" fmla="*/ 5746106 w 11625583"/>
              <a:gd name="connsiteY1570" fmla="*/ 3329167 h 6380470"/>
              <a:gd name="connsiteX1571" fmla="*/ 5810780 w 11625583"/>
              <a:gd name="connsiteY1571" fmla="*/ 3264501 h 6380470"/>
              <a:gd name="connsiteX1572" fmla="*/ 5658107 w 11625583"/>
              <a:gd name="connsiteY1572" fmla="*/ 3264501 h 6380470"/>
              <a:gd name="connsiteX1573" fmla="*/ 5722777 w 11625583"/>
              <a:gd name="connsiteY1573" fmla="*/ 3329167 h 6380470"/>
              <a:gd name="connsiteX1574" fmla="*/ 5658107 w 11625583"/>
              <a:gd name="connsiteY1574" fmla="*/ 3393833 h 6380470"/>
              <a:gd name="connsiteX1575" fmla="*/ 5593441 w 11625583"/>
              <a:gd name="connsiteY1575" fmla="*/ 3329167 h 6380470"/>
              <a:gd name="connsiteX1576" fmla="*/ 5658107 w 11625583"/>
              <a:gd name="connsiteY1576" fmla="*/ 3264501 h 6380470"/>
              <a:gd name="connsiteX1577" fmla="*/ 5501536 w 11625583"/>
              <a:gd name="connsiteY1577" fmla="*/ 3264501 h 6380470"/>
              <a:gd name="connsiteX1578" fmla="*/ 5566202 w 11625583"/>
              <a:gd name="connsiteY1578" fmla="*/ 3329167 h 6380470"/>
              <a:gd name="connsiteX1579" fmla="*/ 5501536 w 11625583"/>
              <a:gd name="connsiteY1579" fmla="*/ 3393833 h 6380470"/>
              <a:gd name="connsiteX1580" fmla="*/ 5436876 w 11625583"/>
              <a:gd name="connsiteY1580" fmla="*/ 3329167 h 6380470"/>
              <a:gd name="connsiteX1581" fmla="*/ 5501536 w 11625583"/>
              <a:gd name="connsiteY1581" fmla="*/ 3264501 h 6380470"/>
              <a:gd name="connsiteX1582" fmla="*/ 5348883 w 11625583"/>
              <a:gd name="connsiteY1582" fmla="*/ 3264501 h 6380470"/>
              <a:gd name="connsiteX1583" fmla="*/ 5413547 w 11625583"/>
              <a:gd name="connsiteY1583" fmla="*/ 3329167 h 6380470"/>
              <a:gd name="connsiteX1584" fmla="*/ 5348883 w 11625583"/>
              <a:gd name="connsiteY1584" fmla="*/ 3393833 h 6380470"/>
              <a:gd name="connsiteX1585" fmla="*/ 5284218 w 11625583"/>
              <a:gd name="connsiteY1585" fmla="*/ 3329167 h 6380470"/>
              <a:gd name="connsiteX1586" fmla="*/ 5348883 w 11625583"/>
              <a:gd name="connsiteY1586" fmla="*/ 3264501 h 6380470"/>
              <a:gd name="connsiteX1587" fmla="*/ 5192310 w 11625583"/>
              <a:gd name="connsiteY1587" fmla="*/ 3264501 h 6380470"/>
              <a:gd name="connsiteX1588" fmla="*/ 5256973 w 11625583"/>
              <a:gd name="connsiteY1588" fmla="*/ 3329167 h 6380470"/>
              <a:gd name="connsiteX1589" fmla="*/ 5192310 w 11625583"/>
              <a:gd name="connsiteY1589" fmla="*/ 3393833 h 6380470"/>
              <a:gd name="connsiteX1590" fmla="*/ 5127643 w 11625583"/>
              <a:gd name="connsiteY1590" fmla="*/ 3329167 h 6380470"/>
              <a:gd name="connsiteX1591" fmla="*/ 5192310 w 11625583"/>
              <a:gd name="connsiteY1591" fmla="*/ 3264501 h 6380470"/>
              <a:gd name="connsiteX1592" fmla="*/ 5031828 w 11625583"/>
              <a:gd name="connsiteY1592" fmla="*/ 3264501 h 6380470"/>
              <a:gd name="connsiteX1593" fmla="*/ 5096490 w 11625583"/>
              <a:gd name="connsiteY1593" fmla="*/ 3329167 h 6380470"/>
              <a:gd name="connsiteX1594" fmla="*/ 5031828 w 11625583"/>
              <a:gd name="connsiteY1594" fmla="*/ 3393833 h 6380470"/>
              <a:gd name="connsiteX1595" fmla="*/ 4967156 w 11625583"/>
              <a:gd name="connsiteY1595" fmla="*/ 3329167 h 6380470"/>
              <a:gd name="connsiteX1596" fmla="*/ 5031828 w 11625583"/>
              <a:gd name="connsiteY1596" fmla="*/ 3264501 h 6380470"/>
              <a:gd name="connsiteX1597" fmla="*/ 3172560 w 11625583"/>
              <a:gd name="connsiteY1597" fmla="*/ 3264501 h 6380470"/>
              <a:gd name="connsiteX1598" fmla="*/ 3237227 w 11625583"/>
              <a:gd name="connsiteY1598" fmla="*/ 3329167 h 6380470"/>
              <a:gd name="connsiteX1599" fmla="*/ 3172560 w 11625583"/>
              <a:gd name="connsiteY1599" fmla="*/ 3393833 h 6380470"/>
              <a:gd name="connsiteX1600" fmla="*/ 3107886 w 11625583"/>
              <a:gd name="connsiteY1600" fmla="*/ 3329167 h 6380470"/>
              <a:gd name="connsiteX1601" fmla="*/ 3172560 w 11625583"/>
              <a:gd name="connsiteY1601" fmla="*/ 3264501 h 6380470"/>
              <a:gd name="connsiteX1602" fmla="*/ 2546279 w 11625583"/>
              <a:gd name="connsiteY1602" fmla="*/ 3264501 h 6380470"/>
              <a:gd name="connsiteX1603" fmla="*/ 2610943 w 11625583"/>
              <a:gd name="connsiteY1603" fmla="*/ 3329167 h 6380470"/>
              <a:gd name="connsiteX1604" fmla="*/ 2546279 w 11625583"/>
              <a:gd name="connsiteY1604" fmla="*/ 3393833 h 6380470"/>
              <a:gd name="connsiteX1605" fmla="*/ 2481617 w 11625583"/>
              <a:gd name="connsiteY1605" fmla="*/ 3329167 h 6380470"/>
              <a:gd name="connsiteX1606" fmla="*/ 2546279 w 11625583"/>
              <a:gd name="connsiteY1606" fmla="*/ 3264501 h 6380470"/>
              <a:gd name="connsiteX1607" fmla="*/ 2389697 w 11625583"/>
              <a:gd name="connsiteY1607" fmla="*/ 3264501 h 6380470"/>
              <a:gd name="connsiteX1608" fmla="*/ 2454380 w 11625583"/>
              <a:gd name="connsiteY1608" fmla="*/ 3329167 h 6380470"/>
              <a:gd name="connsiteX1609" fmla="*/ 2389697 w 11625583"/>
              <a:gd name="connsiteY1609" fmla="*/ 3393833 h 6380470"/>
              <a:gd name="connsiteX1610" fmla="*/ 2325045 w 11625583"/>
              <a:gd name="connsiteY1610" fmla="*/ 3329167 h 6380470"/>
              <a:gd name="connsiteX1611" fmla="*/ 2389697 w 11625583"/>
              <a:gd name="connsiteY1611" fmla="*/ 3264501 h 6380470"/>
              <a:gd name="connsiteX1612" fmla="*/ 2237042 w 11625583"/>
              <a:gd name="connsiteY1612" fmla="*/ 3264501 h 6380470"/>
              <a:gd name="connsiteX1613" fmla="*/ 2301715 w 11625583"/>
              <a:gd name="connsiteY1613" fmla="*/ 3329167 h 6380470"/>
              <a:gd name="connsiteX1614" fmla="*/ 2237042 w 11625583"/>
              <a:gd name="connsiteY1614" fmla="*/ 3393833 h 6380470"/>
              <a:gd name="connsiteX1615" fmla="*/ 2172369 w 11625583"/>
              <a:gd name="connsiteY1615" fmla="*/ 3329167 h 6380470"/>
              <a:gd name="connsiteX1616" fmla="*/ 2237042 w 11625583"/>
              <a:gd name="connsiteY1616" fmla="*/ 3264501 h 6380470"/>
              <a:gd name="connsiteX1617" fmla="*/ 2084374 w 11625583"/>
              <a:gd name="connsiteY1617" fmla="*/ 3264501 h 6380470"/>
              <a:gd name="connsiteX1618" fmla="*/ 2149037 w 11625583"/>
              <a:gd name="connsiteY1618" fmla="*/ 3329167 h 6380470"/>
              <a:gd name="connsiteX1619" fmla="*/ 2084374 w 11625583"/>
              <a:gd name="connsiteY1619" fmla="*/ 3393833 h 6380470"/>
              <a:gd name="connsiteX1620" fmla="*/ 2019717 w 11625583"/>
              <a:gd name="connsiteY1620" fmla="*/ 3329167 h 6380470"/>
              <a:gd name="connsiteX1621" fmla="*/ 2084374 w 11625583"/>
              <a:gd name="connsiteY1621" fmla="*/ 3264501 h 6380470"/>
              <a:gd name="connsiteX1622" fmla="*/ 8914829 w 11625583"/>
              <a:gd name="connsiteY1622" fmla="*/ 3131417 h 6380470"/>
              <a:gd name="connsiteX1623" fmla="*/ 8979495 w 11625583"/>
              <a:gd name="connsiteY1623" fmla="*/ 3196083 h 6380470"/>
              <a:gd name="connsiteX1624" fmla="*/ 8914829 w 11625583"/>
              <a:gd name="connsiteY1624" fmla="*/ 3260749 h 6380470"/>
              <a:gd name="connsiteX1625" fmla="*/ 8850163 w 11625583"/>
              <a:gd name="connsiteY1625" fmla="*/ 3196083 h 6380470"/>
              <a:gd name="connsiteX1626" fmla="*/ 8914829 w 11625583"/>
              <a:gd name="connsiteY1626" fmla="*/ 3131417 h 6380470"/>
              <a:gd name="connsiteX1627" fmla="*/ 8766086 w 11625583"/>
              <a:gd name="connsiteY1627" fmla="*/ 3131417 h 6380470"/>
              <a:gd name="connsiteX1628" fmla="*/ 8830752 w 11625583"/>
              <a:gd name="connsiteY1628" fmla="*/ 3196083 h 6380470"/>
              <a:gd name="connsiteX1629" fmla="*/ 8766086 w 11625583"/>
              <a:gd name="connsiteY1629" fmla="*/ 3260749 h 6380470"/>
              <a:gd name="connsiteX1630" fmla="*/ 8701420 w 11625583"/>
              <a:gd name="connsiteY1630" fmla="*/ 3196083 h 6380470"/>
              <a:gd name="connsiteX1631" fmla="*/ 8766086 w 11625583"/>
              <a:gd name="connsiteY1631" fmla="*/ 3131417 h 6380470"/>
              <a:gd name="connsiteX1632" fmla="*/ 8601683 w 11625583"/>
              <a:gd name="connsiteY1632" fmla="*/ 3131417 h 6380470"/>
              <a:gd name="connsiteX1633" fmla="*/ 8666349 w 11625583"/>
              <a:gd name="connsiteY1633" fmla="*/ 3196083 h 6380470"/>
              <a:gd name="connsiteX1634" fmla="*/ 8601683 w 11625583"/>
              <a:gd name="connsiteY1634" fmla="*/ 3260749 h 6380470"/>
              <a:gd name="connsiteX1635" fmla="*/ 8537017 w 11625583"/>
              <a:gd name="connsiteY1635" fmla="*/ 3196083 h 6380470"/>
              <a:gd name="connsiteX1636" fmla="*/ 8601683 w 11625583"/>
              <a:gd name="connsiteY1636" fmla="*/ 3131417 h 6380470"/>
              <a:gd name="connsiteX1637" fmla="*/ 8296367 w 11625583"/>
              <a:gd name="connsiteY1637" fmla="*/ 3131417 h 6380470"/>
              <a:gd name="connsiteX1638" fmla="*/ 8361033 w 11625583"/>
              <a:gd name="connsiteY1638" fmla="*/ 3196083 h 6380470"/>
              <a:gd name="connsiteX1639" fmla="*/ 8296367 w 11625583"/>
              <a:gd name="connsiteY1639" fmla="*/ 3260749 h 6380470"/>
              <a:gd name="connsiteX1640" fmla="*/ 8231701 w 11625583"/>
              <a:gd name="connsiteY1640" fmla="*/ 3196083 h 6380470"/>
              <a:gd name="connsiteX1641" fmla="*/ 8296367 w 11625583"/>
              <a:gd name="connsiteY1641" fmla="*/ 3131417 h 6380470"/>
              <a:gd name="connsiteX1642" fmla="*/ 8139792 w 11625583"/>
              <a:gd name="connsiteY1642" fmla="*/ 3131417 h 6380470"/>
              <a:gd name="connsiteX1643" fmla="*/ 8204458 w 11625583"/>
              <a:gd name="connsiteY1643" fmla="*/ 3196083 h 6380470"/>
              <a:gd name="connsiteX1644" fmla="*/ 8139792 w 11625583"/>
              <a:gd name="connsiteY1644" fmla="*/ 3260749 h 6380470"/>
              <a:gd name="connsiteX1645" fmla="*/ 8075126 w 11625583"/>
              <a:gd name="connsiteY1645" fmla="*/ 3196083 h 6380470"/>
              <a:gd name="connsiteX1646" fmla="*/ 8139792 w 11625583"/>
              <a:gd name="connsiteY1646" fmla="*/ 3131417 h 6380470"/>
              <a:gd name="connsiteX1647" fmla="*/ 7987133 w 11625583"/>
              <a:gd name="connsiteY1647" fmla="*/ 3131417 h 6380470"/>
              <a:gd name="connsiteX1648" fmla="*/ 8051799 w 11625583"/>
              <a:gd name="connsiteY1648" fmla="*/ 3196083 h 6380470"/>
              <a:gd name="connsiteX1649" fmla="*/ 7987133 w 11625583"/>
              <a:gd name="connsiteY1649" fmla="*/ 3260749 h 6380470"/>
              <a:gd name="connsiteX1650" fmla="*/ 7922467 w 11625583"/>
              <a:gd name="connsiteY1650" fmla="*/ 3196083 h 6380470"/>
              <a:gd name="connsiteX1651" fmla="*/ 7987133 w 11625583"/>
              <a:gd name="connsiteY1651" fmla="*/ 3131417 h 6380470"/>
              <a:gd name="connsiteX1652" fmla="*/ 7830562 w 11625583"/>
              <a:gd name="connsiteY1652" fmla="*/ 3131417 h 6380470"/>
              <a:gd name="connsiteX1653" fmla="*/ 7895228 w 11625583"/>
              <a:gd name="connsiteY1653" fmla="*/ 3196083 h 6380470"/>
              <a:gd name="connsiteX1654" fmla="*/ 7830562 w 11625583"/>
              <a:gd name="connsiteY1654" fmla="*/ 3260749 h 6380470"/>
              <a:gd name="connsiteX1655" fmla="*/ 7765896 w 11625583"/>
              <a:gd name="connsiteY1655" fmla="*/ 3196083 h 6380470"/>
              <a:gd name="connsiteX1656" fmla="*/ 7830562 w 11625583"/>
              <a:gd name="connsiteY1656" fmla="*/ 3131417 h 6380470"/>
              <a:gd name="connsiteX1657" fmla="*/ 7368669 w 11625583"/>
              <a:gd name="connsiteY1657" fmla="*/ 3131417 h 6380470"/>
              <a:gd name="connsiteX1658" fmla="*/ 7433335 w 11625583"/>
              <a:gd name="connsiteY1658" fmla="*/ 3196083 h 6380470"/>
              <a:gd name="connsiteX1659" fmla="*/ 7368669 w 11625583"/>
              <a:gd name="connsiteY1659" fmla="*/ 3260749 h 6380470"/>
              <a:gd name="connsiteX1660" fmla="*/ 7304003 w 11625583"/>
              <a:gd name="connsiteY1660" fmla="*/ 3196083 h 6380470"/>
              <a:gd name="connsiteX1661" fmla="*/ 7368669 w 11625583"/>
              <a:gd name="connsiteY1661" fmla="*/ 3131417 h 6380470"/>
              <a:gd name="connsiteX1662" fmla="*/ 7212096 w 11625583"/>
              <a:gd name="connsiteY1662" fmla="*/ 3131417 h 6380470"/>
              <a:gd name="connsiteX1663" fmla="*/ 7276762 w 11625583"/>
              <a:gd name="connsiteY1663" fmla="*/ 3196083 h 6380470"/>
              <a:gd name="connsiteX1664" fmla="*/ 7212096 w 11625583"/>
              <a:gd name="connsiteY1664" fmla="*/ 3260749 h 6380470"/>
              <a:gd name="connsiteX1665" fmla="*/ 7147430 w 11625583"/>
              <a:gd name="connsiteY1665" fmla="*/ 3196083 h 6380470"/>
              <a:gd name="connsiteX1666" fmla="*/ 7212096 w 11625583"/>
              <a:gd name="connsiteY1666" fmla="*/ 3131417 h 6380470"/>
              <a:gd name="connsiteX1667" fmla="*/ 7055523 w 11625583"/>
              <a:gd name="connsiteY1667" fmla="*/ 3131417 h 6380470"/>
              <a:gd name="connsiteX1668" fmla="*/ 7120189 w 11625583"/>
              <a:gd name="connsiteY1668" fmla="*/ 3196083 h 6380470"/>
              <a:gd name="connsiteX1669" fmla="*/ 7055523 w 11625583"/>
              <a:gd name="connsiteY1669" fmla="*/ 3260749 h 6380470"/>
              <a:gd name="connsiteX1670" fmla="*/ 6990857 w 11625583"/>
              <a:gd name="connsiteY1670" fmla="*/ 3196083 h 6380470"/>
              <a:gd name="connsiteX1671" fmla="*/ 7055523 w 11625583"/>
              <a:gd name="connsiteY1671" fmla="*/ 3131417 h 6380470"/>
              <a:gd name="connsiteX1672" fmla="*/ 6895037 w 11625583"/>
              <a:gd name="connsiteY1672" fmla="*/ 3131417 h 6380470"/>
              <a:gd name="connsiteX1673" fmla="*/ 6959703 w 11625583"/>
              <a:gd name="connsiteY1673" fmla="*/ 3196083 h 6380470"/>
              <a:gd name="connsiteX1674" fmla="*/ 6895037 w 11625583"/>
              <a:gd name="connsiteY1674" fmla="*/ 3260749 h 6380470"/>
              <a:gd name="connsiteX1675" fmla="*/ 6830371 w 11625583"/>
              <a:gd name="connsiteY1675" fmla="*/ 3196083 h 6380470"/>
              <a:gd name="connsiteX1676" fmla="*/ 6895037 w 11625583"/>
              <a:gd name="connsiteY1676" fmla="*/ 3131417 h 6380470"/>
              <a:gd name="connsiteX1677" fmla="*/ 6585802 w 11625583"/>
              <a:gd name="connsiteY1677" fmla="*/ 3131417 h 6380470"/>
              <a:gd name="connsiteX1678" fmla="*/ 6650468 w 11625583"/>
              <a:gd name="connsiteY1678" fmla="*/ 3196083 h 6380470"/>
              <a:gd name="connsiteX1679" fmla="*/ 6585802 w 11625583"/>
              <a:gd name="connsiteY1679" fmla="*/ 3260749 h 6380470"/>
              <a:gd name="connsiteX1680" fmla="*/ 6521136 w 11625583"/>
              <a:gd name="connsiteY1680" fmla="*/ 3196083 h 6380470"/>
              <a:gd name="connsiteX1681" fmla="*/ 6585802 w 11625583"/>
              <a:gd name="connsiteY1681" fmla="*/ 3131417 h 6380470"/>
              <a:gd name="connsiteX1682" fmla="*/ 6429229 w 11625583"/>
              <a:gd name="connsiteY1682" fmla="*/ 3131417 h 6380470"/>
              <a:gd name="connsiteX1683" fmla="*/ 6493895 w 11625583"/>
              <a:gd name="connsiteY1683" fmla="*/ 3196083 h 6380470"/>
              <a:gd name="connsiteX1684" fmla="*/ 6429229 w 11625583"/>
              <a:gd name="connsiteY1684" fmla="*/ 3260749 h 6380470"/>
              <a:gd name="connsiteX1685" fmla="*/ 6364563 w 11625583"/>
              <a:gd name="connsiteY1685" fmla="*/ 3196083 h 6380470"/>
              <a:gd name="connsiteX1686" fmla="*/ 6429229 w 11625583"/>
              <a:gd name="connsiteY1686" fmla="*/ 3131417 h 6380470"/>
              <a:gd name="connsiteX1687" fmla="*/ 6276571 w 11625583"/>
              <a:gd name="connsiteY1687" fmla="*/ 3131417 h 6380470"/>
              <a:gd name="connsiteX1688" fmla="*/ 6341237 w 11625583"/>
              <a:gd name="connsiteY1688" fmla="*/ 3196083 h 6380470"/>
              <a:gd name="connsiteX1689" fmla="*/ 6276571 w 11625583"/>
              <a:gd name="connsiteY1689" fmla="*/ 3260749 h 6380470"/>
              <a:gd name="connsiteX1690" fmla="*/ 6211905 w 11625583"/>
              <a:gd name="connsiteY1690" fmla="*/ 3196083 h 6380470"/>
              <a:gd name="connsiteX1691" fmla="*/ 6276571 w 11625583"/>
              <a:gd name="connsiteY1691" fmla="*/ 3131417 h 6380470"/>
              <a:gd name="connsiteX1692" fmla="*/ 6119999 w 11625583"/>
              <a:gd name="connsiteY1692" fmla="*/ 3131417 h 6380470"/>
              <a:gd name="connsiteX1693" fmla="*/ 6184665 w 11625583"/>
              <a:gd name="connsiteY1693" fmla="*/ 3196083 h 6380470"/>
              <a:gd name="connsiteX1694" fmla="*/ 6119999 w 11625583"/>
              <a:gd name="connsiteY1694" fmla="*/ 3260749 h 6380470"/>
              <a:gd name="connsiteX1695" fmla="*/ 6055333 w 11625583"/>
              <a:gd name="connsiteY1695" fmla="*/ 3196083 h 6380470"/>
              <a:gd name="connsiteX1696" fmla="*/ 6119999 w 11625583"/>
              <a:gd name="connsiteY1696" fmla="*/ 3131417 h 6380470"/>
              <a:gd name="connsiteX1697" fmla="*/ 5967338 w 11625583"/>
              <a:gd name="connsiteY1697" fmla="*/ 3131417 h 6380470"/>
              <a:gd name="connsiteX1698" fmla="*/ 6032004 w 11625583"/>
              <a:gd name="connsiteY1698" fmla="*/ 3196083 h 6380470"/>
              <a:gd name="connsiteX1699" fmla="*/ 5967338 w 11625583"/>
              <a:gd name="connsiteY1699" fmla="*/ 3260749 h 6380470"/>
              <a:gd name="connsiteX1700" fmla="*/ 5902672 w 11625583"/>
              <a:gd name="connsiteY1700" fmla="*/ 3196083 h 6380470"/>
              <a:gd name="connsiteX1701" fmla="*/ 5967338 w 11625583"/>
              <a:gd name="connsiteY1701" fmla="*/ 3131417 h 6380470"/>
              <a:gd name="connsiteX1702" fmla="*/ 5810780 w 11625583"/>
              <a:gd name="connsiteY1702" fmla="*/ 3131417 h 6380470"/>
              <a:gd name="connsiteX1703" fmla="*/ 5875431 w 11625583"/>
              <a:gd name="connsiteY1703" fmla="*/ 3196083 h 6380470"/>
              <a:gd name="connsiteX1704" fmla="*/ 5810780 w 11625583"/>
              <a:gd name="connsiteY1704" fmla="*/ 3260749 h 6380470"/>
              <a:gd name="connsiteX1705" fmla="*/ 5746108 w 11625583"/>
              <a:gd name="connsiteY1705" fmla="*/ 3196083 h 6380470"/>
              <a:gd name="connsiteX1706" fmla="*/ 5810780 w 11625583"/>
              <a:gd name="connsiteY1706" fmla="*/ 3131417 h 6380470"/>
              <a:gd name="connsiteX1707" fmla="*/ 5658107 w 11625583"/>
              <a:gd name="connsiteY1707" fmla="*/ 3131417 h 6380470"/>
              <a:gd name="connsiteX1708" fmla="*/ 5722777 w 11625583"/>
              <a:gd name="connsiteY1708" fmla="*/ 3196083 h 6380470"/>
              <a:gd name="connsiteX1709" fmla="*/ 5658107 w 11625583"/>
              <a:gd name="connsiteY1709" fmla="*/ 3260749 h 6380470"/>
              <a:gd name="connsiteX1710" fmla="*/ 5593441 w 11625583"/>
              <a:gd name="connsiteY1710" fmla="*/ 3196083 h 6380470"/>
              <a:gd name="connsiteX1711" fmla="*/ 5658107 w 11625583"/>
              <a:gd name="connsiteY1711" fmla="*/ 3131417 h 6380470"/>
              <a:gd name="connsiteX1712" fmla="*/ 5501538 w 11625583"/>
              <a:gd name="connsiteY1712" fmla="*/ 3131417 h 6380470"/>
              <a:gd name="connsiteX1713" fmla="*/ 5566202 w 11625583"/>
              <a:gd name="connsiteY1713" fmla="*/ 3196083 h 6380470"/>
              <a:gd name="connsiteX1714" fmla="*/ 5501538 w 11625583"/>
              <a:gd name="connsiteY1714" fmla="*/ 3260749 h 6380470"/>
              <a:gd name="connsiteX1715" fmla="*/ 5436876 w 11625583"/>
              <a:gd name="connsiteY1715" fmla="*/ 3196083 h 6380470"/>
              <a:gd name="connsiteX1716" fmla="*/ 5501538 w 11625583"/>
              <a:gd name="connsiteY1716" fmla="*/ 3131417 h 6380470"/>
              <a:gd name="connsiteX1717" fmla="*/ 5348883 w 11625583"/>
              <a:gd name="connsiteY1717" fmla="*/ 3131417 h 6380470"/>
              <a:gd name="connsiteX1718" fmla="*/ 5413549 w 11625583"/>
              <a:gd name="connsiteY1718" fmla="*/ 3196083 h 6380470"/>
              <a:gd name="connsiteX1719" fmla="*/ 5348883 w 11625583"/>
              <a:gd name="connsiteY1719" fmla="*/ 3260749 h 6380470"/>
              <a:gd name="connsiteX1720" fmla="*/ 5284218 w 11625583"/>
              <a:gd name="connsiteY1720" fmla="*/ 3196083 h 6380470"/>
              <a:gd name="connsiteX1721" fmla="*/ 5348883 w 11625583"/>
              <a:gd name="connsiteY1721" fmla="*/ 3131417 h 6380470"/>
              <a:gd name="connsiteX1722" fmla="*/ 5192310 w 11625583"/>
              <a:gd name="connsiteY1722" fmla="*/ 3131417 h 6380470"/>
              <a:gd name="connsiteX1723" fmla="*/ 5256975 w 11625583"/>
              <a:gd name="connsiteY1723" fmla="*/ 3196083 h 6380470"/>
              <a:gd name="connsiteX1724" fmla="*/ 5192310 w 11625583"/>
              <a:gd name="connsiteY1724" fmla="*/ 3260749 h 6380470"/>
              <a:gd name="connsiteX1725" fmla="*/ 5127644 w 11625583"/>
              <a:gd name="connsiteY1725" fmla="*/ 3196083 h 6380470"/>
              <a:gd name="connsiteX1726" fmla="*/ 5192310 w 11625583"/>
              <a:gd name="connsiteY1726" fmla="*/ 3131417 h 6380470"/>
              <a:gd name="connsiteX1727" fmla="*/ 5031828 w 11625583"/>
              <a:gd name="connsiteY1727" fmla="*/ 3131417 h 6380470"/>
              <a:gd name="connsiteX1728" fmla="*/ 5096490 w 11625583"/>
              <a:gd name="connsiteY1728" fmla="*/ 3196083 h 6380470"/>
              <a:gd name="connsiteX1729" fmla="*/ 5031828 w 11625583"/>
              <a:gd name="connsiteY1729" fmla="*/ 3260749 h 6380470"/>
              <a:gd name="connsiteX1730" fmla="*/ 4967158 w 11625583"/>
              <a:gd name="connsiteY1730" fmla="*/ 3196083 h 6380470"/>
              <a:gd name="connsiteX1731" fmla="*/ 5031828 w 11625583"/>
              <a:gd name="connsiteY1731" fmla="*/ 3131417 h 6380470"/>
              <a:gd name="connsiteX1732" fmla="*/ 2855500 w 11625583"/>
              <a:gd name="connsiteY1732" fmla="*/ 3131417 h 6380470"/>
              <a:gd name="connsiteX1733" fmla="*/ 2920162 w 11625583"/>
              <a:gd name="connsiteY1733" fmla="*/ 3196083 h 6380470"/>
              <a:gd name="connsiteX1734" fmla="*/ 2855500 w 11625583"/>
              <a:gd name="connsiteY1734" fmla="*/ 3260749 h 6380470"/>
              <a:gd name="connsiteX1735" fmla="*/ 2790838 w 11625583"/>
              <a:gd name="connsiteY1735" fmla="*/ 3196083 h 6380470"/>
              <a:gd name="connsiteX1736" fmla="*/ 2855500 w 11625583"/>
              <a:gd name="connsiteY1736" fmla="*/ 3131417 h 6380470"/>
              <a:gd name="connsiteX1737" fmla="*/ 2546285 w 11625583"/>
              <a:gd name="connsiteY1737" fmla="*/ 3131417 h 6380470"/>
              <a:gd name="connsiteX1738" fmla="*/ 2610949 w 11625583"/>
              <a:gd name="connsiteY1738" fmla="*/ 3196083 h 6380470"/>
              <a:gd name="connsiteX1739" fmla="*/ 2546285 w 11625583"/>
              <a:gd name="connsiteY1739" fmla="*/ 3260749 h 6380470"/>
              <a:gd name="connsiteX1740" fmla="*/ 2481623 w 11625583"/>
              <a:gd name="connsiteY1740" fmla="*/ 3196083 h 6380470"/>
              <a:gd name="connsiteX1741" fmla="*/ 2546285 w 11625583"/>
              <a:gd name="connsiteY1741" fmla="*/ 3131417 h 6380470"/>
              <a:gd name="connsiteX1742" fmla="*/ 2237047 w 11625583"/>
              <a:gd name="connsiteY1742" fmla="*/ 3131417 h 6380470"/>
              <a:gd name="connsiteX1743" fmla="*/ 2301721 w 11625583"/>
              <a:gd name="connsiteY1743" fmla="*/ 3196083 h 6380470"/>
              <a:gd name="connsiteX1744" fmla="*/ 2237047 w 11625583"/>
              <a:gd name="connsiteY1744" fmla="*/ 3260749 h 6380470"/>
              <a:gd name="connsiteX1745" fmla="*/ 2172373 w 11625583"/>
              <a:gd name="connsiteY1745" fmla="*/ 3196083 h 6380470"/>
              <a:gd name="connsiteX1746" fmla="*/ 2237047 w 11625583"/>
              <a:gd name="connsiteY1746" fmla="*/ 3131417 h 6380470"/>
              <a:gd name="connsiteX1747" fmla="*/ 2084377 w 11625583"/>
              <a:gd name="connsiteY1747" fmla="*/ 3131417 h 6380470"/>
              <a:gd name="connsiteX1748" fmla="*/ 2149042 w 11625583"/>
              <a:gd name="connsiteY1748" fmla="*/ 3196083 h 6380470"/>
              <a:gd name="connsiteX1749" fmla="*/ 2084377 w 11625583"/>
              <a:gd name="connsiteY1749" fmla="*/ 3260749 h 6380470"/>
              <a:gd name="connsiteX1750" fmla="*/ 2019725 w 11625583"/>
              <a:gd name="connsiteY1750" fmla="*/ 3196083 h 6380470"/>
              <a:gd name="connsiteX1751" fmla="*/ 2084377 w 11625583"/>
              <a:gd name="connsiteY1751" fmla="*/ 3131417 h 6380470"/>
              <a:gd name="connsiteX1752" fmla="*/ 9227976 w 11625583"/>
              <a:gd name="connsiteY1752" fmla="*/ 2986586 h 6380470"/>
              <a:gd name="connsiteX1753" fmla="*/ 9292642 w 11625583"/>
              <a:gd name="connsiteY1753" fmla="*/ 3051252 h 6380470"/>
              <a:gd name="connsiteX1754" fmla="*/ 9227976 w 11625583"/>
              <a:gd name="connsiteY1754" fmla="*/ 3115919 h 6380470"/>
              <a:gd name="connsiteX1755" fmla="*/ 9163310 w 11625583"/>
              <a:gd name="connsiteY1755" fmla="*/ 3051252 h 6380470"/>
              <a:gd name="connsiteX1756" fmla="*/ 9227976 w 11625583"/>
              <a:gd name="connsiteY1756" fmla="*/ 2986586 h 6380470"/>
              <a:gd name="connsiteX1757" fmla="*/ 9075317 w 11625583"/>
              <a:gd name="connsiteY1757" fmla="*/ 2986586 h 6380470"/>
              <a:gd name="connsiteX1758" fmla="*/ 9139983 w 11625583"/>
              <a:gd name="connsiteY1758" fmla="*/ 3051252 h 6380470"/>
              <a:gd name="connsiteX1759" fmla="*/ 9075317 w 11625583"/>
              <a:gd name="connsiteY1759" fmla="*/ 3115919 h 6380470"/>
              <a:gd name="connsiteX1760" fmla="*/ 9010651 w 11625583"/>
              <a:gd name="connsiteY1760" fmla="*/ 3051252 h 6380470"/>
              <a:gd name="connsiteX1761" fmla="*/ 9075317 w 11625583"/>
              <a:gd name="connsiteY1761" fmla="*/ 2986586 h 6380470"/>
              <a:gd name="connsiteX1762" fmla="*/ 9384550 w 11625583"/>
              <a:gd name="connsiteY1762" fmla="*/ 2986584 h 6380470"/>
              <a:gd name="connsiteX1763" fmla="*/ 9449216 w 11625583"/>
              <a:gd name="connsiteY1763" fmla="*/ 3051250 h 6380470"/>
              <a:gd name="connsiteX1764" fmla="*/ 9384550 w 11625583"/>
              <a:gd name="connsiteY1764" fmla="*/ 3115917 h 6380470"/>
              <a:gd name="connsiteX1765" fmla="*/ 9319884 w 11625583"/>
              <a:gd name="connsiteY1765" fmla="*/ 3051250 h 6380470"/>
              <a:gd name="connsiteX1766" fmla="*/ 9384550 w 11625583"/>
              <a:gd name="connsiteY1766" fmla="*/ 2986584 h 6380470"/>
              <a:gd name="connsiteX1767" fmla="*/ 8914829 w 11625583"/>
              <a:gd name="connsiteY1767" fmla="*/ 2986584 h 6380470"/>
              <a:gd name="connsiteX1768" fmla="*/ 8979495 w 11625583"/>
              <a:gd name="connsiteY1768" fmla="*/ 3051250 h 6380470"/>
              <a:gd name="connsiteX1769" fmla="*/ 8914829 w 11625583"/>
              <a:gd name="connsiteY1769" fmla="*/ 3115917 h 6380470"/>
              <a:gd name="connsiteX1770" fmla="*/ 8850163 w 11625583"/>
              <a:gd name="connsiteY1770" fmla="*/ 3051250 h 6380470"/>
              <a:gd name="connsiteX1771" fmla="*/ 8914829 w 11625583"/>
              <a:gd name="connsiteY1771" fmla="*/ 2986584 h 6380470"/>
              <a:gd name="connsiteX1772" fmla="*/ 8766086 w 11625583"/>
              <a:gd name="connsiteY1772" fmla="*/ 2986584 h 6380470"/>
              <a:gd name="connsiteX1773" fmla="*/ 8830752 w 11625583"/>
              <a:gd name="connsiteY1773" fmla="*/ 3051250 h 6380470"/>
              <a:gd name="connsiteX1774" fmla="*/ 8766086 w 11625583"/>
              <a:gd name="connsiteY1774" fmla="*/ 3115917 h 6380470"/>
              <a:gd name="connsiteX1775" fmla="*/ 8701420 w 11625583"/>
              <a:gd name="connsiteY1775" fmla="*/ 3051250 h 6380470"/>
              <a:gd name="connsiteX1776" fmla="*/ 8766086 w 11625583"/>
              <a:gd name="connsiteY1776" fmla="*/ 2986584 h 6380470"/>
              <a:gd name="connsiteX1777" fmla="*/ 8601683 w 11625583"/>
              <a:gd name="connsiteY1777" fmla="*/ 2986584 h 6380470"/>
              <a:gd name="connsiteX1778" fmla="*/ 8666349 w 11625583"/>
              <a:gd name="connsiteY1778" fmla="*/ 3051250 h 6380470"/>
              <a:gd name="connsiteX1779" fmla="*/ 8601683 w 11625583"/>
              <a:gd name="connsiteY1779" fmla="*/ 3115917 h 6380470"/>
              <a:gd name="connsiteX1780" fmla="*/ 8537017 w 11625583"/>
              <a:gd name="connsiteY1780" fmla="*/ 3051250 h 6380470"/>
              <a:gd name="connsiteX1781" fmla="*/ 8601683 w 11625583"/>
              <a:gd name="connsiteY1781" fmla="*/ 2986584 h 6380470"/>
              <a:gd name="connsiteX1782" fmla="*/ 8449025 w 11625583"/>
              <a:gd name="connsiteY1782" fmla="*/ 2986584 h 6380470"/>
              <a:gd name="connsiteX1783" fmla="*/ 8513691 w 11625583"/>
              <a:gd name="connsiteY1783" fmla="*/ 3051250 h 6380470"/>
              <a:gd name="connsiteX1784" fmla="*/ 8449025 w 11625583"/>
              <a:gd name="connsiteY1784" fmla="*/ 3115917 h 6380470"/>
              <a:gd name="connsiteX1785" fmla="*/ 8384359 w 11625583"/>
              <a:gd name="connsiteY1785" fmla="*/ 3051250 h 6380470"/>
              <a:gd name="connsiteX1786" fmla="*/ 8449025 w 11625583"/>
              <a:gd name="connsiteY1786" fmla="*/ 2986584 h 6380470"/>
              <a:gd name="connsiteX1787" fmla="*/ 8139793 w 11625583"/>
              <a:gd name="connsiteY1787" fmla="*/ 2986584 h 6380470"/>
              <a:gd name="connsiteX1788" fmla="*/ 8204459 w 11625583"/>
              <a:gd name="connsiteY1788" fmla="*/ 3051250 h 6380470"/>
              <a:gd name="connsiteX1789" fmla="*/ 8139793 w 11625583"/>
              <a:gd name="connsiteY1789" fmla="*/ 3115917 h 6380470"/>
              <a:gd name="connsiteX1790" fmla="*/ 8075127 w 11625583"/>
              <a:gd name="connsiteY1790" fmla="*/ 3051250 h 6380470"/>
              <a:gd name="connsiteX1791" fmla="*/ 8139793 w 11625583"/>
              <a:gd name="connsiteY1791" fmla="*/ 2986584 h 6380470"/>
              <a:gd name="connsiteX1792" fmla="*/ 7987133 w 11625583"/>
              <a:gd name="connsiteY1792" fmla="*/ 2986584 h 6380470"/>
              <a:gd name="connsiteX1793" fmla="*/ 8051799 w 11625583"/>
              <a:gd name="connsiteY1793" fmla="*/ 3051250 h 6380470"/>
              <a:gd name="connsiteX1794" fmla="*/ 7987133 w 11625583"/>
              <a:gd name="connsiteY1794" fmla="*/ 3115917 h 6380470"/>
              <a:gd name="connsiteX1795" fmla="*/ 7922467 w 11625583"/>
              <a:gd name="connsiteY1795" fmla="*/ 3051250 h 6380470"/>
              <a:gd name="connsiteX1796" fmla="*/ 7987133 w 11625583"/>
              <a:gd name="connsiteY1796" fmla="*/ 2986584 h 6380470"/>
              <a:gd name="connsiteX1797" fmla="*/ 7830562 w 11625583"/>
              <a:gd name="connsiteY1797" fmla="*/ 2986584 h 6380470"/>
              <a:gd name="connsiteX1798" fmla="*/ 7895228 w 11625583"/>
              <a:gd name="connsiteY1798" fmla="*/ 3051250 h 6380470"/>
              <a:gd name="connsiteX1799" fmla="*/ 7830562 w 11625583"/>
              <a:gd name="connsiteY1799" fmla="*/ 3115917 h 6380470"/>
              <a:gd name="connsiteX1800" fmla="*/ 7765896 w 11625583"/>
              <a:gd name="connsiteY1800" fmla="*/ 3051250 h 6380470"/>
              <a:gd name="connsiteX1801" fmla="*/ 7830562 w 11625583"/>
              <a:gd name="connsiteY1801" fmla="*/ 2986584 h 6380470"/>
              <a:gd name="connsiteX1802" fmla="*/ 7368669 w 11625583"/>
              <a:gd name="connsiteY1802" fmla="*/ 2986584 h 6380470"/>
              <a:gd name="connsiteX1803" fmla="*/ 7433335 w 11625583"/>
              <a:gd name="connsiteY1803" fmla="*/ 3051250 h 6380470"/>
              <a:gd name="connsiteX1804" fmla="*/ 7368669 w 11625583"/>
              <a:gd name="connsiteY1804" fmla="*/ 3115917 h 6380470"/>
              <a:gd name="connsiteX1805" fmla="*/ 7304003 w 11625583"/>
              <a:gd name="connsiteY1805" fmla="*/ 3051250 h 6380470"/>
              <a:gd name="connsiteX1806" fmla="*/ 7368669 w 11625583"/>
              <a:gd name="connsiteY1806" fmla="*/ 2986584 h 6380470"/>
              <a:gd name="connsiteX1807" fmla="*/ 6742377 w 11625583"/>
              <a:gd name="connsiteY1807" fmla="*/ 2986584 h 6380470"/>
              <a:gd name="connsiteX1808" fmla="*/ 6807043 w 11625583"/>
              <a:gd name="connsiteY1808" fmla="*/ 3051250 h 6380470"/>
              <a:gd name="connsiteX1809" fmla="*/ 6742377 w 11625583"/>
              <a:gd name="connsiteY1809" fmla="*/ 3115917 h 6380470"/>
              <a:gd name="connsiteX1810" fmla="*/ 6677711 w 11625583"/>
              <a:gd name="connsiteY1810" fmla="*/ 3051250 h 6380470"/>
              <a:gd name="connsiteX1811" fmla="*/ 6742377 w 11625583"/>
              <a:gd name="connsiteY1811" fmla="*/ 2986584 h 6380470"/>
              <a:gd name="connsiteX1812" fmla="*/ 6429229 w 11625583"/>
              <a:gd name="connsiteY1812" fmla="*/ 2986584 h 6380470"/>
              <a:gd name="connsiteX1813" fmla="*/ 6493895 w 11625583"/>
              <a:gd name="connsiteY1813" fmla="*/ 3051250 h 6380470"/>
              <a:gd name="connsiteX1814" fmla="*/ 6429229 w 11625583"/>
              <a:gd name="connsiteY1814" fmla="*/ 3115917 h 6380470"/>
              <a:gd name="connsiteX1815" fmla="*/ 6364563 w 11625583"/>
              <a:gd name="connsiteY1815" fmla="*/ 3051250 h 6380470"/>
              <a:gd name="connsiteX1816" fmla="*/ 6429229 w 11625583"/>
              <a:gd name="connsiteY1816" fmla="*/ 2986584 h 6380470"/>
              <a:gd name="connsiteX1817" fmla="*/ 6276571 w 11625583"/>
              <a:gd name="connsiteY1817" fmla="*/ 2986584 h 6380470"/>
              <a:gd name="connsiteX1818" fmla="*/ 6341237 w 11625583"/>
              <a:gd name="connsiteY1818" fmla="*/ 3051250 h 6380470"/>
              <a:gd name="connsiteX1819" fmla="*/ 6276571 w 11625583"/>
              <a:gd name="connsiteY1819" fmla="*/ 3115917 h 6380470"/>
              <a:gd name="connsiteX1820" fmla="*/ 6211905 w 11625583"/>
              <a:gd name="connsiteY1820" fmla="*/ 3051250 h 6380470"/>
              <a:gd name="connsiteX1821" fmla="*/ 6276571 w 11625583"/>
              <a:gd name="connsiteY1821" fmla="*/ 2986584 h 6380470"/>
              <a:gd name="connsiteX1822" fmla="*/ 5967339 w 11625583"/>
              <a:gd name="connsiteY1822" fmla="*/ 2986584 h 6380470"/>
              <a:gd name="connsiteX1823" fmla="*/ 6032005 w 11625583"/>
              <a:gd name="connsiteY1823" fmla="*/ 3051250 h 6380470"/>
              <a:gd name="connsiteX1824" fmla="*/ 5967339 w 11625583"/>
              <a:gd name="connsiteY1824" fmla="*/ 3115917 h 6380470"/>
              <a:gd name="connsiteX1825" fmla="*/ 5902673 w 11625583"/>
              <a:gd name="connsiteY1825" fmla="*/ 3051250 h 6380470"/>
              <a:gd name="connsiteX1826" fmla="*/ 5967339 w 11625583"/>
              <a:gd name="connsiteY1826" fmla="*/ 2986584 h 6380470"/>
              <a:gd name="connsiteX1827" fmla="*/ 5810783 w 11625583"/>
              <a:gd name="connsiteY1827" fmla="*/ 2986584 h 6380470"/>
              <a:gd name="connsiteX1828" fmla="*/ 5875431 w 11625583"/>
              <a:gd name="connsiteY1828" fmla="*/ 3051250 h 6380470"/>
              <a:gd name="connsiteX1829" fmla="*/ 5810783 w 11625583"/>
              <a:gd name="connsiteY1829" fmla="*/ 3115917 h 6380470"/>
              <a:gd name="connsiteX1830" fmla="*/ 5746108 w 11625583"/>
              <a:gd name="connsiteY1830" fmla="*/ 3051250 h 6380470"/>
              <a:gd name="connsiteX1831" fmla="*/ 5810783 w 11625583"/>
              <a:gd name="connsiteY1831" fmla="*/ 2986584 h 6380470"/>
              <a:gd name="connsiteX1832" fmla="*/ 5658107 w 11625583"/>
              <a:gd name="connsiteY1832" fmla="*/ 2986584 h 6380470"/>
              <a:gd name="connsiteX1833" fmla="*/ 5722777 w 11625583"/>
              <a:gd name="connsiteY1833" fmla="*/ 3051250 h 6380470"/>
              <a:gd name="connsiteX1834" fmla="*/ 5658107 w 11625583"/>
              <a:gd name="connsiteY1834" fmla="*/ 3115917 h 6380470"/>
              <a:gd name="connsiteX1835" fmla="*/ 5593441 w 11625583"/>
              <a:gd name="connsiteY1835" fmla="*/ 3051250 h 6380470"/>
              <a:gd name="connsiteX1836" fmla="*/ 5658107 w 11625583"/>
              <a:gd name="connsiteY1836" fmla="*/ 2986584 h 6380470"/>
              <a:gd name="connsiteX1837" fmla="*/ 5501538 w 11625583"/>
              <a:gd name="connsiteY1837" fmla="*/ 2986584 h 6380470"/>
              <a:gd name="connsiteX1838" fmla="*/ 5566202 w 11625583"/>
              <a:gd name="connsiteY1838" fmla="*/ 3051250 h 6380470"/>
              <a:gd name="connsiteX1839" fmla="*/ 5501538 w 11625583"/>
              <a:gd name="connsiteY1839" fmla="*/ 3115917 h 6380470"/>
              <a:gd name="connsiteX1840" fmla="*/ 5436877 w 11625583"/>
              <a:gd name="connsiteY1840" fmla="*/ 3051250 h 6380470"/>
              <a:gd name="connsiteX1841" fmla="*/ 5501538 w 11625583"/>
              <a:gd name="connsiteY1841" fmla="*/ 2986584 h 6380470"/>
              <a:gd name="connsiteX1842" fmla="*/ 5192312 w 11625583"/>
              <a:gd name="connsiteY1842" fmla="*/ 2986584 h 6380470"/>
              <a:gd name="connsiteX1843" fmla="*/ 5256975 w 11625583"/>
              <a:gd name="connsiteY1843" fmla="*/ 3051250 h 6380470"/>
              <a:gd name="connsiteX1844" fmla="*/ 5192312 w 11625583"/>
              <a:gd name="connsiteY1844" fmla="*/ 3115917 h 6380470"/>
              <a:gd name="connsiteX1845" fmla="*/ 5127645 w 11625583"/>
              <a:gd name="connsiteY1845" fmla="*/ 3051250 h 6380470"/>
              <a:gd name="connsiteX1846" fmla="*/ 5192312 w 11625583"/>
              <a:gd name="connsiteY1846" fmla="*/ 2986584 h 6380470"/>
              <a:gd name="connsiteX1847" fmla="*/ 8296368 w 11625583"/>
              <a:gd name="connsiteY1847" fmla="*/ 2986583 h 6380470"/>
              <a:gd name="connsiteX1848" fmla="*/ 8361034 w 11625583"/>
              <a:gd name="connsiteY1848" fmla="*/ 3051249 h 6380470"/>
              <a:gd name="connsiteX1849" fmla="*/ 8296368 w 11625583"/>
              <a:gd name="connsiteY1849" fmla="*/ 3115916 h 6380470"/>
              <a:gd name="connsiteX1850" fmla="*/ 8231702 w 11625583"/>
              <a:gd name="connsiteY1850" fmla="*/ 3051249 h 6380470"/>
              <a:gd name="connsiteX1851" fmla="*/ 8296368 w 11625583"/>
              <a:gd name="connsiteY1851" fmla="*/ 2986583 h 6380470"/>
              <a:gd name="connsiteX1852" fmla="*/ 7677904 w 11625583"/>
              <a:gd name="connsiteY1852" fmla="*/ 2986583 h 6380470"/>
              <a:gd name="connsiteX1853" fmla="*/ 7742570 w 11625583"/>
              <a:gd name="connsiteY1853" fmla="*/ 3051249 h 6380470"/>
              <a:gd name="connsiteX1854" fmla="*/ 7677904 w 11625583"/>
              <a:gd name="connsiteY1854" fmla="*/ 3115916 h 6380470"/>
              <a:gd name="connsiteX1855" fmla="*/ 7613238 w 11625583"/>
              <a:gd name="connsiteY1855" fmla="*/ 3051249 h 6380470"/>
              <a:gd name="connsiteX1856" fmla="*/ 7677904 w 11625583"/>
              <a:gd name="connsiteY1856" fmla="*/ 2986583 h 6380470"/>
              <a:gd name="connsiteX1857" fmla="*/ 7521331 w 11625583"/>
              <a:gd name="connsiteY1857" fmla="*/ 2986583 h 6380470"/>
              <a:gd name="connsiteX1858" fmla="*/ 7585997 w 11625583"/>
              <a:gd name="connsiteY1858" fmla="*/ 3051249 h 6380470"/>
              <a:gd name="connsiteX1859" fmla="*/ 7521331 w 11625583"/>
              <a:gd name="connsiteY1859" fmla="*/ 3115916 h 6380470"/>
              <a:gd name="connsiteX1860" fmla="*/ 7456665 w 11625583"/>
              <a:gd name="connsiteY1860" fmla="*/ 3051249 h 6380470"/>
              <a:gd name="connsiteX1861" fmla="*/ 7521331 w 11625583"/>
              <a:gd name="connsiteY1861" fmla="*/ 2986583 h 6380470"/>
              <a:gd name="connsiteX1862" fmla="*/ 7212096 w 11625583"/>
              <a:gd name="connsiteY1862" fmla="*/ 2986583 h 6380470"/>
              <a:gd name="connsiteX1863" fmla="*/ 7276762 w 11625583"/>
              <a:gd name="connsiteY1863" fmla="*/ 3051249 h 6380470"/>
              <a:gd name="connsiteX1864" fmla="*/ 7212096 w 11625583"/>
              <a:gd name="connsiteY1864" fmla="*/ 3115916 h 6380470"/>
              <a:gd name="connsiteX1865" fmla="*/ 7147430 w 11625583"/>
              <a:gd name="connsiteY1865" fmla="*/ 3051249 h 6380470"/>
              <a:gd name="connsiteX1866" fmla="*/ 7212096 w 11625583"/>
              <a:gd name="connsiteY1866" fmla="*/ 2986583 h 6380470"/>
              <a:gd name="connsiteX1867" fmla="*/ 7055523 w 11625583"/>
              <a:gd name="connsiteY1867" fmla="*/ 2986583 h 6380470"/>
              <a:gd name="connsiteX1868" fmla="*/ 7120189 w 11625583"/>
              <a:gd name="connsiteY1868" fmla="*/ 3051249 h 6380470"/>
              <a:gd name="connsiteX1869" fmla="*/ 7055523 w 11625583"/>
              <a:gd name="connsiteY1869" fmla="*/ 3115916 h 6380470"/>
              <a:gd name="connsiteX1870" fmla="*/ 6990857 w 11625583"/>
              <a:gd name="connsiteY1870" fmla="*/ 3051249 h 6380470"/>
              <a:gd name="connsiteX1871" fmla="*/ 7055523 w 11625583"/>
              <a:gd name="connsiteY1871" fmla="*/ 2986583 h 6380470"/>
              <a:gd name="connsiteX1872" fmla="*/ 6895037 w 11625583"/>
              <a:gd name="connsiteY1872" fmla="*/ 2986583 h 6380470"/>
              <a:gd name="connsiteX1873" fmla="*/ 6959703 w 11625583"/>
              <a:gd name="connsiteY1873" fmla="*/ 3051249 h 6380470"/>
              <a:gd name="connsiteX1874" fmla="*/ 6895037 w 11625583"/>
              <a:gd name="connsiteY1874" fmla="*/ 3115916 h 6380470"/>
              <a:gd name="connsiteX1875" fmla="*/ 6830371 w 11625583"/>
              <a:gd name="connsiteY1875" fmla="*/ 3051249 h 6380470"/>
              <a:gd name="connsiteX1876" fmla="*/ 6895037 w 11625583"/>
              <a:gd name="connsiteY1876" fmla="*/ 2986583 h 6380470"/>
              <a:gd name="connsiteX1877" fmla="*/ 6585804 w 11625583"/>
              <a:gd name="connsiteY1877" fmla="*/ 2986583 h 6380470"/>
              <a:gd name="connsiteX1878" fmla="*/ 6650470 w 11625583"/>
              <a:gd name="connsiteY1878" fmla="*/ 3051249 h 6380470"/>
              <a:gd name="connsiteX1879" fmla="*/ 6585804 w 11625583"/>
              <a:gd name="connsiteY1879" fmla="*/ 3115916 h 6380470"/>
              <a:gd name="connsiteX1880" fmla="*/ 6521138 w 11625583"/>
              <a:gd name="connsiteY1880" fmla="*/ 3051249 h 6380470"/>
              <a:gd name="connsiteX1881" fmla="*/ 6585804 w 11625583"/>
              <a:gd name="connsiteY1881" fmla="*/ 2986583 h 6380470"/>
              <a:gd name="connsiteX1882" fmla="*/ 6119999 w 11625583"/>
              <a:gd name="connsiteY1882" fmla="*/ 2986583 h 6380470"/>
              <a:gd name="connsiteX1883" fmla="*/ 6184665 w 11625583"/>
              <a:gd name="connsiteY1883" fmla="*/ 3051249 h 6380470"/>
              <a:gd name="connsiteX1884" fmla="*/ 6119999 w 11625583"/>
              <a:gd name="connsiteY1884" fmla="*/ 3115916 h 6380470"/>
              <a:gd name="connsiteX1885" fmla="*/ 6055333 w 11625583"/>
              <a:gd name="connsiteY1885" fmla="*/ 3051249 h 6380470"/>
              <a:gd name="connsiteX1886" fmla="*/ 6119999 w 11625583"/>
              <a:gd name="connsiteY1886" fmla="*/ 2986583 h 6380470"/>
              <a:gd name="connsiteX1887" fmla="*/ 5348883 w 11625583"/>
              <a:gd name="connsiteY1887" fmla="*/ 2986583 h 6380470"/>
              <a:gd name="connsiteX1888" fmla="*/ 5413550 w 11625583"/>
              <a:gd name="connsiteY1888" fmla="*/ 3051249 h 6380470"/>
              <a:gd name="connsiteX1889" fmla="*/ 5348883 w 11625583"/>
              <a:gd name="connsiteY1889" fmla="*/ 3115916 h 6380470"/>
              <a:gd name="connsiteX1890" fmla="*/ 5284221 w 11625583"/>
              <a:gd name="connsiteY1890" fmla="*/ 3051249 h 6380470"/>
              <a:gd name="connsiteX1891" fmla="*/ 5348883 w 11625583"/>
              <a:gd name="connsiteY1891" fmla="*/ 2986583 h 6380470"/>
              <a:gd name="connsiteX1892" fmla="*/ 5031831 w 11625583"/>
              <a:gd name="connsiteY1892" fmla="*/ 2986583 h 6380470"/>
              <a:gd name="connsiteX1893" fmla="*/ 5096494 w 11625583"/>
              <a:gd name="connsiteY1893" fmla="*/ 3051249 h 6380470"/>
              <a:gd name="connsiteX1894" fmla="*/ 5031831 w 11625583"/>
              <a:gd name="connsiteY1894" fmla="*/ 3115916 h 6380470"/>
              <a:gd name="connsiteX1895" fmla="*/ 4967160 w 11625583"/>
              <a:gd name="connsiteY1895" fmla="*/ 3051249 h 6380470"/>
              <a:gd name="connsiteX1896" fmla="*/ 5031831 w 11625583"/>
              <a:gd name="connsiteY1896" fmla="*/ 2986583 h 6380470"/>
              <a:gd name="connsiteX1897" fmla="*/ 2237053 w 11625583"/>
              <a:gd name="connsiteY1897" fmla="*/ 2986583 h 6380470"/>
              <a:gd name="connsiteX1898" fmla="*/ 2301728 w 11625583"/>
              <a:gd name="connsiteY1898" fmla="*/ 3051249 h 6380470"/>
              <a:gd name="connsiteX1899" fmla="*/ 2237053 w 11625583"/>
              <a:gd name="connsiteY1899" fmla="*/ 3115916 h 6380470"/>
              <a:gd name="connsiteX1900" fmla="*/ 2172378 w 11625583"/>
              <a:gd name="connsiteY1900" fmla="*/ 3051249 h 6380470"/>
              <a:gd name="connsiteX1901" fmla="*/ 2237053 w 11625583"/>
              <a:gd name="connsiteY1901" fmla="*/ 2986583 h 6380470"/>
              <a:gd name="connsiteX1902" fmla="*/ 2084380 w 11625583"/>
              <a:gd name="connsiteY1902" fmla="*/ 2986583 h 6380470"/>
              <a:gd name="connsiteX1903" fmla="*/ 2149047 w 11625583"/>
              <a:gd name="connsiteY1903" fmla="*/ 3051249 h 6380470"/>
              <a:gd name="connsiteX1904" fmla="*/ 2084380 w 11625583"/>
              <a:gd name="connsiteY1904" fmla="*/ 3115916 h 6380470"/>
              <a:gd name="connsiteX1905" fmla="*/ 2019725 w 11625583"/>
              <a:gd name="connsiteY1905" fmla="*/ 3051249 h 6380470"/>
              <a:gd name="connsiteX1906" fmla="*/ 2084380 w 11625583"/>
              <a:gd name="connsiteY1906" fmla="*/ 2986583 h 6380470"/>
              <a:gd name="connsiteX1907" fmla="*/ 1927806 w 11625583"/>
              <a:gd name="connsiteY1907" fmla="*/ 2986583 h 6380470"/>
              <a:gd name="connsiteX1908" fmla="*/ 1992481 w 11625583"/>
              <a:gd name="connsiteY1908" fmla="*/ 3051249 h 6380470"/>
              <a:gd name="connsiteX1909" fmla="*/ 1927806 w 11625583"/>
              <a:gd name="connsiteY1909" fmla="*/ 3115916 h 6380470"/>
              <a:gd name="connsiteX1910" fmla="*/ 1863153 w 11625583"/>
              <a:gd name="connsiteY1910" fmla="*/ 3051249 h 6380470"/>
              <a:gd name="connsiteX1911" fmla="*/ 1927806 w 11625583"/>
              <a:gd name="connsiteY1911" fmla="*/ 2986583 h 6380470"/>
              <a:gd name="connsiteX1912" fmla="*/ 9384550 w 11625583"/>
              <a:gd name="connsiteY1912" fmla="*/ 2841752 h 6380470"/>
              <a:gd name="connsiteX1913" fmla="*/ 9449216 w 11625583"/>
              <a:gd name="connsiteY1913" fmla="*/ 2906419 h 6380470"/>
              <a:gd name="connsiteX1914" fmla="*/ 9384550 w 11625583"/>
              <a:gd name="connsiteY1914" fmla="*/ 2971084 h 6380470"/>
              <a:gd name="connsiteX1915" fmla="*/ 9319884 w 11625583"/>
              <a:gd name="connsiteY1915" fmla="*/ 2906419 h 6380470"/>
              <a:gd name="connsiteX1916" fmla="*/ 9384550 w 11625583"/>
              <a:gd name="connsiteY1916" fmla="*/ 2841752 h 6380470"/>
              <a:gd name="connsiteX1917" fmla="*/ 9227977 w 11625583"/>
              <a:gd name="connsiteY1917" fmla="*/ 2841752 h 6380470"/>
              <a:gd name="connsiteX1918" fmla="*/ 9292643 w 11625583"/>
              <a:gd name="connsiteY1918" fmla="*/ 2906419 h 6380470"/>
              <a:gd name="connsiteX1919" fmla="*/ 9227977 w 11625583"/>
              <a:gd name="connsiteY1919" fmla="*/ 2971084 h 6380470"/>
              <a:gd name="connsiteX1920" fmla="*/ 9163311 w 11625583"/>
              <a:gd name="connsiteY1920" fmla="*/ 2906419 h 6380470"/>
              <a:gd name="connsiteX1921" fmla="*/ 9227977 w 11625583"/>
              <a:gd name="connsiteY1921" fmla="*/ 2841752 h 6380470"/>
              <a:gd name="connsiteX1922" fmla="*/ 9075319 w 11625583"/>
              <a:gd name="connsiteY1922" fmla="*/ 2841752 h 6380470"/>
              <a:gd name="connsiteX1923" fmla="*/ 9139985 w 11625583"/>
              <a:gd name="connsiteY1923" fmla="*/ 2906419 h 6380470"/>
              <a:gd name="connsiteX1924" fmla="*/ 9075319 w 11625583"/>
              <a:gd name="connsiteY1924" fmla="*/ 2971084 h 6380470"/>
              <a:gd name="connsiteX1925" fmla="*/ 9010653 w 11625583"/>
              <a:gd name="connsiteY1925" fmla="*/ 2906419 h 6380470"/>
              <a:gd name="connsiteX1926" fmla="*/ 9075319 w 11625583"/>
              <a:gd name="connsiteY1926" fmla="*/ 2841752 h 6380470"/>
              <a:gd name="connsiteX1927" fmla="*/ 8914831 w 11625583"/>
              <a:gd name="connsiteY1927" fmla="*/ 2841752 h 6380470"/>
              <a:gd name="connsiteX1928" fmla="*/ 8979497 w 11625583"/>
              <a:gd name="connsiteY1928" fmla="*/ 2906419 h 6380470"/>
              <a:gd name="connsiteX1929" fmla="*/ 8914831 w 11625583"/>
              <a:gd name="connsiteY1929" fmla="*/ 2971084 h 6380470"/>
              <a:gd name="connsiteX1930" fmla="*/ 8850165 w 11625583"/>
              <a:gd name="connsiteY1930" fmla="*/ 2906419 h 6380470"/>
              <a:gd name="connsiteX1931" fmla="*/ 8914831 w 11625583"/>
              <a:gd name="connsiteY1931" fmla="*/ 2841752 h 6380470"/>
              <a:gd name="connsiteX1932" fmla="*/ 8766086 w 11625583"/>
              <a:gd name="connsiteY1932" fmla="*/ 2841752 h 6380470"/>
              <a:gd name="connsiteX1933" fmla="*/ 8830752 w 11625583"/>
              <a:gd name="connsiteY1933" fmla="*/ 2906419 h 6380470"/>
              <a:gd name="connsiteX1934" fmla="*/ 8766086 w 11625583"/>
              <a:gd name="connsiteY1934" fmla="*/ 2971084 h 6380470"/>
              <a:gd name="connsiteX1935" fmla="*/ 8701420 w 11625583"/>
              <a:gd name="connsiteY1935" fmla="*/ 2906419 h 6380470"/>
              <a:gd name="connsiteX1936" fmla="*/ 8766086 w 11625583"/>
              <a:gd name="connsiteY1936" fmla="*/ 2841752 h 6380470"/>
              <a:gd name="connsiteX1937" fmla="*/ 8601683 w 11625583"/>
              <a:gd name="connsiteY1937" fmla="*/ 2841752 h 6380470"/>
              <a:gd name="connsiteX1938" fmla="*/ 8666349 w 11625583"/>
              <a:gd name="connsiteY1938" fmla="*/ 2906419 h 6380470"/>
              <a:gd name="connsiteX1939" fmla="*/ 8601683 w 11625583"/>
              <a:gd name="connsiteY1939" fmla="*/ 2971084 h 6380470"/>
              <a:gd name="connsiteX1940" fmla="*/ 8537017 w 11625583"/>
              <a:gd name="connsiteY1940" fmla="*/ 2906419 h 6380470"/>
              <a:gd name="connsiteX1941" fmla="*/ 8601683 w 11625583"/>
              <a:gd name="connsiteY1941" fmla="*/ 2841752 h 6380470"/>
              <a:gd name="connsiteX1942" fmla="*/ 8449025 w 11625583"/>
              <a:gd name="connsiteY1942" fmla="*/ 2841752 h 6380470"/>
              <a:gd name="connsiteX1943" fmla="*/ 8513691 w 11625583"/>
              <a:gd name="connsiteY1943" fmla="*/ 2906419 h 6380470"/>
              <a:gd name="connsiteX1944" fmla="*/ 8449025 w 11625583"/>
              <a:gd name="connsiteY1944" fmla="*/ 2971084 h 6380470"/>
              <a:gd name="connsiteX1945" fmla="*/ 8384359 w 11625583"/>
              <a:gd name="connsiteY1945" fmla="*/ 2906419 h 6380470"/>
              <a:gd name="connsiteX1946" fmla="*/ 8449025 w 11625583"/>
              <a:gd name="connsiteY1946" fmla="*/ 2841752 h 6380470"/>
              <a:gd name="connsiteX1947" fmla="*/ 8296368 w 11625583"/>
              <a:gd name="connsiteY1947" fmla="*/ 2841752 h 6380470"/>
              <a:gd name="connsiteX1948" fmla="*/ 8361034 w 11625583"/>
              <a:gd name="connsiteY1948" fmla="*/ 2906419 h 6380470"/>
              <a:gd name="connsiteX1949" fmla="*/ 8296368 w 11625583"/>
              <a:gd name="connsiteY1949" fmla="*/ 2971084 h 6380470"/>
              <a:gd name="connsiteX1950" fmla="*/ 8231702 w 11625583"/>
              <a:gd name="connsiteY1950" fmla="*/ 2906419 h 6380470"/>
              <a:gd name="connsiteX1951" fmla="*/ 8296368 w 11625583"/>
              <a:gd name="connsiteY1951" fmla="*/ 2841752 h 6380470"/>
              <a:gd name="connsiteX1952" fmla="*/ 8139793 w 11625583"/>
              <a:gd name="connsiteY1952" fmla="*/ 2841752 h 6380470"/>
              <a:gd name="connsiteX1953" fmla="*/ 8204459 w 11625583"/>
              <a:gd name="connsiteY1953" fmla="*/ 2906419 h 6380470"/>
              <a:gd name="connsiteX1954" fmla="*/ 8139793 w 11625583"/>
              <a:gd name="connsiteY1954" fmla="*/ 2971084 h 6380470"/>
              <a:gd name="connsiteX1955" fmla="*/ 8075127 w 11625583"/>
              <a:gd name="connsiteY1955" fmla="*/ 2906419 h 6380470"/>
              <a:gd name="connsiteX1956" fmla="*/ 8139793 w 11625583"/>
              <a:gd name="connsiteY1956" fmla="*/ 2841752 h 6380470"/>
              <a:gd name="connsiteX1957" fmla="*/ 7987133 w 11625583"/>
              <a:gd name="connsiteY1957" fmla="*/ 2841752 h 6380470"/>
              <a:gd name="connsiteX1958" fmla="*/ 8051799 w 11625583"/>
              <a:gd name="connsiteY1958" fmla="*/ 2906419 h 6380470"/>
              <a:gd name="connsiteX1959" fmla="*/ 7987133 w 11625583"/>
              <a:gd name="connsiteY1959" fmla="*/ 2971084 h 6380470"/>
              <a:gd name="connsiteX1960" fmla="*/ 7922467 w 11625583"/>
              <a:gd name="connsiteY1960" fmla="*/ 2906419 h 6380470"/>
              <a:gd name="connsiteX1961" fmla="*/ 7987133 w 11625583"/>
              <a:gd name="connsiteY1961" fmla="*/ 2841752 h 6380470"/>
              <a:gd name="connsiteX1962" fmla="*/ 7830562 w 11625583"/>
              <a:gd name="connsiteY1962" fmla="*/ 2841752 h 6380470"/>
              <a:gd name="connsiteX1963" fmla="*/ 7895228 w 11625583"/>
              <a:gd name="connsiteY1963" fmla="*/ 2906419 h 6380470"/>
              <a:gd name="connsiteX1964" fmla="*/ 7830562 w 11625583"/>
              <a:gd name="connsiteY1964" fmla="*/ 2971084 h 6380470"/>
              <a:gd name="connsiteX1965" fmla="*/ 7765896 w 11625583"/>
              <a:gd name="connsiteY1965" fmla="*/ 2906419 h 6380470"/>
              <a:gd name="connsiteX1966" fmla="*/ 7830562 w 11625583"/>
              <a:gd name="connsiteY1966" fmla="*/ 2841752 h 6380470"/>
              <a:gd name="connsiteX1967" fmla="*/ 7677904 w 11625583"/>
              <a:gd name="connsiteY1967" fmla="*/ 2841752 h 6380470"/>
              <a:gd name="connsiteX1968" fmla="*/ 7742570 w 11625583"/>
              <a:gd name="connsiteY1968" fmla="*/ 2906419 h 6380470"/>
              <a:gd name="connsiteX1969" fmla="*/ 7677904 w 11625583"/>
              <a:gd name="connsiteY1969" fmla="*/ 2971084 h 6380470"/>
              <a:gd name="connsiteX1970" fmla="*/ 7613238 w 11625583"/>
              <a:gd name="connsiteY1970" fmla="*/ 2906419 h 6380470"/>
              <a:gd name="connsiteX1971" fmla="*/ 7677904 w 11625583"/>
              <a:gd name="connsiteY1971" fmla="*/ 2841752 h 6380470"/>
              <a:gd name="connsiteX1972" fmla="*/ 7521331 w 11625583"/>
              <a:gd name="connsiteY1972" fmla="*/ 2841752 h 6380470"/>
              <a:gd name="connsiteX1973" fmla="*/ 7585997 w 11625583"/>
              <a:gd name="connsiteY1973" fmla="*/ 2906419 h 6380470"/>
              <a:gd name="connsiteX1974" fmla="*/ 7521331 w 11625583"/>
              <a:gd name="connsiteY1974" fmla="*/ 2971084 h 6380470"/>
              <a:gd name="connsiteX1975" fmla="*/ 7456665 w 11625583"/>
              <a:gd name="connsiteY1975" fmla="*/ 2906419 h 6380470"/>
              <a:gd name="connsiteX1976" fmla="*/ 7521331 w 11625583"/>
              <a:gd name="connsiteY1976" fmla="*/ 2841752 h 6380470"/>
              <a:gd name="connsiteX1977" fmla="*/ 7368669 w 11625583"/>
              <a:gd name="connsiteY1977" fmla="*/ 2841752 h 6380470"/>
              <a:gd name="connsiteX1978" fmla="*/ 7433335 w 11625583"/>
              <a:gd name="connsiteY1978" fmla="*/ 2906419 h 6380470"/>
              <a:gd name="connsiteX1979" fmla="*/ 7368669 w 11625583"/>
              <a:gd name="connsiteY1979" fmla="*/ 2971084 h 6380470"/>
              <a:gd name="connsiteX1980" fmla="*/ 7304003 w 11625583"/>
              <a:gd name="connsiteY1980" fmla="*/ 2906419 h 6380470"/>
              <a:gd name="connsiteX1981" fmla="*/ 7368669 w 11625583"/>
              <a:gd name="connsiteY1981" fmla="*/ 2841752 h 6380470"/>
              <a:gd name="connsiteX1982" fmla="*/ 7212096 w 11625583"/>
              <a:gd name="connsiteY1982" fmla="*/ 2841752 h 6380470"/>
              <a:gd name="connsiteX1983" fmla="*/ 7276762 w 11625583"/>
              <a:gd name="connsiteY1983" fmla="*/ 2906419 h 6380470"/>
              <a:gd name="connsiteX1984" fmla="*/ 7212096 w 11625583"/>
              <a:gd name="connsiteY1984" fmla="*/ 2971084 h 6380470"/>
              <a:gd name="connsiteX1985" fmla="*/ 7147430 w 11625583"/>
              <a:gd name="connsiteY1985" fmla="*/ 2906419 h 6380470"/>
              <a:gd name="connsiteX1986" fmla="*/ 7212096 w 11625583"/>
              <a:gd name="connsiteY1986" fmla="*/ 2841752 h 6380470"/>
              <a:gd name="connsiteX1987" fmla="*/ 7055523 w 11625583"/>
              <a:gd name="connsiteY1987" fmla="*/ 2841752 h 6380470"/>
              <a:gd name="connsiteX1988" fmla="*/ 7120189 w 11625583"/>
              <a:gd name="connsiteY1988" fmla="*/ 2906419 h 6380470"/>
              <a:gd name="connsiteX1989" fmla="*/ 7055523 w 11625583"/>
              <a:gd name="connsiteY1989" fmla="*/ 2971084 h 6380470"/>
              <a:gd name="connsiteX1990" fmla="*/ 6990857 w 11625583"/>
              <a:gd name="connsiteY1990" fmla="*/ 2906419 h 6380470"/>
              <a:gd name="connsiteX1991" fmla="*/ 7055523 w 11625583"/>
              <a:gd name="connsiteY1991" fmla="*/ 2841752 h 6380470"/>
              <a:gd name="connsiteX1992" fmla="*/ 6895037 w 11625583"/>
              <a:gd name="connsiteY1992" fmla="*/ 2841752 h 6380470"/>
              <a:gd name="connsiteX1993" fmla="*/ 6959703 w 11625583"/>
              <a:gd name="connsiteY1993" fmla="*/ 2906419 h 6380470"/>
              <a:gd name="connsiteX1994" fmla="*/ 6895037 w 11625583"/>
              <a:gd name="connsiteY1994" fmla="*/ 2971084 h 6380470"/>
              <a:gd name="connsiteX1995" fmla="*/ 6830371 w 11625583"/>
              <a:gd name="connsiteY1995" fmla="*/ 2906419 h 6380470"/>
              <a:gd name="connsiteX1996" fmla="*/ 6895037 w 11625583"/>
              <a:gd name="connsiteY1996" fmla="*/ 2841752 h 6380470"/>
              <a:gd name="connsiteX1997" fmla="*/ 6742377 w 11625583"/>
              <a:gd name="connsiteY1997" fmla="*/ 2841752 h 6380470"/>
              <a:gd name="connsiteX1998" fmla="*/ 6807043 w 11625583"/>
              <a:gd name="connsiteY1998" fmla="*/ 2906419 h 6380470"/>
              <a:gd name="connsiteX1999" fmla="*/ 6742377 w 11625583"/>
              <a:gd name="connsiteY1999" fmla="*/ 2971084 h 6380470"/>
              <a:gd name="connsiteX2000" fmla="*/ 6677711 w 11625583"/>
              <a:gd name="connsiteY2000" fmla="*/ 2906419 h 6380470"/>
              <a:gd name="connsiteX2001" fmla="*/ 6742377 w 11625583"/>
              <a:gd name="connsiteY2001" fmla="*/ 2841752 h 6380470"/>
              <a:gd name="connsiteX2002" fmla="*/ 6585804 w 11625583"/>
              <a:gd name="connsiteY2002" fmla="*/ 2841752 h 6380470"/>
              <a:gd name="connsiteX2003" fmla="*/ 6650470 w 11625583"/>
              <a:gd name="connsiteY2003" fmla="*/ 2906419 h 6380470"/>
              <a:gd name="connsiteX2004" fmla="*/ 6585804 w 11625583"/>
              <a:gd name="connsiteY2004" fmla="*/ 2971084 h 6380470"/>
              <a:gd name="connsiteX2005" fmla="*/ 6521138 w 11625583"/>
              <a:gd name="connsiteY2005" fmla="*/ 2906419 h 6380470"/>
              <a:gd name="connsiteX2006" fmla="*/ 6585804 w 11625583"/>
              <a:gd name="connsiteY2006" fmla="*/ 2841752 h 6380470"/>
              <a:gd name="connsiteX2007" fmla="*/ 6429229 w 11625583"/>
              <a:gd name="connsiteY2007" fmla="*/ 2841752 h 6380470"/>
              <a:gd name="connsiteX2008" fmla="*/ 6493895 w 11625583"/>
              <a:gd name="connsiteY2008" fmla="*/ 2906419 h 6380470"/>
              <a:gd name="connsiteX2009" fmla="*/ 6429229 w 11625583"/>
              <a:gd name="connsiteY2009" fmla="*/ 2971084 h 6380470"/>
              <a:gd name="connsiteX2010" fmla="*/ 6364563 w 11625583"/>
              <a:gd name="connsiteY2010" fmla="*/ 2906419 h 6380470"/>
              <a:gd name="connsiteX2011" fmla="*/ 6429229 w 11625583"/>
              <a:gd name="connsiteY2011" fmla="*/ 2841752 h 6380470"/>
              <a:gd name="connsiteX2012" fmla="*/ 6276571 w 11625583"/>
              <a:gd name="connsiteY2012" fmla="*/ 2841752 h 6380470"/>
              <a:gd name="connsiteX2013" fmla="*/ 6341237 w 11625583"/>
              <a:gd name="connsiteY2013" fmla="*/ 2906419 h 6380470"/>
              <a:gd name="connsiteX2014" fmla="*/ 6276571 w 11625583"/>
              <a:gd name="connsiteY2014" fmla="*/ 2971084 h 6380470"/>
              <a:gd name="connsiteX2015" fmla="*/ 6211905 w 11625583"/>
              <a:gd name="connsiteY2015" fmla="*/ 2906419 h 6380470"/>
              <a:gd name="connsiteX2016" fmla="*/ 6276571 w 11625583"/>
              <a:gd name="connsiteY2016" fmla="*/ 2841752 h 6380470"/>
              <a:gd name="connsiteX2017" fmla="*/ 6119999 w 11625583"/>
              <a:gd name="connsiteY2017" fmla="*/ 2841752 h 6380470"/>
              <a:gd name="connsiteX2018" fmla="*/ 6184665 w 11625583"/>
              <a:gd name="connsiteY2018" fmla="*/ 2906419 h 6380470"/>
              <a:gd name="connsiteX2019" fmla="*/ 6119999 w 11625583"/>
              <a:gd name="connsiteY2019" fmla="*/ 2971084 h 6380470"/>
              <a:gd name="connsiteX2020" fmla="*/ 6055333 w 11625583"/>
              <a:gd name="connsiteY2020" fmla="*/ 2906419 h 6380470"/>
              <a:gd name="connsiteX2021" fmla="*/ 6119999 w 11625583"/>
              <a:gd name="connsiteY2021" fmla="*/ 2841752 h 6380470"/>
              <a:gd name="connsiteX2022" fmla="*/ 5967339 w 11625583"/>
              <a:gd name="connsiteY2022" fmla="*/ 2841752 h 6380470"/>
              <a:gd name="connsiteX2023" fmla="*/ 6032005 w 11625583"/>
              <a:gd name="connsiteY2023" fmla="*/ 2906419 h 6380470"/>
              <a:gd name="connsiteX2024" fmla="*/ 5967339 w 11625583"/>
              <a:gd name="connsiteY2024" fmla="*/ 2971084 h 6380470"/>
              <a:gd name="connsiteX2025" fmla="*/ 5902673 w 11625583"/>
              <a:gd name="connsiteY2025" fmla="*/ 2906419 h 6380470"/>
              <a:gd name="connsiteX2026" fmla="*/ 5967339 w 11625583"/>
              <a:gd name="connsiteY2026" fmla="*/ 2841752 h 6380470"/>
              <a:gd name="connsiteX2027" fmla="*/ 5810785 w 11625583"/>
              <a:gd name="connsiteY2027" fmla="*/ 2841752 h 6380470"/>
              <a:gd name="connsiteX2028" fmla="*/ 5875431 w 11625583"/>
              <a:gd name="connsiteY2028" fmla="*/ 2906419 h 6380470"/>
              <a:gd name="connsiteX2029" fmla="*/ 5810785 w 11625583"/>
              <a:gd name="connsiteY2029" fmla="*/ 2971084 h 6380470"/>
              <a:gd name="connsiteX2030" fmla="*/ 5746108 w 11625583"/>
              <a:gd name="connsiteY2030" fmla="*/ 2906419 h 6380470"/>
              <a:gd name="connsiteX2031" fmla="*/ 5810785 w 11625583"/>
              <a:gd name="connsiteY2031" fmla="*/ 2841752 h 6380470"/>
              <a:gd name="connsiteX2032" fmla="*/ 5658107 w 11625583"/>
              <a:gd name="connsiteY2032" fmla="*/ 2841752 h 6380470"/>
              <a:gd name="connsiteX2033" fmla="*/ 5722779 w 11625583"/>
              <a:gd name="connsiteY2033" fmla="*/ 2906419 h 6380470"/>
              <a:gd name="connsiteX2034" fmla="*/ 5658107 w 11625583"/>
              <a:gd name="connsiteY2034" fmla="*/ 2971084 h 6380470"/>
              <a:gd name="connsiteX2035" fmla="*/ 5593441 w 11625583"/>
              <a:gd name="connsiteY2035" fmla="*/ 2906419 h 6380470"/>
              <a:gd name="connsiteX2036" fmla="*/ 5658107 w 11625583"/>
              <a:gd name="connsiteY2036" fmla="*/ 2841752 h 6380470"/>
              <a:gd name="connsiteX2037" fmla="*/ 5501538 w 11625583"/>
              <a:gd name="connsiteY2037" fmla="*/ 2841752 h 6380470"/>
              <a:gd name="connsiteX2038" fmla="*/ 5566202 w 11625583"/>
              <a:gd name="connsiteY2038" fmla="*/ 2906419 h 6380470"/>
              <a:gd name="connsiteX2039" fmla="*/ 5501538 w 11625583"/>
              <a:gd name="connsiteY2039" fmla="*/ 2971084 h 6380470"/>
              <a:gd name="connsiteX2040" fmla="*/ 5436878 w 11625583"/>
              <a:gd name="connsiteY2040" fmla="*/ 2906419 h 6380470"/>
              <a:gd name="connsiteX2041" fmla="*/ 5501538 w 11625583"/>
              <a:gd name="connsiteY2041" fmla="*/ 2841752 h 6380470"/>
              <a:gd name="connsiteX2042" fmla="*/ 5348883 w 11625583"/>
              <a:gd name="connsiteY2042" fmla="*/ 2841752 h 6380470"/>
              <a:gd name="connsiteX2043" fmla="*/ 5413550 w 11625583"/>
              <a:gd name="connsiteY2043" fmla="*/ 2906419 h 6380470"/>
              <a:gd name="connsiteX2044" fmla="*/ 5348883 w 11625583"/>
              <a:gd name="connsiteY2044" fmla="*/ 2971084 h 6380470"/>
              <a:gd name="connsiteX2045" fmla="*/ 5284222 w 11625583"/>
              <a:gd name="connsiteY2045" fmla="*/ 2906419 h 6380470"/>
              <a:gd name="connsiteX2046" fmla="*/ 5348883 w 11625583"/>
              <a:gd name="connsiteY2046" fmla="*/ 2841752 h 6380470"/>
              <a:gd name="connsiteX2047" fmla="*/ 5192312 w 11625583"/>
              <a:gd name="connsiteY2047" fmla="*/ 2841752 h 6380470"/>
              <a:gd name="connsiteX2048" fmla="*/ 5256975 w 11625583"/>
              <a:gd name="connsiteY2048" fmla="*/ 2906419 h 6380470"/>
              <a:gd name="connsiteX2049" fmla="*/ 5192312 w 11625583"/>
              <a:gd name="connsiteY2049" fmla="*/ 2971084 h 6380470"/>
              <a:gd name="connsiteX2050" fmla="*/ 5127646 w 11625583"/>
              <a:gd name="connsiteY2050" fmla="*/ 2906419 h 6380470"/>
              <a:gd name="connsiteX2051" fmla="*/ 5192312 w 11625583"/>
              <a:gd name="connsiteY2051" fmla="*/ 2841752 h 6380470"/>
              <a:gd name="connsiteX2052" fmla="*/ 2855510 w 11625583"/>
              <a:gd name="connsiteY2052" fmla="*/ 2841752 h 6380470"/>
              <a:gd name="connsiteX2053" fmla="*/ 2920171 w 11625583"/>
              <a:gd name="connsiteY2053" fmla="*/ 2906419 h 6380470"/>
              <a:gd name="connsiteX2054" fmla="*/ 2855510 w 11625583"/>
              <a:gd name="connsiteY2054" fmla="*/ 2971084 h 6380470"/>
              <a:gd name="connsiteX2055" fmla="*/ 2790849 w 11625583"/>
              <a:gd name="connsiteY2055" fmla="*/ 2906419 h 6380470"/>
              <a:gd name="connsiteX2056" fmla="*/ 2855510 w 11625583"/>
              <a:gd name="connsiteY2056" fmla="*/ 2841752 h 6380470"/>
              <a:gd name="connsiteX2057" fmla="*/ 2237059 w 11625583"/>
              <a:gd name="connsiteY2057" fmla="*/ 2841752 h 6380470"/>
              <a:gd name="connsiteX2058" fmla="*/ 2301735 w 11625583"/>
              <a:gd name="connsiteY2058" fmla="*/ 2906419 h 6380470"/>
              <a:gd name="connsiteX2059" fmla="*/ 2237059 w 11625583"/>
              <a:gd name="connsiteY2059" fmla="*/ 2971084 h 6380470"/>
              <a:gd name="connsiteX2060" fmla="*/ 2172383 w 11625583"/>
              <a:gd name="connsiteY2060" fmla="*/ 2906419 h 6380470"/>
              <a:gd name="connsiteX2061" fmla="*/ 2237059 w 11625583"/>
              <a:gd name="connsiteY2061" fmla="*/ 2841752 h 6380470"/>
              <a:gd name="connsiteX2062" fmla="*/ 2084385 w 11625583"/>
              <a:gd name="connsiteY2062" fmla="*/ 2841752 h 6380470"/>
              <a:gd name="connsiteX2063" fmla="*/ 2149052 w 11625583"/>
              <a:gd name="connsiteY2063" fmla="*/ 2906419 h 6380470"/>
              <a:gd name="connsiteX2064" fmla="*/ 2084385 w 11625583"/>
              <a:gd name="connsiteY2064" fmla="*/ 2971084 h 6380470"/>
              <a:gd name="connsiteX2065" fmla="*/ 2019732 w 11625583"/>
              <a:gd name="connsiteY2065" fmla="*/ 2906419 h 6380470"/>
              <a:gd name="connsiteX2066" fmla="*/ 2084385 w 11625583"/>
              <a:gd name="connsiteY2066" fmla="*/ 2841752 h 6380470"/>
              <a:gd name="connsiteX2067" fmla="*/ 1927808 w 11625583"/>
              <a:gd name="connsiteY2067" fmla="*/ 2841752 h 6380470"/>
              <a:gd name="connsiteX2068" fmla="*/ 1992485 w 11625583"/>
              <a:gd name="connsiteY2068" fmla="*/ 2906419 h 6380470"/>
              <a:gd name="connsiteX2069" fmla="*/ 1927808 w 11625583"/>
              <a:gd name="connsiteY2069" fmla="*/ 2971084 h 6380470"/>
              <a:gd name="connsiteX2070" fmla="*/ 1863159 w 11625583"/>
              <a:gd name="connsiteY2070" fmla="*/ 2906419 h 6380470"/>
              <a:gd name="connsiteX2071" fmla="*/ 1927808 w 11625583"/>
              <a:gd name="connsiteY2071" fmla="*/ 2841752 h 6380470"/>
              <a:gd name="connsiteX2072" fmla="*/ 1775154 w 11625583"/>
              <a:gd name="connsiteY2072" fmla="*/ 2841752 h 6380470"/>
              <a:gd name="connsiteX2073" fmla="*/ 1839830 w 11625583"/>
              <a:gd name="connsiteY2073" fmla="*/ 2906419 h 6380470"/>
              <a:gd name="connsiteX2074" fmla="*/ 1775154 w 11625583"/>
              <a:gd name="connsiteY2074" fmla="*/ 2971084 h 6380470"/>
              <a:gd name="connsiteX2075" fmla="*/ 1710486 w 11625583"/>
              <a:gd name="connsiteY2075" fmla="*/ 2906419 h 6380470"/>
              <a:gd name="connsiteX2076" fmla="*/ 1775154 w 11625583"/>
              <a:gd name="connsiteY2076" fmla="*/ 2841752 h 6380470"/>
              <a:gd name="connsiteX2077" fmla="*/ 8296367 w 11625583"/>
              <a:gd name="connsiteY2077" fmla="*/ 2700840 h 6380470"/>
              <a:gd name="connsiteX2078" fmla="*/ 8361033 w 11625583"/>
              <a:gd name="connsiteY2078" fmla="*/ 2765506 h 6380470"/>
              <a:gd name="connsiteX2079" fmla="*/ 8296367 w 11625583"/>
              <a:gd name="connsiteY2079" fmla="*/ 2830172 h 6380470"/>
              <a:gd name="connsiteX2080" fmla="*/ 8231701 w 11625583"/>
              <a:gd name="connsiteY2080" fmla="*/ 2765506 h 6380470"/>
              <a:gd name="connsiteX2081" fmla="*/ 8296367 w 11625583"/>
              <a:gd name="connsiteY2081" fmla="*/ 2700840 h 6380470"/>
              <a:gd name="connsiteX2082" fmla="*/ 7677902 w 11625583"/>
              <a:gd name="connsiteY2082" fmla="*/ 2700840 h 6380470"/>
              <a:gd name="connsiteX2083" fmla="*/ 7742568 w 11625583"/>
              <a:gd name="connsiteY2083" fmla="*/ 2765506 h 6380470"/>
              <a:gd name="connsiteX2084" fmla="*/ 7677902 w 11625583"/>
              <a:gd name="connsiteY2084" fmla="*/ 2830172 h 6380470"/>
              <a:gd name="connsiteX2085" fmla="*/ 7613236 w 11625583"/>
              <a:gd name="connsiteY2085" fmla="*/ 2765506 h 6380470"/>
              <a:gd name="connsiteX2086" fmla="*/ 7677902 w 11625583"/>
              <a:gd name="connsiteY2086" fmla="*/ 2700840 h 6380470"/>
              <a:gd name="connsiteX2087" fmla="*/ 7521329 w 11625583"/>
              <a:gd name="connsiteY2087" fmla="*/ 2700840 h 6380470"/>
              <a:gd name="connsiteX2088" fmla="*/ 7585995 w 11625583"/>
              <a:gd name="connsiteY2088" fmla="*/ 2765506 h 6380470"/>
              <a:gd name="connsiteX2089" fmla="*/ 7521329 w 11625583"/>
              <a:gd name="connsiteY2089" fmla="*/ 2830172 h 6380470"/>
              <a:gd name="connsiteX2090" fmla="*/ 7456663 w 11625583"/>
              <a:gd name="connsiteY2090" fmla="*/ 2765506 h 6380470"/>
              <a:gd name="connsiteX2091" fmla="*/ 7521329 w 11625583"/>
              <a:gd name="connsiteY2091" fmla="*/ 2700840 h 6380470"/>
              <a:gd name="connsiteX2092" fmla="*/ 7212096 w 11625583"/>
              <a:gd name="connsiteY2092" fmla="*/ 2700840 h 6380470"/>
              <a:gd name="connsiteX2093" fmla="*/ 7276762 w 11625583"/>
              <a:gd name="connsiteY2093" fmla="*/ 2765506 h 6380470"/>
              <a:gd name="connsiteX2094" fmla="*/ 7212096 w 11625583"/>
              <a:gd name="connsiteY2094" fmla="*/ 2830172 h 6380470"/>
              <a:gd name="connsiteX2095" fmla="*/ 7147430 w 11625583"/>
              <a:gd name="connsiteY2095" fmla="*/ 2765506 h 6380470"/>
              <a:gd name="connsiteX2096" fmla="*/ 7212096 w 11625583"/>
              <a:gd name="connsiteY2096" fmla="*/ 2700840 h 6380470"/>
              <a:gd name="connsiteX2097" fmla="*/ 7055523 w 11625583"/>
              <a:gd name="connsiteY2097" fmla="*/ 2700840 h 6380470"/>
              <a:gd name="connsiteX2098" fmla="*/ 7120189 w 11625583"/>
              <a:gd name="connsiteY2098" fmla="*/ 2765506 h 6380470"/>
              <a:gd name="connsiteX2099" fmla="*/ 7055523 w 11625583"/>
              <a:gd name="connsiteY2099" fmla="*/ 2830172 h 6380470"/>
              <a:gd name="connsiteX2100" fmla="*/ 6990857 w 11625583"/>
              <a:gd name="connsiteY2100" fmla="*/ 2765506 h 6380470"/>
              <a:gd name="connsiteX2101" fmla="*/ 7055523 w 11625583"/>
              <a:gd name="connsiteY2101" fmla="*/ 2700840 h 6380470"/>
              <a:gd name="connsiteX2102" fmla="*/ 6895037 w 11625583"/>
              <a:gd name="connsiteY2102" fmla="*/ 2700840 h 6380470"/>
              <a:gd name="connsiteX2103" fmla="*/ 6959703 w 11625583"/>
              <a:gd name="connsiteY2103" fmla="*/ 2765506 h 6380470"/>
              <a:gd name="connsiteX2104" fmla="*/ 6895037 w 11625583"/>
              <a:gd name="connsiteY2104" fmla="*/ 2830172 h 6380470"/>
              <a:gd name="connsiteX2105" fmla="*/ 6830371 w 11625583"/>
              <a:gd name="connsiteY2105" fmla="*/ 2765506 h 6380470"/>
              <a:gd name="connsiteX2106" fmla="*/ 6895037 w 11625583"/>
              <a:gd name="connsiteY2106" fmla="*/ 2700840 h 6380470"/>
              <a:gd name="connsiteX2107" fmla="*/ 6119999 w 11625583"/>
              <a:gd name="connsiteY2107" fmla="*/ 2700840 h 6380470"/>
              <a:gd name="connsiteX2108" fmla="*/ 6184665 w 11625583"/>
              <a:gd name="connsiteY2108" fmla="*/ 2765506 h 6380470"/>
              <a:gd name="connsiteX2109" fmla="*/ 6119999 w 11625583"/>
              <a:gd name="connsiteY2109" fmla="*/ 2830172 h 6380470"/>
              <a:gd name="connsiteX2110" fmla="*/ 6055333 w 11625583"/>
              <a:gd name="connsiteY2110" fmla="*/ 2765506 h 6380470"/>
              <a:gd name="connsiteX2111" fmla="*/ 6119999 w 11625583"/>
              <a:gd name="connsiteY2111" fmla="*/ 2700840 h 6380470"/>
              <a:gd name="connsiteX2112" fmla="*/ 5348883 w 11625583"/>
              <a:gd name="connsiteY2112" fmla="*/ 2700840 h 6380470"/>
              <a:gd name="connsiteX2113" fmla="*/ 5413550 w 11625583"/>
              <a:gd name="connsiteY2113" fmla="*/ 2765506 h 6380470"/>
              <a:gd name="connsiteX2114" fmla="*/ 5348883 w 11625583"/>
              <a:gd name="connsiteY2114" fmla="*/ 2830172 h 6380470"/>
              <a:gd name="connsiteX2115" fmla="*/ 5284222 w 11625583"/>
              <a:gd name="connsiteY2115" fmla="*/ 2765506 h 6380470"/>
              <a:gd name="connsiteX2116" fmla="*/ 5348883 w 11625583"/>
              <a:gd name="connsiteY2116" fmla="*/ 2700840 h 6380470"/>
              <a:gd name="connsiteX2117" fmla="*/ 2855515 w 11625583"/>
              <a:gd name="connsiteY2117" fmla="*/ 2700840 h 6380470"/>
              <a:gd name="connsiteX2118" fmla="*/ 2920176 w 11625583"/>
              <a:gd name="connsiteY2118" fmla="*/ 2765506 h 6380470"/>
              <a:gd name="connsiteX2119" fmla="*/ 2855515 w 11625583"/>
              <a:gd name="connsiteY2119" fmla="*/ 2830172 h 6380470"/>
              <a:gd name="connsiteX2120" fmla="*/ 2790855 w 11625583"/>
              <a:gd name="connsiteY2120" fmla="*/ 2765506 h 6380470"/>
              <a:gd name="connsiteX2121" fmla="*/ 2855515 w 11625583"/>
              <a:gd name="connsiteY2121" fmla="*/ 2700840 h 6380470"/>
              <a:gd name="connsiteX2122" fmla="*/ 2698955 w 11625583"/>
              <a:gd name="connsiteY2122" fmla="*/ 2700840 h 6380470"/>
              <a:gd name="connsiteX2123" fmla="*/ 2763616 w 11625583"/>
              <a:gd name="connsiteY2123" fmla="*/ 2765506 h 6380470"/>
              <a:gd name="connsiteX2124" fmla="*/ 2698955 w 11625583"/>
              <a:gd name="connsiteY2124" fmla="*/ 2830172 h 6380470"/>
              <a:gd name="connsiteX2125" fmla="*/ 2634295 w 11625583"/>
              <a:gd name="connsiteY2125" fmla="*/ 2765506 h 6380470"/>
              <a:gd name="connsiteX2126" fmla="*/ 2698955 w 11625583"/>
              <a:gd name="connsiteY2126" fmla="*/ 2700840 h 6380470"/>
              <a:gd name="connsiteX2127" fmla="*/ 2389740 w 11625583"/>
              <a:gd name="connsiteY2127" fmla="*/ 2700840 h 6380470"/>
              <a:gd name="connsiteX2128" fmla="*/ 2454407 w 11625583"/>
              <a:gd name="connsiteY2128" fmla="*/ 2765506 h 6380470"/>
              <a:gd name="connsiteX2129" fmla="*/ 2389740 w 11625583"/>
              <a:gd name="connsiteY2129" fmla="*/ 2830172 h 6380470"/>
              <a:gd name="connsiteX2130" fmla="*/ 2325073 w 11625583"/>
              <a:gd name="connsiteY2130" fmla="*/ 2765506 h 6380470"/>
              <a:gd name="connsiteX2131" fmla="*/ 2389740 w 11625583"/>
              <a:gd name="connsiteY2131" fmla="*/ 2700840 h 6380470"/>
              <a:gd name="connsiteX2132" fmla="*/ 2237065 w 11625583"/>
              <a:gd name="connsiteY2132" fmla="*/ 2700840 h 6380470"/>
              <a:gd name="connsiteX2133" fmla="*/ 2301741 w 11625583"/>
              <a:gd name="connsiteY2133" fmla="*/ 2765506 h 6380470"/>
              <a:gd name="connsiteX2134" fmla="*/ 2237065 w 11625583"/>
              <a:gd name="connsiteY2134" fmla="*/ 2830172 h 6380470"/>
              <a:gd name="connsiteX2135" fmla="*/ 2172389 w 11625583"/>
              <a:gd name="connsiteY2135" fmla="*/ 2765506 h 6380470"/>
              <a:gd name="connsiteX2136" fmla="*/ 2237065 w 11625583"/>
              <a:gd name="connsiteY2136" fmla="*/ 2700840 h 6380470"/>
              <a:gd name="connsiteX2137" fmla="*/ 2084396 w 11625583"/>
              <a:gd name="connsiteY2137" fmla="*/ 2700840 h 6380470"/>
              <a:gd name="connsiteX2138" fmla="*/ 2149059 w 11625583"/>
              <a:gd name="connsiteY2138" fmla="*/ 2765506 h 6380470"/>
              <a:gd name="connsiteX2139" fmla="*/ 2084396 w 11625583"/>
              <a:gd name="connsiteY2139" fmla="*/ 2830172 h 6380470"/>
              <a:gd name="connsiteX2140" fmla="*/ 2019738 w 11625583"/>
              <a:gd name="connsiteY2140" fmla="*/ 2765506 h 6380470"/>
              <a:gd name="connsiteX2141" fmla="*/ 2084396 w 11625583"/>
              <a:gd name="connsiteY2141" fmla="*/ 2700840 h 6380470"/>
              <a:gd name="connsiteX2142" fmla="*/ 1927818 w 11625583"/>
              <a:gd name="connsiteY2142" fmla="*/ 2700840 h 6380470"/>
              <a:gd name="connsiteX2143" fmla="*/ 1992493 w 11625583"/>
              <a:gd name="connsiteY2143" fmla="*/ 2765506 h 6380470"/>
              <a:gd name="connsiteX2144" fmla="*/ 1927818 w 11625583"/>
              <a:gd name="connsiteY2144" fmla="*/ 2830172 h 6380470"/>
              <a:gd name="connsiteX2145" fmla="*/ 1863165 w 11625583"/>
              <a:gd name="connsiteY2145" fmla="*/ 2765506 h 6380470"/>
              <a:gd name="connsiteX2146" fmla="*/ 1927818 w 11625583"/>
              <a:gd name="connsiteY2146" fmla="*/ 2700840 h 6380470"/>
              <a:gd name="connsiteX2147" fmla="*/ 1775160 w 11625583"/>
              <a:gd name="connsiteY2147" fmla="*/ 2700840 h 6380470"/>
              <a:gd name="connsiteX2148" fmla="*/ 1839836 w 11625583"/>
              <a:gd name="connsiteY2148" fmla="*/ 2765506 h 6380470"/>
              <a:gd name="connsiteX2149" fmla="*/ 1775160 w 11625583"/>
              <a:gd name="connsiteY2149" fmla="*/ 2830172 h 6380470"/>
              <a:gd name="connsiteX2150" fmla="*/ 1710491 w 11625583"/>
              <a:gd name="connsiteY2150" fmla="*/ 2765506 h 6380470"/>
              <a:gd name="connsiteX2151" fmla="*/ 1775160 w 11625583"/>
              <a:gd name="connsiteY2151" fmla="*/ 2700840 h 6380470"/>
              <a:gd name="connsiteX2152" fmla="*/ 8449023 w 11625583"/>
              <a:gd name="connsiteY2152" fmla="*/ 2700839 h 6380470"/>
              <a:gd name="connsiteX2153" fmla="*/ 8513689 w 11625583"/>
              <a:gd name="connsiteY2153" fmla="*/ 2765504 h 6380470"/>
              <a:gd name="connsiteX2154" fmla="*/ 8449023 w 11625583"/>
              <a:gd name="connsiteY2154" fmla="*/ 2830170 h 6380470"/>
              <a:gd name="connsiteX2155" fmla="*/ 8384357 w 11625583"/>
              <a:gd name="connsiteY2155" fmla="*/ 2765504 h 6380470"/>
              <a:gd name="connsiteX2156" fmla="*/ 8449023 w 11625583"/>
              <a:gd name="connsiteY2156" fmla="*/ 2700839 h 6380470"/>
              <a:gd name="connsiteX2157" fmla="*/ 8139792 w 11625583"/>
              <a:gd name="connsiteY2157" fmla="*/ 2700839 h 6380470"/>
              <a:gd name="connsiteX2158" fmla="*/ 8204458 w 11625583"/>
              <a:gd name="connsiteY2158" fmla="*/ 2765504 h 6380470"/>
              <a:gd name="connsiteX2159" fmla="*/ 8139792 w 11625583"/>
              <a:gd name="connsiteY2159" fmla="*/ 2830170 h 6380470"/>
              <a:gd name="connsiteX2160" fmla="*/ 8075126 w 11625583"/>
              <a:gd name="connsiteY2160" fmla="*/ 2765504 h 6380470"/>
              <a:gd name="connsiteX2161" fmla="*/ 8139792 w 11625583"/>
              <a:gd name="connsiteY2161" fmla="*/ 2700839 h 6380470"/>
              <a:gd name="connsiteX2162" fmla="*/ 7987133 w 11625583"/>
              <a:gd name="connsiteY2162" fmla="*/ 2700839 h 6380470"/>
              <a:gd name="connsiteX2163" fmla="*/ 8051799 w 11625583"/>
              <a:gd name="connsiteY2163" fmla="*/ 2765504 h 6380470"/>
              <a:gd name="connsiteX2164" fmla="*/ 7987133 w 11625583"/>
              <a:gd name="connsiteY2164" fmla="*/ 2830170 h 6380470"/>
              <a:gd name="connsiteX2165" fmla="*/ 7922467 w 11625583"/>
              <a:gd name="connsiteY2165" fmla="*/ 2765504 h 6380470"/>
              <a:gd name="connsiteX2166" fmla="*/ 7987133 w 11625583"/>
              <a:gd name="connsiteY2166" fmla="*/ 2700839 h 6380470"/>
              <a:gd name="connsiteX2167" fmla="*/ 7830562 w 11625583"/>
              <a:gd name="connsiteY2167" fmla="*/ 2700839 h 6380470"/>
              <a:gd name="connsiteX2168" fmla="*/ 7895228 w 11625583"/>
              <a:gd name="connsiteY2168" fmla="*/ 2765504 h 6380470"/>
              <a:gd name="connsiteX2169" fmla="*/ 7830562 w 11625583"/>
              <a:gd name="connsiteY2169" fmla="*/ 2830170 h 6380470"/>
              <a:gd name="connsiteX2170" fmla="*/ 7765896 w 11625583"/>
              <a:gd name="connsiteY2170" fmla="*/ 2765504 h 6380470"/>
              <a:gd name="connsiteX2171" fmla="*/ 7830562 w 11625583"/>
              <a:gd name="connsiteY2171" fmla="*/ 2700839 h 6380470"/>
              <a:gd name="connsiteX2172" fmla="*/ 7368669 w 11625583"/>
              <a:gd name="connsiteY2172" fmla="*/ 2700839 h 6380470"/>
              <a:gd name="connsiteX2173" fmla="*/ 7433335 w 11625583"/>
              <a:gd name="connsiteY2173" fmla="*/ 2765504 h 6380470"/>
              <a:gd name="connsiteX2174" fmla="*/ 7368669 w 11625583"/>
              <a:gd name="connsiteY2174" fmla="*/ 2830170 h 6380470"/>
              <a:gd name="connsiteX2175" fmla="*/ 7304003 w 11625583"/>
              <a:gd name="connsiteY2175" fmla="*/ 2765504 h 6380470"/>
              <a:gd name="connsiteX2176" fmla="*/ 7368669 w 11625583"/>
              <a:gd name="connsiteY2176" fmla="*/ 2700839 h 6380470"/>
              <a:gd name="connsiteX2177" fmla="*/ 6742375 w 11625583"/>
              <a:gd name="connsiteY2177" fmla="*/ 2700839 h 6380470"/>
              <a:gd name="connsiteX2178" fmla="*/ 6807041 w 11625583"/>
              <a:gd name="connsiteY2178" fmla="*/ 2765504 h 6380470"/>
              <a:gd name="connsiteX2179" fmla="*/ 6742375 w 11625583"/>
              <a:gd name="connsiteY2179" fmla="*/ 2830170 h 6380470"/>
              <a:gd name="connsiteX2180" fmla="*/ 6677709 w 11625583"/>
              <a:gd name="connsiteY2180" fmla="*/ 2765504 h 6380470"/>
              <a:gd name="connsiteX2181" fmla="*/ 6742375 w 11625583"/>
              <a:gd name="connsiteY2181" fmla="*/ 2700839 h 6380470"/>
              <a:gd name="connsiteX2182" fmla="*/ 6429229 w 11625583"/>
              <a:gd name="connsiteY2182" fmla="*/ 2700839 h 6380470"/>
              <a:gd name="connsiteX2183" fmla="*/ 6493895 w 11625583"/>
              <a:gd name="connsiteY2183" fmla="*/ 2765504 h 6380470"/>
              <a:gd name="connsiteX2184" fmla="*/ 6429229 w 11625583"/>
              <a:gd name="connsiteY2184" fmla="*/ 2830170 h 6380470"/>
              <a:gd name="connsiteX2185" fmla="*/ 6364563 w 11625583"/>
              <a:gd name="connsiteY2185" fmla="*/ 2765504 h 6380470"/>
              <a:gd name="connsiteX2186" fmla="*/ 6429229 w 11625583"/>
              <a:gd name="connsiteY2186" fmla="*/ 2700839 h 6380470"/>
              <a:gd name="connsiteX2187" fmla="*/ 6276571 w 11625583"/>
              <a:gd name="connsiteY2187" fmla="*/ 2700839 h 6380470"/>
              <a:gd name="connsiteX2188" fmla="*/ 6341237 w 11625583"/>
              <a:gd name="connsiteY2188" fmla="*/ 2765504 h 6380470"/>
              <a:gd name="connsiteX2189" fmla="*/ 6276571 w 11625583"/>
              <a:gd name="connsiteY2189" fmla="*/ 2830170 h 6380470"/>
              <a:gd name="connsiteX2190" fmla="*/ 6211905 w 11625583"/>
              <a:gd name="connsiteY2190" fmla="*/ 2765504 h 6380470"/>
              <a:gd name="connsiteX2191" fmla="*/ 6276571 w 11625583"/>
              <a:gd name="connsiteY2191" fmla="*/ 2700839 h 6380470"/>
              <a:gd name="connsiteX2192" fmla="*/ 5967338 w 11625583"/>
              <a:gd name="connsiteY2192" fmla="*/ 2700839 h 6380470"/>
              <a:gd name="connsiteX2193" fmla="*/ 6032004 w 11625583"/>
              <a:gd name="connsiteY2193" fmla="*/ 2765504 h 6380470"/>
              <a:gd name="connsiteX2194" fmla="*/ 5967338 w 11625583"/>
              <a:gd name="connsiteY2194" fmla="*/ 2830170 h 6380470"/>
              <a:gd name="connsiteX2195" fmla="*/ 5902672 w 11625583"/>
              <a:gd name="connsiteY2195" fmla="*/ 2765504 h 6380470"/>
              <a:gd name="connsiteX2196" fmla="*/ 5967338 w 11625583"/>
              <a:gd name="connsiteY2196" fmla="*/ 2700839 h 6380470"/>
              <a:gd name="connsiteX2197" fmla="*/ 5810785 w 11625583"/>
              <a:gd name="connsiteY2197" fmla="*/ 2700839 h 6380470"/>
              <a:gd name="connsiteX2198" fmla="*/ 5875431 w 11625583"/>
              <a:gd name="connsiteY2198" fmla="*/ 2765504 h 6380470"/>
              <a:gd name="connsiteX2199" fmla="*/ 5810785 w 11625583"/>
              <a:gd name="connsiteY2199" fmla="*/ 2830170 h 6380470"/>
              <a:gd name="connsiteX2200" fmla="*/ 5746110 w 11625583"/>
              <a:gd name="connsiteY2200" fmla="*/ 2765504 h 6380470"/>
              <a:gd name="connsiteX2201" fmla="*/ 5810785 w 11625583"/>
              <a:gd name="connsiteY2201" fmla="*/ 2700839 h 6380470"/>
              <a:gd name="connsiteX2202" fmla="*/ 5658107 w 11625583"/>
              <a:gd name="connsiteY2202" fmla="*/ 2700839 h 6380470"/>
              <a:gd name="connsiteX2203" fmla="*/ 5722779 w 11625583"/>
              <a:gd name="connsiteY2203" fmla="*/ 2765504 h 6380470"/>
              <a:gd name="connsiteX2204" fmla="*/ 5658107 w 11625583"/>
              <a:gd name="connsiteY2204" fmla="*/ 2830170 h 6380470"/>
              <a:gd name="connsiteX2205" fmla="*/ 5593441 w 11625583"/>
              <a:gd name="connsiteY2205" fmla="*/ 2765504 h 6380470"/>
              <a:gd name="connsiteX2206" fmla="*/ 5658107 w 11625583"/>
              <a:gd name="connsiteY2206" fmla="*/ 2700839 h 6380470"/>
              <a:gd name="connsiteX2207" fmla="*/ 5501539 w 11625583"/>
              <a:gd name="connsiteY2207" fmla="*/ 2700839 h 6380470"/>
              <a:gd name="connsiteX2208" fmla="*/ 5566202 w 11625583"/>
              <a:gd name="connsiteY2208" fmla="*/ 2765504 h 6380470"/>
              <a:gd name="connsiteX2209" fmla="*/ 5501539 w 11625583"/>
              <a:gd name="connsiteY2209" fmla="*/ 2830170 h 6380470"/>
              <a:gd name="connsiteX2210" fmla="*/ 5436879 w 11625583"/>
              <a:gd name="connsiteY2210" fmla="*/ 2765504 h 6380470"/>
              <a:gd name="connsiteX2211" fmla="*/ 5501539 w 11625583"/>
              <a:gd name="connsiteY2211" fmla="*/ 2700839 h 6380470"/>
              <a:gd name="connsiteX2212" fmla="*/ 5192312 w 11625583"/>
              <a:gd name="connsiteY2212" fmla="*/ 2700839 h 6380470"/>
              <a:gd name="connsiteX2213" fmla="*/ 5256977 w 11625583"/>
              <a:gd name="connsiteY2213" fmla="*/ 2765504 h 6380470"/>
              <a:gd name="connsiteX2214" fmla="*/ 5192312 w 11625583"/>
              <a:gd name="connsiteY2214" fmla="*/ 2830170 h 6380470"/>
              <a:gd name="connsiteX2215" fmla="*/ 5127646 w 11625583"/>
              <a:gd name="connsiteY2215" fmla="*/ 2765504 h 6380470"/>
              <a:gd name="connsiteX2216" fmla="*/ 5192312 w 11625583"/>
              <a:gd name="connsiteY2216" fmla="*/ 2700839 h 6380470"/>
              <a:gd name="connsiteX2217" fmla="*/ 2546309 w 11625583"/>
              <a:gd name="connsiteY2217" fmla="*/ 2700839 h 6380470"/>
              <a:gd name="connsiteX2218" fmla="*/ 2610971 w 11625583"/>
              <a:gd name="connsiteY2218" fmla="*/ 2765504 h 6380470"/>
              <a:gd name="connsiteX2219" fmla="*/ 2546309 w 11625583"/>
              <a:gd name="connsiteY2219" fmla="*/ 2830170 h 6380470"/>
              <a:gd name="connsiteX2220" fmla="*/ 2481648 w 11625583"/>
              <a:gd name="connsiteY2220" fmla="*/ 2765504 h 6380470"/>
              <a:gd name="connsiteX2221" fmla="*/ 2546309 w 11625583"/>
              <a:gd name="connsiteY2221" fmla="*/ 2700839 h 6380470"/>
              <a:gd name="connsiteX2222" fmla="*/ 9384550 w 11625583"/>
              <a:gd name="connsiteY2222" fmla="*/ 2700836 h 6380470"/>
              <a:gd name="connsiteX2223" fmla="*/ 9449216 w 11625583"/>
              <a:gd name="connsiteY2223" fmla="*/ 2765504 h 6380470"/>
              <a:gd name="connsiteX2224" fmla="*/ 9384550 w 11625583"/>
              <a:gd name="connsiteY2224" fmla="*/ 2830169 h 6380470"/>
              <a:gd name="connsiteX2225" fmla="*/ 9319884 w 11625583"/>
              <a:gd name="connsiteY2225" fmla="*/ 2765504 h 6380470"/>
              <a:gd name="connsiteX2226" fmla="*/ 9384550 w 11625583"/>
              <a:gd name="connsiteY2226" fmla="*/ 2700836 h 6380470"/>
              <a:gd name="connsiteX2227" fmla="*/ 9227977 w 11625583"/>
              <a:gd name="connsiteY2227" fmla="*/ 2700836 h 6380470"/>
              <a:gd name="connsiteX2228" fmla="*/ 9292643 w 11625583"/>
              <a:gd name="connsiteY2228" fmla="*/ 2765504 h 6380470"/>
              <a:gd name="connsiteX2229" fmla="*/ 9227977 w 11625583"/>
              <a:gd name="connsiteY2229" fmla="*/ 2830169 h 6380470"/>
              <a:gd name="connsiteX2230" fmla="*/ 9163311 w 11625583"/>
              <a:gd name="connsiteY2230" fmla="*/ 2765504 h 6380470"/>
              <a:gd name="connsiteX2231" fmla="*/ 9227977 w 11625583"/>
              <a:gd name="connsiteY2231" fmla="*/ 2700836 h 6380470"/>
              <a:gd name="connsiteX2232" fmla="*/ 9075319 w 11625583"/>
              <a:gd name="connsiteY2232" fmla="*/ 2700836 h 6380470"/>
              <a:gd name="connsiteX2233" fmla="*/ 9139985 w 11625583"/>
              <a:gd name="connsiteY2233" fmla="*/ 2765504 h 6380470"/>
              <a:gd name="connsiteX2234" fmla="*/ 9075319 w 11625583"/>
              <a:gd name="connsiteY2234" fmla="*/ 2830169 h 6380470"/>
              <a:gd name="connsiteX2235" fmla="*/ 9010653 w 11625583"/>
              <a:gd name="connsiteY2235" fmla="*/ 2765504 h 6380470"/>
              <a:gd name="connsiteX2236" fmla="*/ 9075319 w 11625583"/>
              <a:gd name="connsiteY2236" fmla="*/ 2700836 h 6380470"/>
              <a:gd name="connsiteX2237" fmla="*/ 8914831 w 11625583"/>
              <a:gd name="connsiteY2237" fmla="*/ 2700836 h 6380470"/>
              <a:gd name="connsiteX2238" fmla="*/ 8979497 w 11625583"/>
              <a:gd name="connsiteY2238" fmla="*/ 2765504 h 6380470"/>
              <a:gd name="connsiteX2239" fmla="*/ 8914831 w 11625583"/>
              <a:gd name="connsiteY2239" fmla="*/ 2830169 h 6380470"/>
              <a:gd name="connsiteX2240" fmla="*/ 8850165 w 11625583"/>
              <a:gd name="connsiteY2240" fmla="*/ 2765504 h 6380470"/>
              <a:gd name="connsiteX2241" fmla="*/ 8914831 w 11625583"/>
              <a:gd name="connsiteY2241" fmla="*/ 2700836 h 6380470"/>
              <a:gd name="connsiteX2242" fmla="*/ 8766086 w 11625583"/>
              <a:gd name="connsiteY2242" fmla="*/ 2700836 h 6380470"/>
              <a:gd name="connsiteX2243" fmla="*/ 8830752 w 11625583"/>
              <a:gd name="connsiteY2243" fmla="*/ 2765504 h 6380470"/>
              <a:gd name="connsiteX2244" fmla="*/ 8766086 w 11625583"/>
              <a:gd name="connsiteY2244" fmla="*/ 2830169 h 6380470"/>
              <a:gd name="connsiteX2245" fmla="*/ 8701420 w 11625583"/>
              <a:gd name="connsiteY2245" fmla="*/ 2765504 h 6380470"/>
              <a:gd name="connsiteX2246" fmla="*/ 8766086 w 11625583"/>
              <a:gd name="connsiteY2246" fmla="*/ 2700836 h 6380470"/>
              <a:gd name="connsiteX2247" fmla="*/ 8601683 w 11625583"/>
              <a:gd name="connsiteY2247" fmla="*/ 2700836 h 6380470"/>
              <a:gd name="connsiteX2248" fmla="*/ 8666349 w 11625583"/>
              <a:gd name="connsiteY2248" fmla="*/ 2765504 h 6380470"/>
              <a:gd name="connsiteX2249" fmla="*/ 8601683 w 11625583"/>
              <a:gd name="connsiteY2249" fmla="*/ 2830169 h 6380470"/>
              <a:gd name="connsiteX2250" fmla="*/ 8537017 w 11625583"/>
              <a:gd name="connsiteY2250" fmla="*/ 2765504 h 6380470"/>
              <a:gd name="connsiteX2251" fmla="*/ 8601683 w 11625583"/>
              <a:gd name="connsiteY2251" fmla="*/ 2700836 h 6380470"/>
              <a:gd name="connsiteX2252" fmla="*/ 10003015 w 11625583"/>
              <a:gd name="connsiteY2252" fmla="*/ 2559922 h 6380470"/>
              <a:gd name="connsiteX2253" fmla="*/ 10067681 w 11625583"/>
              <a:gd name="connsiteY2253" fmla="*/ 2624589 h 6380470"/>
              <a:gd name="connsiteX2254" fmla="*/ 10003015 w 11625583"/>
              <a:gd name="connsiteY2254" fmla="*/ 2689256 h 6380470"/>
              <a:gd name="connsiteX2255" fmla="*/ 9938349 w 11625583"/>
              <a:gd name="connsiteY2255" fmla="*/ 2624589 h 6380470"/>
              <a:gd name="connsiteX2256" fmla="*/ 10003015 w 11625583"/>
              <a:gd name="connsiteY2256" fmla="*/ 2559922 h 6380470"/>
              <a:gd name="connsiteX2257" fmla="*/ 9850356 w 11625583"/>
              <a:gd name="connsiteY2257" fmla="*/ 2559922 h 6380470"/>
              <a:gd name="connsiteX2258" fmla="*/ 9915022 w 11625583"/>
              <a:gd name="connsiteY2258" fmla="*/ 2624589 h 6380470"/>
              <a:gd name="connsiteX2259" fmla="*/ 9850356 w 11625583"/>
              <a:gd name="connsiteY2259" fmla="*/ 2689256 h 6380470"/>
              <a:gd name="connsiteX2260" fmla="*/ 9785690 w 11625583"/>
              <a:gd name="connsiteY2260" fmla="*/ 2624589 h 6380470"/>
              <a:gd name="connsiteX2261" fmla="*/ 9850356 w 11625583"/>
              <a:gd name="connsiteY2261" fmla="*/ 2559922 h 6380470"/>
              <a:gd name="connsiteX2262" fmla="*/ 9384549 w 11625583"/>
              <a:gd name="connsiteY2262" fmla="*/ 2559922 h 6380470"/>
              <a:gd name="connsiteX2263" fmla="*/ 9449215 w 11625583"/>
              <a:gd name="connsiteY2263" fmla="*/ 2624589 h 6380470"/>
              <a:gd name="connsiteX2264" fmla="*/ 9384549 w 11625583"/>
              <a:gd name="connsiteY2264" fmla="*/ 2689256 h 6380470"/>
              <a:gd name="connsiteX2265" fmla="*/ 9319883 w 11625583"/>
              <a:gd name="connsiteY2265" fmla="*/ 2624589 h 6380470"/>
              <a:gd name="connsiteX2266" fmla="*/ 9384549 w 11625583"/>
              <a:gd name="connsiteY2266" fmla="*/ 2559922 h 6380470"/>
              <a:gd name="connsiteX2267" fmla="*/ 9227976 w 11625583"/>
              <a:gd name="connsiteY2267" fmla="*/ 2559922 h 6380470"/>
              <a:gd name="connsiteX2268" fmla="*/ 9292642 w 11625583"/>
              <a:gd name="connsiteY2268" fmla="*/ 2624589 h 6380470"/>
              <a:gd name="connsiteX2269" fmla="*/ 9227976 w 11625583"/>
              <a:gd name="connsiteY2269" fmla="*/ 2689256 h 6380470"/>
              <a:gd name="connsiteX2270" fmla="*/ 9163310 w 11625583"/>
              <a:gd name="connsiteY2270" fmla="*/ 2624589 h 6380470"/>
              <a:gd name="connsiteX2271" fmla="*/ 9227976 w 11625583"/>
              <a:gd name="connsiteY2271" fmla="*/ 2559922 h 6380470"/>
              <a:gd name="connsiteX2272" fmla="*/ 9075317 w 11625583"/>
              <a:gd name="connsiteY2272" fmla="*/ 2559922 h 6380470"/>
              <a:gd name="connsiteX2273" fmla="*/ 9139983 w 11625583"/>
              <a:gd name="connsiteY2273" fmla="*/ 2624589 h 6380470"/>
              <a:gd name="connsiteX2274" fmla="*/ 9075317 w 11625583"/>
              <a:gd name="connsiteY2274" fmla="*/ 2689256 h 6380470"/>
              <a:gd name="connsiteX2275" fmla="*/ 9010651 w 11625583"/>
              <a:gd name="connsiteY2275" fmla="*/ 2624589 h 6380470"/>
              <a:gd name="connsiteX2276" fmla="*/ 9075317 w 11625583"/>
              <a:gd name="connsiteY2276" fmla="*/ 2559922 h 6380470"/>
              <a:gd name="connsiteX2277" fmla="*/ 8914829 w 11625583"/>
              <a:gd name="connsiteY2277" fmla="*/ 2559922 h 6380470"/>
              <a:gd name="connsiteX2278" fmla="*/ 8979495 w 11625583"/>
              <a:gd name="connsiteY2278" fmla="*/ 2624589 h 6380470"/>
              <a:gd name="connsiteX2279" fmla="*/ 8914829 w 11625583"/>
              <a:gd name="connsiteY2279" fmla="*/ 2689256 h 6380470"/>
              <a:gd name="connsiteX2280" fmla="*/ 8850163 w 11625583"/>
              <a:gd name="connsiteY2280" fmla="*/ 2624589 h 6380470"/>
              <a:gd name="connsiteX2281" fmla="*/ 8914829 w 11625583"/>
              <a:gd name="connsiteY2281" fmla="*/ 2559922 h 6380470"/>
              <a:gd name="connsiteX2282" fmla="*/ 8766084 w 11625583"/>
              <a:gd name="connsiteY2282" fmla="*/ 2559922 h 6380470"/>
              <a:gd name="connsiteX2283" fmla="*/ 8830750 w 11625583"/>
              <a:gd name="connsiteY2283" fmla="*/ 2624589 h 6380470"/>
              <a:gd name="connsiteX2284" fmla="*/ 8766084 w 11625583"/>
              <a:gd name="connsiteY2284" fmla="*/ 2689256 h 6380470"/>
              <a:gd name="connsiteX2285" fmla="*/ 8701418 w 11625583"/>
              <a:gd name="connsiteY2285" fmla="*/ 2624589 h 6380470"/>
              <a:gd name="connsiteX2286" fmla="*/ 8766084 w 11625583"/>
              <a:gd name="connsiteY2286" fmla="*/ 2559922 h 6380470"/>
              <a:gd name="connsiteX2287" fmla="*/ 8601683 w 11625583"/>
              <a:gd name="connsiteY2287" fmla="*/ 2559922 h 6380470"/>
              <a:gd name="connsiteX2288" fmla="*/ 8666349 w 11625583"/>
              <a:gd name="connsiteY2288" fmla="*/ 2624589 h 6380470"/>
              <a:gd name="connsiteX2289" fmla="*/ 8601683 w 11625583"/>
              <a:gd name="connsiteY2289" fmla="*/ 2689256 h 6380470"/>
              <a:gd name="connsiteX2290" fmla="*/ 8537017 w 11625583"/>
              <a:gd name="connsiteY2290" fmla="*/ 2624589 h 6380470"/>
              <a:gd name="connsiteX2291" fmla="*/ 8601683 w 11625583"/>
              <a:gd name="connsiteY2291" fmla="*/ 2559922 h 6380470"/>
              <a:gd name="connsiteX2292" fmla="*/ 8449023 w 11625583"/>
              <a:gd name="connsiteY2292" fmla="*/ 2559922 h 6380470"/>
              <a:gd name="connsiteX2293" fmla="*/ 8513689 w 11625583"/>
              <a:gd name="connsiteY2293" fmla="*/ 2624589 h 6380470"/>
              <a:gd name="connsiteX2294" fmla="*/ 8449023 w 11625583"/>
              <a:gd name="connsiteY2294" fmla="*/ 2689256 h 6380470"/>
              <a:gd name="connsiteX2295" fmla="*/ 8384357 w 11625583"/>
              <a:gd name="connsiteY2295" fmla="*/ 2624589 h 6380470"/>
              <a:gd name="connsiteX2296" fmla="*/ 8449023 w 11625583"/>
              <a:gd name="connsiteY2296" fmla="*/ 2559922 h 6380470"/>
              <a:gd name="connsiteX2297" fmla="*/ 8296367 w 11625583"/>
              <a:gd name="connsiteY2297" fmla="*/ 2559922 h 6380470"/>
              <a:gd name="connsiteX2298" fmla="*/ 8361033 w 11625583"/>
              <a:gd name="connsiteY2298" fmla="*/ 2624589 h 6380470"/>
              <a:gd name="connsiteX2299" fmla="*/ 8296367 w 11625583"/>
              <a:gd name="connsiteY2299" fmla="*/ 2689256 h 6380470"/>
              <a:gd name="connsiteX2300" fmla="*/ 8231701 w 11625583"/>
              <a:gd name="connsiteY2300" fmla="*/ 2624589 h 6380470"/>
              <a:gd name="connsiteX2301" fmla="*/ 8296367 w 11625583"/>
              <a:gd name="connsiteY2301" fmla="*/ 2559922 h 6380470"/>
              <a:gd name="connsiteX2302" fmla="*/ 8139792 w 11625583"/>
              <a:gd name="connsiteY2302" fmla="*/ 2559922 h 6380470"/>
              <a:gd name="connsiteX2303" fmla="*/ 8204458 w 11625583"/>
              <a:gd name="connsiteY2303" fmla="*/ 2624589 h 6380470"/>
              <a:gd name="connsiteX2304" fmla="*/ 8139792 w 11625583"/>
              <a:gd name="connsiteY2304" fmla="*/ 2689256 h 6380470"/>
              <a:gd name="connsiteX2305" fmla="*/ 8075126 w 11625583"/>
              <a:gd name="connsiteY2305" fmla="*/ 2624589 h 6380470"/>
              <a:gd name="connsiteX2306" fmla="*/ 8139792 w 11625583"/>
              <a:gd name="connsiteY2306" fmla="*/ 2559922 h 6380470"/>
              <a:gd name="connsiteX2307" fmla="*/ 7987133 w 11625583"/>
              <a:gd name="connsiteY2307" fmla="*/ 2559922 h 6380470"/>
              <a:gd name="connsiteX2308" fmla="*/ 8051799 w 11625583"/>
              <a:gd name="connsiteY2308" fmla="*/ 2624589 h 6380470"/>
              <a:gd name="connsiteX2309" fmla="*/ 7987133 w 11625583"/>
              <a:gd name="connsiteY2309" fmla="*/ 2689256 h 6380470"/>
              <a:gd name="connsiteX2310" fmla="*/ 7922467 w 11625583"/>
              <a:gd name="connsiteY2310" fmla="*/ 2624589 h 6380470"/>
              <a:gd name="connsiteX2311" fmla="*/ 7987133 w 11625583"/>
              <a:gd name="connsiteY2311" fmla="*/ 2559922 h 6380470"/>
              <a:gd name="connsiteX2312" fmla="*/ 7830562 w 11625583"/>
              <a:gd name="connsiteY2312" fmla="*/ 2559922 h 6380470"/>
              <a:gd name="connsiteX2313" fmla="*/ 7895228 w 11625583"/>
              <a:gd name="connsiteY2313" fmla="*/ 2624589 h 6380470"/>
              <a:gd name="connsiteX2314" fmla="*/ 7830562 w 11625583"/>
              <a:gd name="connsiteY2314" fmla="*/ 2689256 h 6380470"/>
              <a:gd name="connsiteX2315" fmla="*/ 7765896 w 11625583"/>
              <a:gd name="connsiteY2315" fmla="*/ 2624589 h 6380470"/>
              <a:gd name="connsiteX2316" fmla="*/ 7830562 w 11625583"/>
              <a:gd name="connsiteY2316" fmla="*/ 2559922 h 6380470"/>
              <a:gd name="connsiteX2317" fmla="*/ 7677902 w 11625583"/>
              <a:gd name="connsiteY2317" fmla="*/ 2559922 h 6380470"/>
              <a:gd name="connsiteX2318" fmla="*/ 7742568 w 11625583"/>
              <a:gd name="connsiteY2318" fmla="*/ 2624589 h 6380470"/>
              <a:gd name="connsiteX2319" fmla="*/ 7677902 w 11625583"/>
              <a:gd name="connsiteY2319" fmla="*/ 2689256 h 6380470"/>
              <a:gd name="connsiteX2320" fmla="*/ 7613236 w 11625583"/>
              <a:gd name="connsiteY2320" fmla="*/ 2624589 h 6380470"/>
              <a:gd name="connsiteX2321" fmla="*/ 7677902 w 11625583"/>
              <a:gd name="connsiteY2321" fmla="*/ 2559922 h 6380470"/>
              <a:gd name="connsiteX2322" fmla="*/ 7521329 w 11625583"/>
              <a:gd name="connsiteY2322" fmla="*/ 2559922 h 6380470"/>
              <a:gd name="connsiteX2323" fmla="*/ 7585995 w 11625583"/>
              <a:gd name="connsiteY2323" fmla="*/ 2624589 h 6380470"/>
              <a:gd name="connsiteX2324" fmla="*/ 7521329 w 11625583"/>
              <a:gd name="connsiteY2324" fmla="*/ 2689256 h 6380470"/>
              <a:gd name="connsiteX2325" fmla="*/ 7456663 w 11625583"/>
              <a:gd name="connsiteY2325" fmla="*/ 2624589 h 6380470"/>
              <a:gd name="connsiteX2326" fmla="*/ 7521329 w 11625583"/>
              <a:gd name="connsiteY2326" fmla="*/ 2559922 h 6380470"/>
              <a:gd name="connsiteX2327" fmla="*/ 7368669 w 11625583"/>
              <a:gd name="connsiteY2327" fmla="*/ 2559922 h 6380470"/>
              <a:gd name="connsiteX2328" fmla="*/ 7433335 w 11625583"/>
              <a:gd name="connsiteY2328" fmla="*/ 2624589 h 6380470"/>
              <a:gd name="connsiteX2329" fmla="*/ 7368669 w 11625583"/>
              <a:gd name="connsiteY2329" fmla="*/ 2689256 h 6380470"/>
              <a:gd name="connsiteX2330" fmla="*/ 7304003 w 11625583"/>
              <a:gd name="connsiteY2330" fmla="*/ 2624589 h 6380470"/>
              <a:gd name="connsiteX2331" fmla="*/ 7368669 w 11625583"/>
              <a:gd name="connsiteY2331" fmla="*/ 2559922 h 6380470"/>
              <a:gd name="connsiteX2332" fmla="*/ 7212096 w 11625583"/>
              <a:gd name="connsiteY2332" fmla="*/ 2559922 h 6380470"/>
              <a:gd name="connsiteX2333" fmla="*/ 7276762 w 11625583"/>
              <a:gd name="connsiteY2333" fmla="*/ 2624589 h 6380470"/>
              <a:gd name="connsiteX2334" fmla="*/ 7212096 w 11625583"/>
              <a:gd name="connsiteY2334" fmla="*/ 2689256 h 6380470"/>
              <a:gd name="connsiteX2335" fmla="*/ 7147430 w 11625583"/>
              <a:gd name="connsiteY2335" fmla="*/ 2624589 h 6380470"/>
              <a:gd name="connsiteX2336" fmla="*/ 7212096 w 11625583"/>
              <a:gd name="connsiteY2336" fmla="*/ 2559922 h 6380470"/>
              <a:gd name="connsiteX2337" fmla="*/ 7055523 w 11625583"/>
              <a:gd name="connsiteY2337" fmla="*/ 2559922 h 6380470"/>
              <a:gd name="connsiteX2338" fmla="*/ 7120189 w 11625583"/>
              <a:gd name="connsiteY2338" fmla="*/ 2624589 h 6380470"/>
              <a:gd name="connsiteX2339" fmla="*/ 7055523 w 11625583"/>
              <a:gd name="connsiteY2339" fmla="*/ 2689256 h 6380470"/>
              <a:gd name="connsiteX2340" fmla="*/ 6990857 w 11625583"/>
              <a:gd name="connsiteY2340" fmla="*/ 2624589 h 6380470"/>
              <a:gd name="connsiteX2341" fmla="*/ 7055523 w 11625583"/>
              <a:gd name="connsiteY2341" fmla="*/ 2559922 h 6380470"/>
              <a:gd name="connsiteX2342" fmla="*/ 6895037 w 11625583"/>
              <a:gd name="connsiteY2342" fmla="*/ 2559922 h 6380470"/>
              <a:gd name="connsiteX2343" fmla="*/ 6959703 w 11625583"/>
              <a:gd name="connsiteY2343" fmla="*/ 2624589 h 6380470"/>
              <a:gd name="connsiteX2344" fmla="*/ 6895037 w 11625583"/>
              <a:gd name="connsiteY2344" fmla="*/ 2689256 h 6380470"/>
              <a:gd name="connsiteX2345" fmla="*/ 6830371 w 11625583"/>
              <a:gd name="connsiteY2345" fmla="*/ 2624589 h 6380470"/>
              <a:gd name="connsiteX2346" fmla="*/ 6895037 w 11625583"/>
              <a:gd name="connsiteY2346" fmla="*/ 2559922 h 6380470"/>
              <a:gd name="connsiteX2347" fmla="*/ 6742375 w 11625583"/>
              <a:gd name="connsiteY2347" fmla="*/ 2559922 h 6380470"/>
              <a:gd name="connsiteX2348" fmla="*/ 6807041 w 11625583"/>
              <a:gd name="connsiteY2348" fmla="*/ 2624589 h 6380470"/>
              <a:gd name="connsiteX2349" fmla="*/ 6742375 w 11625583"/>
              <a:gd name="connsiteY2349" fmla="*/ 2689256 h 6380470"/>
              <a:gd name="connsiteX2350" fmla="*/ 6677709 w 11625583"/>
              <a:gd name="connsiteY2350" fmla="*/ 2624589 h 6380470"/>
              <a:gd name="connsiteX2351" fmla="*/ 6742375 w 11625583"/>
              <a:gd name="connsiteY2351" fmla="*/ 2559922 h 6380470"/>
              <a:gd name="connsiteX2352" fmla="*/ 5810787 w 11625583"/>
              <a:gd name="connsiteY2352" fmla="*/ 2559922 h 6380470"/>
              <a:gd name="connsiteX2353" fmla="*/ 5875431 w 11625583"/>
              <a:gd name="connsiteY2353" fmla="*/ 2624589 h 6380470"/>
              <a:gd name="connsiteX2354" fmla="*/ 5810787 w 11625583"/>
              <a:gd name="connsiteY2354" fmla="*/ 2689256 h 6380470"/>
              <a:gd name="connsiteX2355" fmla="*/ 5746110 w 11625583"/>
              <a:gd name="connsiteY2355" fmla="*/ 2624589 h 6380470"/>
              <a:gd name="connsiteX2356" fmla="*/ 5810787 w 11625583"/>
              <a:gd name="connsiteY2356" fmla="*/ 2559922 h 6380470"/>
              <a:gd name="connsiteX2357" fmla="*/ 5658107 w 11625583"/>
              <a:gd name="connsiteY2357" fmla="*/ 2559922 h 6380470"/>
              <a:gd name="connsiteX2358" fmla="*/ 5722779 w 11625583"/>
              <a:gd name="connsiteY2358" fmla="*/ 2624589 h 6380470"/>
              <a:gd name="connsiteX2359" fmla="*/ 5658107 w 11625583"/>
              <a:gd name="connsiteY2359" fmla="*/ 2689256 h 6380470"/>
              <a:gd name="connsiteX2360" fmla="*/ 5593441 w 11625583"/>
              <a:gd name="connsiteY2360" fmla="*/ 2624589 h 6380470"/>
              <a:gd name="connsiteX2361" fmla="*/ 5658107 w 11625583"/>
              <a:gd name="connsiteY2361" fmla="*/ 2559922 h 6380470"/>
              <a:gd name="connsiteX2362" fmla="*/ 5501539 w 11625583"/>
              <a:gd name="connsiteY2362" fmla="*/ 2559922 h 6380470"/>
              <a:gd name="connsiteX2363" fmla="*/ 5566203 w 11625583"/>
              <a:gd name="connsiteY2363" fmla="*/ 2624589 h 6380470"/>
              <a:gd name="connsiteX2364" fmla="*/ 5501539 w 11625583"/>
              <a:gd name="connsiteY2364" fmla="*/ 2689256 h 6380470"/>
              <a:gd name="connsiteX2365" fmla="*/ 5436879 w 11625583"/>
              <a:gd name="connsiteY2365" fmla="*/ 2624589 h 6380470"/>
              <a:gd name="connsiteX2366" fmla="*/ 5501539 w 11625583"/>
              <a:gd name="connsiteY2366" fmla="*/ 2559922 h 6380470"/>
              <a:gd name="connsiteX2367" fmla="*/ 5348883 w 11625583"/>
              <a:gd name="connsiteY2367" fmla="*/ 2559922 h 6380470"/>
              <a:gd name="connsiteX2368" fmla="*/ 5413550 w 11625583"/>
              <a:gd name="connsiteY2368" fmla="*/ 2624589 h 6380470"/>
              <a:gd name="connsiteX2369" fmla="*/ 5348883 w 11625583"/>
              <a:gd name="connsiteY2369" fmla="*/ 2689256 h 6380470"/>
              <a:gd name="connsiteX2370" fmla="*/ 5284224 w 11625583"/>
              <a:gd name="connsiteY2370" fmla="*/ 2624589 h 6380470"/>
              <a:gd name="connsiteX2371" fmla="*/ 5348883 w 11625583"/>
              <a:gd name="connsiteY2371" fmla="*/ 2559922 h 6380470"/>
              <a:gd name="connsiteX2372" fmla="*/ 2855521 w 11625583"/>
              <a:gd name="connsiteY2372" fmla="*/ 2559922 h 6380470"/>
              <a:gd name="connsiteX2373" fmla="*/ 2920181 w 11625583"/>
              <a:gd name="connsiteY2373" fmla="*/ 2624589 h 6380470"/>
              <a:gd name="connsiteX2374" fmla="*/ 2855521 w 11625583"/>
              <a:gd name="connsiteY2374" fmla="*/ 2689256 h 6380470"/>
              <a:gd name="connsiteX2375" fmla="*/ 2790860 w 11625583"/>
              <a:gd name="connsiteY2375" fmla="*/ 2624589 h 6380470"/>
              <a:gd name="connsiteX2376" fmla="*/ 2855521 w 11625583"/>
              <a:gd name="connsiteY2376" fmla="*/ 2559922 h 6380470"/>
              <a:gd name="connsiteX2377" fmla="*/ 2698961 w 11625583"/>
              <a:gd name="connsiteY2377" fmla="*/ 2559922 h 6380470"/>
              <a:gd name="connsiteX2378" fmla="*/ 2763622 w 11625583"/>
              <a:gd name="connsiteY2378" fmla="*/ 2624589 h 6380470"/>
              <a:gd name="connsiteX2379" fmla="*/ 2698961 w 11625583"/>
              <a:gd name="connsiteY2379" fmla="*/ 2689256 h 6380470"/>
              <a:gd name="connsiteX2380" fmla="*/ 2634302 w 11625583"/>
              <a:gd name="connsiteY2380" fmla="*/ 2624589 h 6380470"/>
              <a:gd name="connsiteX2381" fmla="*/ 2698961 w 11625583"/>
              <a:gd name="connsiteY2381" fmla="*/ 2559922 h 6380470"/>
              <a:gd name="connsiteX2382" fmla="*/ 2546316 w 11625583"/>
              <a:gd name="connsiteY2382" fmla="*/ 2559922 h 6380470"/>
              <a:gd name="connsiteX2383" fmla="*/ 2610977 w 11625583"/>
              <a:gd name="connsiteY2383" fmla="*/ 2624589 h 6380470"/>
              <a:gd name="connsiteX2384" fmla="*/ 2546316 w 11625583"/>
              <a:gd name="connsiteY2384" fmla="*/ 2689256 h 6380470"/>
              <a:gd name="connsiteX2385" fmla="*/ 2481655 w 11625583"/>
              <a:gd name="connsiteY2385" fmla="*/ 2624589 h 6380470"/>
              <a:gd name="connsiteX2386" fmla="*/ 2546316 w 11625583"/>
              <a:gd name="connsiteY2386" fmla="*/ 2559922 h 6380470"/>
              <a:gd name="connsiteX2387" fmla="*/ 2389740 w 11625583"/>
              <a:gd name="connsiteY2387" fmla="*/ 2559922 h 6380470"/>
              <a:gd name="connsiteX2388" fmla="*/ 2454414 w 11625583"/>
              <a:gd name="connsiteY2388" fmla="*/ 2624589 h 6380470"/>
              <a:gd name="connsiteX2389" fmla="*/ 2389740 w 11625583"/>
              <a:gd name="connsiteY2389" fmla="*/ 2689256 h 6380470"/>
              <a:gd name="connsiteX2390" fmla="*/ 2325081 w 11625583"/>
              <a:gd name="connsiteY2390" fmla="*/ 2624589 h 6380470"/>
              <a:gd name="connsiteX2391" fmla="*/ 2389740 w 11625583"/>
              <a:gd name="connsiteY2391" fmla="*/ 2559922 h 6380470"/>
              <a:gd name="connsiteX2392" fmla="*/ 2237072 w 11625583"/>
              <a:gd name="connsiteY2392" fmla="*/ 2559922 h 6380470"/>
              <a:gd name="connsiteX2393" fmla="*/ 2301749 w 11625583"/>
              <a:gd name="connsiteY2393" fmla="*/ 2624589 h 6380470"/>
              <a:gd name="connsiteX2394" fmla="*/ 2237072 w 11625583"/>
              <a:gd name="connsiteY2394" fmla="*/ 2689256 h 6380470"/>
              <a:gd name="connsiteX2395" fmla="*/ 2172394 w 11625583"/>
              <a:gd name="connsiteY2395" fmla="*/ 2624589 h 6380470"/>
              <a:gd name="connsiteX2396" fmla="*/ 2237072 w 11625583"/>
              <a:gd name="connsiteY2396" fmla="*/ 2559922 h 6380470"/>
              <a:gd name="connsiteX2397" fmla="*/ 2084396 w 11625583"/>
              <a:gd name="connsiteY2397" fmla="*/ 2559922 h 6380470"/>
              <a:gd name="connsiteX2398" fmla="*/ 2149064 w 11625583"/>
              <a:gd name="connsiteY2398" fmla="*/ 2624589 h 6380470"/>
              <a:gd name="connsiteX2399" fmla="*/ 2084396 w 11625583"/>
              <a:gd name="connsiteY2399" fmla="*/ 2689256 h 6380470"/>
              <a:gd name="connsiteX2400" fmla="*/ 2019746 w 11625583"/>
              <a:gd name="connsiteY2400" fmla="*/ 2624589 h 6380470"/>
              <a:gd name="connsiteX2401" fmla="*/ 2084396 w 11625583"/>
              <a:gd name="connsiteY2401" fmla="*/ 2559922 h 6380470"/>
              <a:gd name="connsiteX2402" fmla="*/ 1927818 w 11625583"/>
              <a:gd name="connsiteY2402" fmla="*/ 2559922 h 6380470"/>
              <a:gd name="connsiteX2403" fmla="*/ 1992499 w 11625583"/>
              <a:gd name="connsiteY2403" fmla="*/ 2624589 h 6380470"/>
              <a:gd name="connsiteX2404" fmla="*/ 1927818 w 11625583"/>
              <a:gd name="connsiteY2404" fmla="*/ 2689256 h 6380470"/>
              <a:gd name="connsiteX2405" fmla="*/ 1863171 w 11625583"/>
              <a:gd name="connsiteY2405" fmla="*/ 2624589 h 6380470"/>
              <a:gd name="connsiteX2406" fmla="*/ 1927818 w 11625583"/>
              <a:gd name="connsiteY2406" fmla="*/ 2559922 h 6380470"/>
              <a:gd name="connsiteX2407" fmla="*/ 1775165 w 11625583"/>
              <a:gd name="connsiteY2407" fmla="*/ 2559922 h 6380470"/>
              <a:gd name="connsiteX2408" fmla="*/ 1839842 w 11625583"/>
              <a:gd name="connsiteY2408" fmla="*/ 2624589 h 6380470"/>
              <a:gd name="connsiteX2409" fmla="*/ 1775165 w 11625583"/>
              <a:gd name="connsiteY2409" fmla="*/ 2689256 h 6380470"/>
              <a:gd name="connsiteX2410" fmla="*/ 1710496 w 11625583"/>
              <a:gd name="connsiteY2410" fmla="*/ 2624589 h 6380470"/>
              <a:gd name="connsiteX2411" fmla="*/ 1775165 w 11625583"/>
              <a:gd name="connsiteY2411" fmla="*/ 2559922 h 6380470"/>
              <a:gd name="connsiteX2412" fmla="*/ 1618586 w 11625583"/>
              <a:gd name="connsiteY2412" fmla="*/ 2559922 h 6380470"/>
              <a:gd name="connsiteX2413" fmla="*/ 1683255 w 11625583"/>
              <a:gd name="connsiteY2413" fmla="*/ 2624589 h 6380470"/>
              <a:gd name="connsiteX2414" fmla="*/ 1618586 w 11625583"/>
              <a:gd name="connsiteY2414" fmla="*/ 2689256 h 6380470"/>
              <a:gd name="connsiteX2415" fmla="*/ 1553923 w 11625583"/>
              <a:gd name="connsiteY2415" fmla="*/ 2624589 h 6380470"/>
              <a:gd name="connsiteX2416" fmla="*/ 1618586 w 11625583"/>
              <a:gd name="connsiteY2416" fmla="*/ 2559922 h 6380470"/>
              <a:gd name="connsiteX2417" fmla="*/ 10003015 w 11625583"/>
              <a:gd name="connsiteY2417" fmla="*/ 2422922 h 6380470"/>
              <a:gd name="connsiteX2418" fmla="*/ 10067681 w 11625583"/>
              <a:gd name="connsiteY2418" fmla="*/ 2487589 h 6380470"/>
              <a:gd name="connsiteX2419" fmla="*/ 10003015 w 11625583"/>
              <a:gd name="connsiteY2419" fmla="*/ 2552255 h 6380470"/>
              <a:gd name="connsiteX2420" fmla="*/ 9938349 w 11625583"/>
              <a:gd name="connsiteY2420" fmla="*/ 2487589 h 6380470"/>
              <a:gd name="connsiteX2421" fmla="*/ 10003015 w 11625583"/>
              <a:gd name="connsiteY2421" fmla="*/ 2422922 h 6380470"/>
              <a:gd name="connsiteX2422" fmla="*/ 9693782 w 11625583"/>
              <a:gd name="connsiteY2422" fmla="*/ 2422922 h 6380470"/>
              <a:gd name="connsiteX2423" fmla="*/ 9758448 w 11625583"/>
              <a:gd name="connsiteY2423" fmla="*/ 2487589 h 6380470"/>
              <a:gd name="connsiteX2424" fmla="*/ 9693782 w 11625583"/>
              <a:gd name="connsiteY2424" fmla="*/ 2552255 h 6380470"/>
              <a:gd name="connsiteX2425" fmla="*/ 9629116 w 11625583"/>
              <a:gd name="connsiteY2425" fmla="*/ 2487589 h 6380470"/>
              <a:gd name="connsiteX2426" fmla="*/ 9693782 w 11625583"/>
              <a:gd name="connsiteY2426" fmla="*/ 2422922 h 6380470"/>
              <a:gd name="connsiteX2427" fmla="*/ 9384549 w 11625583"/>
              <a:gd name="connsiteY2427" fmla="*/ 2422922 h 6380470"/>
              <a:gd name="connsiteX2428" fmla="*/ 9449215 w 11625583"/>
              <a:gd name="connsiteY2428" fmla="*/ 2487589 h 6380470"/>
              <a:gd name="connsiteX2429" fmla="*/ 9384549 w 11625583"/>
              <a:gd name="connsiteY2429" fmla="*/ 2552255 h 6380470"/>
              <a:gd name="connsiteX2430" fmla="*/ 9319883 w 11625583"/>
              <a:gd name="connsiteY2430" fmla="*/ 2487589 h 6380470"/>
              <a:gd name="connsiteX2431" fmla="*/ 9384549 w 11625583"/>
              <a:gd name="connsiteY2431" fmla="*/ 2422922 h 6380470"/>
              <a:gd name="connsiteX2432" fmla="*/ 9227976 w 11625583"/>
              <a:gd name="connsiteY2432" fmla="*/ 2422922 h 6380470"/>
              <a:gd name="connsiteX2433" fmla="*/ 9292642 w 11625583"/>
              <a:gd name="connsiteY2433" fmla="*/ 2487589 h 6380470"/>
              <a:gd name="connsiteX2434" fmla="*/ 9227976 w 11625583"/>
              <a:gd name="connsiteY2434" fmla="*/ 2552255 h 6380470"/>
              <a:gd name="connsiteX2435" fmla="*/ 9163310 w 11625583"/>
              <a:gd name="connsiteY2435" fmla="*/ 2487589 h 6380470"/>
              <a:gd name="connsiteX2436" fmla="*/ 9227976 w 11625583"/>
              <a:gd name="connsiteY2436" fmla="*/ 2422922 h 6380470"/>
              <a:gd name="connsiteX2437" fmla="*/ 9075317 w 11625583"/>
              <a:gd name="connsiteY2437" fmla="*/ 2422922 h 6380470"/>
              <a:gd name="connsiteX2438" fmla="*/ 9139983 w 11625583"/>
              <a:gd name="connsiteY2438" fmla="*/ 2487589 h 6380470"/>
              <a:gd name="connsiteX2439" fmla="*/ 9075317 w 11625583"/>
              <a:gd name="connsiteY2439" fmla="*/ 2552255 h 6380470"/>
              <a:gd name="connsiteX2440" fmla="*/ 9010651 w 11625583"/>
              <a:gd name="connsiteY2440" fmla="*/ 2487589 h 6380470"/>
              <a:gd name="connsiteX2441" fmla="*/ 9075317 w 11625583"/>
              <a:gd name="connsiteY2441" fmla="*/ 2422922 h 6380470"/>
              <a:gd name="connsiteX2442" fmla="*/ 8914831 w 11625583"/>
              <a:gd name="connsiteY2442" fmla="*/ 2422922 h 6380470"/>
              <a:gd name="connsiteX2443" fmla="*/ 8979497 w 11625583"/>
              <a:gd name="connsiteY2443" fmla="*/ 2487589 h 6380470"/>
              <a:gd name="connsiteX2444" fmla="*/ 8914831 w 11625583"/>
              <a:gd name="connsiteY2444" fmla="*/ 2552255 h 6380470"/>
              <a:gd name="connsiteX2445" fmla="*/ 8850165 w 11625583"/>
              <a:gd name="connsiteY2445" fmla="*/ 2487589 h 6380470"/>
              <a:gd name="connsiteX2446" fmla="*/ 8914831 w 11625583"/>
              <a:gd name="connsiteY2446" fmla="*/ 2422922 h 6380470"/>
              <a:gd name="connsiteX2447" fmla="*/ 8766086 w 11625583"/>
              <a:gd name="connsiteY2447" fmla="*/ 2422922 h 6380470"/>
              <a:gd name="connsiteX2448" fmla="*/ 8830752 w 11625583"/>
              <a:gd name="connsiteY2448" fmla="*/ 2487589 h 6380470"/>
              <a:gd name="connsiteX2449" fmla="*/ 8766086 w 11625583"/>
              <a:gd name="connsiteY2449" fmla="*/ 2552255 h 6380470"/>
              <a:gd name="connsiteX2450" fmla="*/ 8701420 w 11625583"/>
              <a:gd name="connsiteY2450" fmla="*/ 2487589 h 6380470"/>
              <a:gd name="connsiteX2451" fmla="*/ 8766086 w 11625583"/>
              <a:gd name="connsiteY2451" fmla="*/ 2422922 h 6380470"/>
              <a:gd name="connsiteX2452" fmla="*/ 8601685 w 11625583"/>
              <a:gd name="connsiteY2452" fmla="*/ 2422922 h 6380470"/>
              <a:gd name="connsiteX2453" fmla="*/ 8666351 w 11625583"/>
              <a:gd name="connsiteY2453" fmla="*/ 2487589 h 6380470"/>
              <a:gd name="connsiteX2454" fmla="*/ 8601685 w 11625583"/>
              <a:gd name="connsiteY2454" fmla="*/ 2552255 h 6380470"/>
              <a:gd name="connsiteX2455" fmla="*/ 8537019 w 11625583"/>
              <a:gd name="connsiteY2455" fmla="*/ 2487589 h 6380470"/>
              <a:gd name="connsiteX2456" fmla="*/ 8601685 w 11625583"/>
              <a:gd name="connsiteY2456" fmla="*/ 2422922 h 6380470"/>
              <a:gd name="connsiteX2457" fmla="*/ 8449025 w 11625583"/>
              <a:gd name="connsiteY2457" fmla="*/ 2422922 h 6380470"/>
              <a:gd name="connsiteX2458" fmla="*/ 8513691 w 11625583"/>
              <a:gd name="connsiteY2458" fmla="*/ 2487589 h 6380470"/>
              <a:gd name="connsiteX2459" fmla="*/ 8449025 w 11625583"/>
              <a:gd name="connsiteY2459" fmla="*/ 2552255 h 6380470"/>
              <a:gd name="connsiteX2460" fmla="*/ 8384359 w 11625583"/>
              <a:gd name="connsiteY2460" fmla="*/ 2487589 h 6380470"/>
              <a:gd name="connsiteX2461" fmla="*/ 8449025 w 11625583"/>
              <a:gd name="connsiteY2461" fmla="*/ 2422922 h 6380470"/>
              <a:gd name="connsiteX2462" fmla="*/ 8296368 w 11625583"/>
              <a:gd name="connsiteY2462" fmla="*/ 2422922 h 6380470"/>
              <a:gd name="connsiteX2463" fmla="*/ 8361034 w 11625583"/>
              <a:gd name="connsiteY2463" fmla="*/ 2487589 h 6380470"/>
              <a:gd name="connsiteX2464" fmla="*/ 8296368 w 11625583"/>
              <a:gd name="connsiteY2464" fmla="*/ 2552255 h 6380470"/>
              <a:gd name="connsiteX2465" fmla="*/ 8231702 w 11625583"/>
              <a:gd name="connsiteY2465" fmla="*/ 2487589 h 6380470"/>
              <a:gd name="connsiteX2466" fmla="*/ 8296368 w 11625583"/>
              <a:gd name="connsiteY2466" fmla="*/ 2422922 h 6380470"/>
              <a:gd name="connsiteX2467" fmla="*/ 8139793 w 11625583"/>
              <a:gd name="connsiteY2467" fmla="*/ 2422922 h 6380470"/>
              <a:gd name="connsiteX2468" fmla="*/ 8204459 w 11625583"/>
              <a:gd name="connsiteY2468" fmla="*/ 2487589 h 6380470"/>
              <a:gd name="connsiteX2469" fmla="*/ 8139793 w 11625583"/>
              <a:gd name="connsiteY2469" fmla="*/ 2552255 h 6380470"/>
              <a:gd name="connsiteX2470" fmla="*/ 8075127 w 11625583"/>
              <a:gd name="connsiteY2470" fmla="*/ 2487589 h 6380470"/>
              <a:gd name="connsiteX2471" fmla="*/ 8139793 w 11625583"/>
              <a:gd name="connsiteY2471" fmla="*/ 2422922 h 6380470"/>
              <a:gd name="connsiteX2472" fmla="*/ 7987133 w 11625583"/>
              <a:gd name="connsiteY2472" fmla="*/ 2422922 h 6380470"/>
              <a:gd name="connsiteX2473" fmla="*/ 8051799 w 11625583"/>
              <a:gd name="connsiteY2473" fmla="*/ 2487589 h 6380470"/>
              <a:gd name="connsiteX2474" fmla="*/ 7987133 w 11625583"/>
              <a:gd name="connsiteY2474" fmla="*/ 2552255 h 6380470"/>
              <a:gd name="connsiteX2475" fmla="*/ 7922467 w 11625583"/>
              <a:gd name="connsiteY2475" fmla="*/ 2487589 h 6380470"/>
              <a:gd name="connsiteX2476" fmla="*/ 7987133 w 11625583"/>
              <a:gd name="connsiteY2476" fmla="*/ 2422922 h 6380470"/>
              <a:gd name="connsiteX2477" fmla="*/ 7830562 w 11625583"/>
              <a:gd name="connsiteY2477" fmla="*/ 2422922 h 6380470"/>
              <a:gd name="connsiteX2478" fmla="*/ 7895228 w 11625583"/>
              <a:gd name="connsiteY2478" fmla="*/ 2487589 h 6380470"/>
              <a:gd name="connsiteX2479" fmla="*/ 7830562 w 11625583"/>
              <a:gd name="connsiteY2479" fmla="*/ 2552255 h 6380470"/>
              <a:gd name="connsiteX2480" fmla="*/ 7765896 w 11625583"/>
              <a:gd name="connsiteY2480" fmla="*/ 2487589 h 6380470"/>
              <a:gd name="connsiteX2481" fmla="*/ 7830562 w 11625583"/>
              <a:gd name="connsiteY2481" fmla="*/ 2422922 h 6380470"/>
              <a:gd name="connsiteX2482" fmla="*/ 7677904 w 11625583"/>
              <a:gd name="connsiteY2482" fmla="*/ 2422922 h 6380470"/>
              <a:gd name="connsiteX2483" fmla="*/ 7742570 w 11625583"/>
              <a:gd name="connsiteY2483" fmla="*/ 2487589 h 6380470"/>
              <a:gd name="connsiteX2484" fmla="*/ 7677904 w 11625583"/>
              <a:gd name="connsiteY2484" fmla="*/ 2552255 h 6380470"/>
              <a:gd name="connsiteX2485" fmla="*/ 7613238 w 11625583"/>
              <a:gd name="connsiteY2485" fmla="*/ 2487589 h 6380470"/>
              <a:gd name="connsiteX2486" fmla="*/ 7677904 w 11625583"/>
              <a:gd name="connsiteY2486" fmla="*/ 2422922 h 6380470"/>
              <a:gd name="connsiteX2487" fmla="*/ 7521331 w 11625583"/>
              <a:gd name="connsiteY2487" fmla="*/ 2422922 h 6380470"/>
              <a:gd name="connsiteX2488" fmla="*/ 7585997 w 11625583"/>
              <a:gd name="connsiteY2488" fmla="*/ 2487589 h 6380470"/>
              <a:gd name="connsiteX2489" fmla="*/ 7521331 w 11625583"/>
              <a:gd name="connsiteY2489" fmla="*/ 2552255 h 6380470"/>
              <a:gd name="connsiteX2490" fmla="*/ 7456665 w 11625583"/>
              <a:gd name="connsiteY2490" fmla="*/ 2487589 h 6380470"/>
              <a:gd name="connsiteX2491" fmla="*/ 7521331 w 11625583"/>
              <a:gd name="connsiteY2491" fmla="*/ 2422922 h 6380470"/>
              <a:gd name="connsiteX2492" fmla="*/ 7368671 w 11625583"/>
              <a:gd name="connsiteY2492" fmla="*/ 2422922 h 6380470"/>
              <a:gd name="connsiteX2493" fmla="*/ 7433337 w 11625583"/>
              <a:gd name="connsiteY2493" fmla="*/ 2487589 h 6380470"/>
              <a:gd name="connsiteX2494" fmla="*/ 7368671 w 11625583"/>
              <a:gd name="connsiteY2494" fmla="*/ 2552255 h 6380470"/>
              <a:gd name="connsiteX2495" fmla="*/ 7304005 w 11625583"/>
              <a:gd name="connsiteY2495" fmla="*/ 2487589 h 6380470"/>
              <a:gd name="connsiteX2496" fmla="*/ 7368671 w 11625583"/>
              <a:gd name="connsiteY2496" fmla="*/ 2422922 h 6380470"/>
              <a:gd name="connsiteX2497" fmla="*/ 7055523 w 11625583"/>
              <a:gd name="connsiteY2497" fmla="*/ 2422922 h 6380470"/>
              <a:gd name="connsiteX2498" fmla="*/ 7120189 w 11625583"/>
              <a:gd name="connsiteY2498" fmla="*/ 2487589 h 6380470"/>
              <a:gd name="connsiteX2499" fmla="*/ 7055523 w 11625583"/>
              <a:gd name="connsiteY2499" fmla="*/ 2552255 h 6380470"/>
              <a:gd name="connsiteX2500" fmla="*/ 6990857 w 11625583"/>
              <a:gd name="connsiteY2500" fmla="*/ 2487589 h 6380470"/>
              <a:gd name="connsiteX2501" fmla="*/ 7055523 w 11625583"/>
              <a:gd name="connsiteY2501" fmla="*/ 2422922 h 6380470"/>
              <a:gd name="connsiteX2502" fmla="*/ 6895037 w 11625583"/>
              <a:gd name="connsiteY2502" fmla="*/ 2422922 h 6380470"/>
              <a:gd name="connsiteX2503" fmla="*/ 6959703 w 11625583"/>
              <a:gd name="connsiteY2503" fmla="*/ 2487589 h 6380470"/>
              <a:gd name="connsiteX2504" fmla="*/ 6895037 w 11625583"/>
              <a:gd name="connsiteY2504" fmla="*/ 2552255 h 6380470"/>
              <a:gd name="connsiteX2505" fmla="*/ 6830371 w 11625583"/>
              <a:gd name="connsiteY2505" fmla="*/ 2487589 h 6380470"/>
              <a:gd name="connsiteX2506" fmla="*/ 6895037 w 11625583"/>
              <a:gd name="connsiteY2506" fmla="*/ 2422922 h 6380470"/>
              <a:gd name="connsiteX2507" fmla="*/ 6742377 w 11625583"/>
              <a:gd name="connsiteY2507" fmla="*/ 2422922 h 6380470"/>
              <a:gd name="connsiteX2508" fmla="*/ 6807043 w 11625583"/>
              <a:gd name="connsiteY2508" fmla="*/ 2487589 h 6380470"/>
              <a:gd name="connsiteX2509" fmla="*/ 6742377 w 11625583"/>
              <a:gd name="connsiteY2509" fmla="*/ 2552255 h 6380470"/>
              <a:gd name="connsiteX2510" fmla="*/ 6677711 w 11625583"/>
              <a:gd name="connsiteY2510" fmla="*/ 2487589 h 6380470"/>
              <a:gd name="connsiteX2511" fmla="*/ 6742377 w 11625583"/>
              <a:gd name="connsiteY2511" fmla="*/ 2422922 h 6380470"/>
              <a:gd name="connsiteX2512" fmla="*/ 6585804 w 11625583"/>
              <a:gd name="connsiteY2512" fmla="*/ 2422922 h 6380470"/>
              <a:gd name="connsiteX2513" fmla="*/ 6650470 w 11625583"/>
              <a:gd name="connsiteY2513" fmla="*/ 2487589 h 6380470"/>
              <a:gd name="connsiteX2514" fmla="*/ 6585804 w 11625583"/>
              <a:gd name="connsiteY2514" fmla="*/ 2552255 h 6380470"/>
              <a:gd name="connsiteX2515" fmla="*/ 6521138 w 11625583"/>
              <a:gd name="connsiteY2515" fmla="*/ 2487589 h 6380470"/>
              <a:gd name="connsiteX2516" fmla="*/ 6585804 w 11625583"/>
              <a:gd name="connsiteY2516" fmla="*/ 2422922 h 6380470"/>
              <a:gd name="connsiteX2517" fmla="*/ 6429231 w 11625583"/>
              <a:gd name="connsiteY2517" fmla="*/ 2422922 h 6380470"/>
              <a:gd name="connsiteX2518" fmla="*/ 6493897 w 11625583"/>
              <a:gd name="connsiteY2518" fmla="*/ 2487589 h 6380470"/>
              <a:gd name="connsiteX2519" fmla="*/ 6429231 w 11625583"/>
              <a:gd name="connsiteY2519" fmla="*/ 2552255 h 6380470"/>
              <a:gd name="connsiteX2520" fmla="*/ 6364565 w 11625583"/>
              <a:gd name="connsiteY2520" fmla="*/ 2487589 h 6380470"/>
              <a:gd name="connsiteX2521" fmla="*/ 6429231 w 11625583"/>
              <a:gd name="connsiteY2521" fmla="*/ 2422922 h 6380470"/>
              <a:gd name="connsiteX2522" fmla="*/ 6276571 w 11625583"/>
              <a:gd name="connsiteY2522" fmla="*/ 2422922 h 6380470"/>
              <a:gd name="connsiteX2523" fmla="*/ 6341237 w 11625583"/>
              <a:gd name="connsiteY2523" fmla="*/ 2487589 h 6380470"/>
              <a:gd name="connsiteX2524" fmla="*/ 6276571 w 11625583"/>
              <a:gd name="connsiteY2524" fmla="*/ 2552255 h 6380470"/>
              <a:gd name="connsiteX2525" fmla="*/ 6211905 w 11625583"/>
              <a:gd name="connsiteY2525" fmla="*/ 2487589 h 6380470"/>
              <a:gd name="connsiteX2526" fmla="*/ 6276571 w 11625583"/>
              <a:gd name="connsiteY2526" fmla="*/ 2422922 h 6380470"/>
              <a:gd name="connsiteX2527" fmla="*/ 5967339 w 11625583"/>
              <a:gd name="connsiteY2527" fmla="*/ 2422922 h 6380470"/>
              <a:gd name="connsiteX2528" fmla="*/ 6032005 w 11625583"/>
              <a:gd name="connsiteY2528" fmla="*/ 2487589 h 6380470"/>
              <a:gd name="connsiteX2529" fmla="*/ 5967339 w 11625583"/>
              <a:gd name="connsiteY2529" fmla="*/ 2552255 h 6380470"/>
              <a:gd name="connsiteX2530" fmla="*/ 5902673 w 11625583"/>
              <a:gd name="connsiteY2530" fmla="*/ 2487589 h 6380470"/>
              <a:gd name="connsiteX2531" fmla="*/ 5967339 w 11625583"/>
              <a:gd name="connsiteY2531" fmla="*/ 2422922 h 6380470"/>
              <a:gd name="connsiteX2532" fmla="*/ 5348888 w 11625583"/>
              <a:gd name="connsiteY2532" fmla="*/ 2422922 h 6380470"/>
              <a:gd name="connsiteX2533" fmla="*/ 5413551 w 11625583"/>
              <a:gd name="connsiteY2533" fmla="*/ 2487589 h 6380470"/>
              <a:gd name="connsiteX2534" fmla="*/ 5348888 w 11625583"/>
              <a:gd name="connsiteY2534" fmla="*/ 2552255 h 6380470"/>
              <a:gd name="connsiteX2535" fmla="*/ 5284224 w 11625583"/>
              <a:gd name="connsiteY2535" fmla="*/ 2487589 h 6380470"/>
              <a:gd name="connsiteX2536" fmla="*/ 5348888 w 11625583"/>
              <a:gd name="connsiteY2536" fmla="*/ 2422922 h 6380470"/>
              <a:gd name="connsiteX2537" fmla="*/ 5192318 w 11625583"/>
              <a:gd name="connsiteY2537" fmla="*/ 2422922 h 6380470"/>
              <a:gd name="connsiteX2538" fmla="*/ 5256980 w 11625583"/>
              <a:gd name="connsiteY2538" fmla="*/ 2487589 h 6380470"/>
              <a:gd name="connsiteX2539" fmla="*/ 5192318 w 11625583"/>
              <a:gd name="connsiteY2539" fmla="*/ 2552255 h 6380470"/>
              <a:gd name="connsiteX2540" fmla="*/ 5127651 w 11625583"/>
              <a:gd name="connsiteY2540" fmla="*/ 2487589 h 6380470"/>
              <a:gd name="connsiteX2541" fmla="*/ 5192318 w 11625583"/>
              <a:gd name="connsiteY2541" fmla="*/ 2422922 h 6380470"/>
              <a:gd name="connsiteX2542" fmla="*/ 3012086 w 11625583"/>
              <a:gd name="connsiteY2542" fmla="*/ 2422922 h 6380470"/>
              <a:gd name="connsiteX2543" fmla="*/ 3076754 w 11625583"/>
              <a:gd name="connsiteY2543" fmla="*/ 2487589 h 6380470"/>
              <a:gd name="connsiteX2544" fmla="*/ 3012086 w 11625583"/>
              <a:gd name="connsiteY2544" fmla="*/ 2552255 h 6380470"/>
              <a:gd name="connsiteX2545" fmla="*/ 2947426 w 11625583"/>
              <a:gd name="connsiteY2545" fmla="*/ 2487589 h 6380470"/>
              <a:gd name="connsiteX2546" fmla="*/ 3012086 w 11625583"/>
              <a:gd name="connsiteY2546" fmla="*/ 2422922 h 6380470"/>
              <a:gd name="connsiteX2547" fmla="*/ 2855526 w 11625583"/>
              <a:gd name="connsiteY2547" fmla="*/ 2422922 h 6380470"/>
              <a:gd name="connsiteX2548" fmla="*/ 2920186 w 11625583"/>
              <a:gd name="connsiteY2548" fmla="*/ 2487589 h 6380470"/>
              <a:gd name="connsiteX2549" fmla="*/ 2855526 w 11625583"/>
              <a:gd name="connsiteY2549" fmla="*/ 2552255 h 6380470"/>
              <a:gd name="connsiteX2550" fmla="*/ 2790866 w 11625583"/>
              <a:gd name="connsiteY2550" fmla="*/ 2487589 h 6380470"/>
              <a:gd name="connsiteX2551" fmla="*/ 2855526 w 11625583"/>
              <a:gd name="connsiteY2551" fmla="*/ 2422922 h 6380470"/>
              <a:gd name="connsiteX2552" fmla="*/ 2698968 w 11625583"/>
              <a:gd name="connsiteY2552" fmla="*/ 2422922 h 6380470"/>
              <a:gd name="connsiteX2553" fmla="*/ 2763629 w 11625583"/>
              <a:gd name="connsiteY2553" fmla="*/ 2487589 h 6380470"/>
              <a:gd name="connsiteX2554" fmla="*/ 2698968 w 11625583"/>
              <a:gd name="connsiteY2554" fmla="*/ 2552255 h 6380470"/>
              <a:gd name="connsiteX2555" fmla="*/ 2634309 w 11625583"/>
              <a:gd name="connsiteY2555" fmla="*/ 2487589 h 6380470"/>
              <a:gd name="connsiteX2556" fmla="*/ 2698968 w 11625583"/>
              <a:gd name="connsiteY2556" fmla="*/ 2422922 h 6380470"/>
              <a:gd name="connsiteX2557" fmla="*/ 2546324 w 11625583"/>
              <a:gd name="connsiteY2557" fmla="*/ 2422922 h 6380470"/>
              <a:gd name="connsiteX2558" fmla="*/ 2610985 w 11625583"/>
              <a:gd name="connsiteY2558" fmla="*/ 2487589 h 6380470"/>
              <a:gd name="connsiteX2559" fmla="*/ 2546324 w 11625583"/>
              <a:gd name="connsiteY2559" fmla="*/ 2552255 h 6380470"/>
              <a:gd name="connsiteX2560" fmla="*/ 2481663 w 11625583"/>
              <a:gd name="connsiteY2560" fmla="*/ 2487589 h 6380470"/>
              <a:gd name="connsiteX2561" fmla="*/ 2546324 w 11625583"/>
              <a:gd name="connsiteY2561" fmla="*/ 2422922 h 6380470"/>
              <a:gd name="connsiteX2562" fmla="*/ 2389740 w 11625583"/>
              <a:gd name="connsiteY2562" fmla="*/ 2422922 h 6380470"/>
              <a:gd name="connsiteX2563" fmla="*/ 2454426 w 11625583"/>
              <a:gd name="connsiteY2563" fmla="*/ 2487589 h 6380470"/>
              <a:gd name="connsiteX2564" fmla="*/ 2389740 w 11625583"/>
              <a:gd name="connsiteY2564" fmla="*/ 2552255 h 6380470"/>
              <a:gd name="connsiteX2565" fmla="*/ 2325089 w 11625583"/>
              <a:gd name="connsiteY2565" fmla="*/ 2487589 h 6380470"/>
              <a:gd name="connsiteX2566" fmla="*/ 2389740 w 11625583"/>
              <a:gd name="connsiteY2566" fmla="*/ 2422922 h 6380470"/>
              <a:gd name="connsiteX2567" fmla="*/ 2237079 w 11625583"/>
              <a:gd name="connsiteY2567" fmla="*/ 2422922 h 6380470"/>
              <a:gd name="connsiteX2568" fmla="*/ 2301758 w 11625583"/>
              <a:gd name="connsiteY2568" fmla="*/ 2487589 h 6380470"/>
              <a:gd name="connsiteX2569" fmla="*/ 2237079 w 11625583"/>
              <a:gd name="connsiteY2569" fmla="*/ 2552255 h 6380470"/>
              <a:gd name="connsiteX2570" fmla="*/ 2172401 w 11625583"/>
              <a:gd name="connsiteY2570" fmla="*/ 2487589 h 6380470"/>
              <a:gd name="connsiteX2571" fmla="*/ 2237079 w 11625583"/>
              <a:gd name="connsiteY2571" fmla="*/ 2422922 h 6380470"/>
              <a:gd name="connsiteX2572" fmla="*/ 2084402 w 11625583"/>
              <a:gd name="connsiteY2572" fmla="*/ 2422922 h 6380470"/>
              <a:gd name="connsiteX2573" fmla="*/ 2149069 w 11625583"/>
              <a:gd name="connsiteY2573" fmla="*/ 2487589 h 6380470"/>
              <a:gd name="connsiteX2574" fmla="*/ 2084402 w 11625583"/>
              <a:gd name="connsiteY2574" fmla="*/ 2552255 h 6380470"/>
              <a:gd name="connsiteX2575" fmla="*/ 2019753 w 11625583"/>
              <a:gd name="connsiteY2575" fmla="*/ 2487589 h 6380470"/>
              <a:gd name="connsiteX2576" fmla="*/ 2084402 w 11625583"/>
              <a:gd name="connsiteY2576" fmla="*/ 2422922 h 6380470"/>
              <a:gd name="connsiteX2577" fmla="*/ 1927830 w 11625583"/>
              <a:gd name="connsiteY2577" fmla="*/ 2422922 h 6380470"/>
              <a:gd name="connsiteX2578" fmla="*/ 1992505 w 11625583"/>
              <a:gd name="connsiteY2578" fmla="*/ 2487589 h 6380470"/>
              <a:gd name="connsiteX2579" fmla="*/ 1927830 w 11625583"/>
              <a:gd name="connsiteY2579" fmla="*/ 2552255 h 6380470"/>
              <a:gd name="connsiteX2580" fmla="*/ 1863179 w 11625583"/>
              <a:gd name="connsiteY2580" fmla="*/ 2487589 h 6380470"/>
              <a:gd name="connsiteX2581" fmla="*/ 1927830 w 11625583"/>
              <a:gd name="connsiteY2581" fmla="*/ 2422922 h 6380470"/>
              <a:gd name="connsiteX2582" fmla="*/ 1775172 w 11625583"/>
              <a:gd name="connsiteY2582" fmla="*/ 2422922 h 6380470"/>
              <a:gd name="connsiteX2583" fmla="*/ 1839851 w 11625583"/>
              <a:gd name="connsiteY2583" fmla="*/ 2487589 h 6380470"/>
              <a:gd name="connsiteX2584" fmla="*/ 1775172 w 11625583"/>
              <a:gd name="connsiteY2584" fmla="*/ 2552255 h 6380470"/>
              <a:gd name="connsiteX2585" fmla="*/ 1710504 w 11625583"/>
              <a:gd name="connsiteY2585" fmla="*/ 2487589 h 6380470"/>
              <a:gd name="connsiteX2586" fmla="*/ 1775172 w 11625583"/>
              <a:gd name="connsiteY2586" fmla="*/ 2422922 h 6380470"/>
              <a:gd name="connsiteX2587" fmla="*/ 1618593 w 11625583"/>
              <a:gd name="connsiteY2587" fmla="*/ 2422922 h 6380470"/>
              <a:gd name="connsiteX2588" fmla="*/ 1683262 w 11625583"/>
              <a:gd name="connsiteY2588" fmla="*/ 2487589 h 6380470"/>
              <a:gd name="connsiteX2589" fmla="*/ 1618593 w 11625583"/>
              <a:gd name="connsiteY2589" fmla="*/ 2552255 h 6380470"/>
              <a:gd name="connsiteX2590" fmla="*/ 1553929 w 11625583"/>
              <a:gd name="connsiteY2590" fmla="*/ 2487589 h 6380470"/>
              <a:gd name="connsiteX2591" fmla="*/ 1618593 w 11625583"/>
              <a:gd name="connsiteY2591" fmla="*/ 2422922 h 6380470"/>
              <a:gd name="connsiteX2592" fmla="*/ 1465935 w 11625583"/>
              <a:gd name="connsiteY2592" fmla="*/ 2422922 h 6380470"/>
              <a:gd name="connsiteX2593" fmla="*/ 1530601 w 11625583"/>
              <a:gd name="connsiteY2593" fmla="*/ 2487589 h 6380470"/>
              <a:gd name="connsiteX2594" fmla="*/ 1465935 w 11625583"/>
              <a:gd name="connsiteY2594" fmla="*/ 2552255 h 6380470"/>
              <a:gd name="connsiteX2595" fmla="*/ 1401271 w 11625583"/>
              <a:gd name="connsiteY2595" fmla="*/ 2487589 h 6380470"/>
              <a:gd name="connsiteX2596" fmla="*/ 1465935 w 11625583"/>
              <a:gd name="connsiteY2596" fmla="*/ 2422922 h 6380470"/>
              <a:gd name="connsiteX2597" fmla="*/ 1465941 w 11625583"/>
              <a:gd name="connsiteY2597" fmla="*/ 2278094 h 6380470"/>
              <a:gd name="connsiteX2598" fmla="*/ 1530607 w 11625583"/>
              <a:gd name="connsiteY2598" fmla="*/ 2342760 h 6380470"/>
              <a:gd name="connsiteX2599" fmla="*/ 1465941 w 11625583"/>
              <a:gd name="connsiteY2599" fmla="*/ 2407426 h 6380470"/>
              <a:gd name="connsiteX2600" fmla="*/ 1401277 w 11625583"/>
              <a:gd name="connsiteY2600" fmla="*/ 2342760 h 6380470"/>
              <a:gd name="connsiteX2601" fmla="*/ 1465941 w 11625583"/>
              <a:gd name="connsiteY2601" fmla="*/ 2278094 h 6380470"/>
              <a:gd name="connsiteX2602" fmla="*/ 2084411 w 11625583"/>
              <a:gd name="connsiteY2602" fmla="*/ 2278092 h 6380470"/>
              <a:gd name="connsiteX2603" fmla="*/ 2149075 w 11625583"/>
              <a:gd name="connsiteY2603" fmla="*/ 2342758 h 6380470"/>
              <a:gd name="connsiteX2604" fmla="*/ 2084411 w 11625583"/>
              <a:gd name="connsiteY2604" fmla="*/ 2407425 h 6380470"/>
              <a:gd name="connsiteX2605" fmla="*/ 2019760 w 11625583"/>
              <a:gd name="connsiteY2605" fmla="*/ 2342758 h 6380470"/>
              <a:gd name="connsiteX2606" fmla="*/ 2084411 w 11625583"/>
              <a:gd name="connsiteY2606" fmla="*/ 2278092 h 6380470"/>
              <a:gd name="connsiteX2607" fmla="*/ 1927830 w 11625583"/>
              <a:gd name="connsiteY2607" fmla="*/ 2278092 h 6380470"/>
              <a:gd name="connsiteX2608" fmla="*/ 1992511 w 11625583"/>
              <a:gd name="connsiteY2608" fmla="*/ 2342758 h 6380470"/>
              <a:gd name="connsiteX2609" fmla="*/ 1927830 w 11625583"/>
              <a:gd name="connsiteY2609" fmla="*/ 2407425 h 6380470"/>
              <a:gd name="connsiteX2610" fmla="*/ 1863187 w 11625583"/>
              <a:gd name="connsiteY2610" fmla="*/ 2342758 h 6380470"/>
              <a:gd name="connsiteX2611" fmla="*/ 1927830 w 11625583"/>
              <a:gd name="connsiteY2611" fmla="*/ 2278092 h 6380470"/>
              <a:gd name="connsiteX2612" fmla="*/ 1775179 w 11625583"/>
              <a:gd name="connsiteY2612" fmla="*/ 2278092 h 6380470"/>
              <a:gd name="connsiteX2613" fmla="*/ 1839858 w 11625583"/>
              <a:gd name="connsiteY2613" fmla="*/ 2342758 h 6380470"/>
              <a:gd name="connsiteX2614" fmla="*/ 1775179 w 11625583"/>
              <a:gd name="connsiteY2614" fmla="*/ 2407425 h 6380470"/>
              <a:gd name="connsiteX2615" fmla="*/ 1710510 w 11625583"/>
              <a:gd name="connsiteY2615" fmla="*/ 2342758 h 6380470"/>
              <a:gd name="connsiteX2616" fmla="*/ 1775179 w 11625583"/>
              <a:gd name="connsiteY2616" fmla="*/ 2278092 h 6380470"/>
              <a:gd name="connsiteX2617" fmla="*/ 1618599 w 11625583"/>
              <a:gd name="connsiteY2617" fmla="*/ 2278092 h 6380470"/>
              <a:gd name="connsiteX2618" fmla="*/ 1683268 w 11625583"/>
              <a:gd name="connsiteY2618" fmla="*/ 2342758 h 6380470"/>
              <a:gd name="connsiteX2619" fmla="*/ 1618599 w 11625583"/>
              <a:gd name="connsiteY2619" fmla="*/ 2407425 h 6380470"/>
              <a:gd name="connsiteX2620" fmla="*/ 1553936 w 11625583"/>
              <a:gd name="connsiteY2620" fmla="*/ 2342758 h 6380470"/>
              <a:gd name="connsiteX2621" fmla="*/ 1618599 w 11625583"/>
              <a:gd name="connsiteY2621" fmla="*/ 2278092 h 6380470"/>
              <a:gd name="connsiteX2622" fmla="*/ 10003016 w 11625583"/>
              <a:gd name="connsiteY2622" fmla="*/ 2278090 h 6380470"/>
              <a:gd name="connsiteX2623" fmla="*/ 10067682 w 11625583"/>
              <a:gd name="connsiteY2623" fmla="*/ 2342756 h 6380470"/>
              <a:gd name="connsiteX2624" fmla="*/ 10003016 w 11625583"/>
              <a:gd name="connsiteY2624" fmla="*/ 2407423 h 6380470"/>
              <a:gd name="connsiteX2625" fmla="*/ 9938350 w 11625583"/>
              <a:gd name="connsiteY2625" fmla="*/ 2342756 h 6380470"/>
              <a:gd name="connsiteX2626" fmla="*/ 10003016 w 11625583"/>
              <a:gd name="connsiteY2626" fmla="*/ 2278090 h 6380470"/>
              <a:gd name="connsiteX2627" fmla="*/ 9693783 w 11625583"/>
              <a:gd name="connsiteY2627" fmla="*/ 2278090 h 6380470"/>
              <a:gd name="connsiteX2628" fmla="*/ 9758449 w 11625583"/>
              <a:gd name="connsiteY2628" fmla="*/ 2342756 h 6380470"/>
              <a:gd name="connsiteX2629" fmla="*/ 9693783 w 11625583"/>
              <a:gd name="connsiteY2629" fmla="*/ 2407423 h 6380470"/>
              <a:gd name="connsiteX2630" fmla="*/ 9629117 w 11625583"/>
              <a:gd name="connsiteY2630" fmla="*/ 2342756 h 6380470"/>
              <a:gd name="connsiteX2631" fmla="*/ 9693783 w 11625583"/>
              <a:gd name="connsiteY2631" fmla="*/ 2278090 h 6380470"/>
              <a:gd name="connsiteX2632" fmla="*/ 9541123 w 11625583"/>
              <a:gd name="connsiteY2632" fmla="*/ 2278090 h 6380470"/>
              <a:gd name="connsiteX2633" fmla="*/ 9605789 w 11625583"/>
              <a:gd name="connsiteY2633" fmla="*/ 2342756 h 6380470"/>
              <a:gd name="connsiteX2634" fmla="*/ 9541123 w 11625583"/>
              <a:gd name="connsiteY2634" fmla="*/ 2407423 h 6380470"/>
              <a:gd name="connsiteX2635" fmla="*/ 9476457 w 11625583"/>
              <a:gd name="connsiteY2635" fmla="*/ 2342756 h 6380470"/>
              <a:gd name="connsiteX2636" fmla="*/ 9541123 w 11625583"/>
              <a:gd name="connsiteY2636" fmla="*/ 2278090 h 6380470"/>
              <a:gd name="connsiteX2637" fmla="*/ 9384550 w 11625583"/>
              <a:gd name="connsiteY2637" fmla="*/ 2278090 h 6380470"/>
              <a:gd name="connsiteX2638" fmla="*/ 9449216 w 11625583"/>
              <a:gd name="connsiteY2638" fmla="*/ 2342756 h 6380470"/>
              <a:gd name="connsiteX2639" fmla="*/ 9384550 w 11625583"/>
              <a:gd name="connsiteY2639" fmla="*/ 2407423 h 6380470"/>
              <a:gd name="connsiteX2640" fmla="*/ 9319884 w 11625583"/>
              <a:gd name="connsiteY2640" fmla="*/ 2342756 h 6380470"/>
              <a:gd name="connsiteX2641" fmla="*/ 9384550 w 11625583"/>
              <a:gd name="connsiteY2641" fmla="*/ 2278090 h 6380470"/>
              <a:gd name="connsiteX2642" fmla="*/ 9227977 w 11625583"/>
              <a:gd name="connsiteY2642" fmla="*/ 2278090 h 6380470"/>
              <a:gd name="connsiteX2643" fmla="*/ 9292643 w 11625583"/>
              <a:gd name="connsiteY2643" fmla="*/ 2342756 h 6380470"/>
              <a:gd name="connsiteX2644" fmla="*/ 9227977 w 11625583"/>
              <a:gd name="connsiteY2644" fmla="*/ 2407423 h 6380470"/>
              <a:gd name="connsiteX2645" fmla="*/ 9163311 w 11625583"/>
              <a:gd name="connsiteY2645" fmla="*/ 2342756 h 6380470"/>
              <a:gd name="connsiteX2646" fmla="*/ 9227977 w 11625583"/>
              <a:gd name="connsiteY2646" fmla="*/ 2278090 h 6380470"/>
              <a:gd name="connsiteX2647" fmla="*/ 9075319 w 11625583"/>
              <a:gd name="connsiteY2647" fmla="*/ 2278090 h 6380470"/>
              <a:gd name="connsiteX2648" fmla="*/ 9139985 w 11625583"/>
              <a:gd name="connsiteY2648" fmla="*/ 2342756 h 6380470"/>
              <a:gd name="connsiteX2649" fmla="*/ 9075319 w 11625583"/>
              <a:gd name="connsiteY2649" fmla="*/ 2407423 h 6380470"/>
              <a:gd name="connsiteX2650" fmla="*/ 9010653 w 11625583"/>
              <a:gd name="connsiteY2650" fmla="*/ 2342756 h 6380470"/>
              <a:gd name="connsiteX2651" fmla="*/ 9075319 w 11625583"/>
              <a:gd name="connsiteY2651" fmla="*/ 2278090 h 6380470"/>
              <a:gd name="connsiteX2652" fmla="*/ 8914831 w 11625583"/>
              <a:gd name="connsiteY2652" fmla="*/ 2278090 h 6380470"/>
              <a:gd name="connsiteX2653" fmla="*/ 8979497 w 11625583"/>
              <a:gd name="connsiteY2653" fmla="*/ 2342756 h 6380470"/>
              <a:gd name="connsiteX2654" fmla="*/ 8914831 w 11625583"/>
              <a:gd name="connsiteY2654" fmla="*/ 2407423 h 6380470"/>
              <a:gd name="connsiteX2655" fmla="*/ 8850165 w 11625583"/>
              <a:gd name="connsiteY2655" fmla="*/ 2342756 h 6380470"/>
              <a:gd name="connsiteX2656" fmla="*/ 8914831 w 11625583"/>
              <a:gd name="connsiteY2656" fmla="*/ 2278090 h 6380470"/>
              <a:gd name="connsiteX2657" fmla="*/ 8766086 w 11625583"/>
              <a:gd name="connsiteY2657" fmla="*/ 2278090 h 6380470"/>
              <a:gd name="connsiteX2658" fmla="*/ 8830752 w 11625583"/>
              <a:gd name="connsiteY2658" fmla="*/ 2342756 h 6380470"/>
              <a:gd name="connsiteX2659" fmla="*/ 8766086 w 11625583"/>
              <a:gd name="connsiteY2659" fmla="*/ 2407423 h 6380470"/>
              <a:gd name="connsiteX2660" fmla="*/ 8701420 w 11625583"/>
              <a:gd name="connsiteY2660" fmla="*/ 2342756 h 6380470"/>
              <a:gd name="connsiteX2661" fmla="*/ 8766086 w 11625583"/>
              <a:gd name="connsiteY2661" fmla="*/ 2278090 h 6380470"/>
              <a:gd name="connsiteX2662" fmla="*/ 8601685 w 11625583"/>
              <a:gd name="connsiteY2662" fmla="*/ 2278090 h 6380470"/>
              <a:gd name="connsiteX2663" fmla="*/ 8666351 w 11625583"/>
              <a:gd name="connsiteY2663" fmla="*/ 2342756 h 6380470"/>
              <a:gd name="connsiteX2664" fmla="*/ 8601685 w 11625583"/>
              <a:gd name="connsiteY2664" fmla="*/ 2407423 h 6380470"/>
              <a:gd name="connsiteX2665" fmla="*/ 8537019 w 11625583"/>
              <a:gd name="connsiteY2665" fmla="*/ 2342756 h 6380470"/>
              <a:gd name="connsiteX2666" fmla="*/ 8601685 w 11625583"/>
              <a:gd name="connsiteY2666" fmla="*/ 2278090 h 6380470"/>
              <a:gd name="connsiteX2667" fmla="*/ 8449025 w 11625583"/>
              <a:gd name="connsiteY2667" fmla="*/ 2278090 h 6380470"/>
              <a:gd name="connsiteX2668" fmla="*/ 8513691 w 11625583"/>
              <a:gd name="connsiteY2668" fmla="*/ 2342756 h 6380470"/>
              <a:gd name="connsiteX2669" fmla="*/ 8449025 w 11625583"/>
              <a:gd name="connsiteY2669" fmla="*/ 2407423 h 6380470"/>
              <a:gd name="connsiteX2670" fmla="*/ 8384359 w 11625583"/>
              <a:gd name="connsiteY2670" fmla="*/ 2342756 h 6380470"/>
              <a:gd name="connsiteX2671" fmla="*/ 8449025 w 11625583"/>
              <a:gd name="connsiteY2671" fmla="*/ 2278090 h 6380470"/>
              <a:gd name="connsiteX2672" fmla="*/ 8296368 w 11625583"/>
              <a:gd name="connsiteY2672" fmla="*/ 2278090 h 6380470"/>
              <a:gd name="connsiteX2673" fmla="*/ 8361034 w 11625583"/>
              <a:gd name="connsiteY2673" fmla="*/ 2342756 h 6380470"/>
              <a:gd name="connsiteX2674" fmla="*/ 8296368 w 11625583"/>
              <a:gd name="connsiteY2674" fmla="*/ 2407423 h 6380470"/>
              <a:gd name="connsiteX2675" fmla="*/ 8231702 w 11625583"/>
              <a:gd name="connsiteY2675" fmla="*/ 2342756 h 6380470"/>
              <a:gd name="connsiteX2676" fmla="*/ 8296368 w 11625583"/>
              <a:gd name="connsiteY2676" fmla="*/ 2278090 h 6380470"/>
              <a:gd name="connsiteX2677" fmla="*/ 8139793 w 11625583"/>
              <a:gd name="connsiteY2677" fmla="*/ 2278090 h 6380470"/>
              <a:gd name="connsiteX2678" fmla="*/ 8204459 w 11625583"/>
              <a:gd name="connsiteY2678" fmla="*/ 2342756 h 6380470"/>
              <a:gd name="connsiteX2679" fmla="*/ 8139793 w 11625583"/>
              <a:gd name="connsiteY2679" fmla="*/ 2407423 h 6380470"/>
              <a:gd name="connsiteX2680" fmla="*/ 8075127 w 11625583"/>
              <a:gd name="connsiteY2680" fmla="*/ 2342756 h 6380470"/>
              <a:gd name="connsiteX2681" fmla="*/ 8139793 w 11625583"/>
              <a:gd name="connsiteY2681" fmla="*/ 2278090 h 6380470"/>
              <a:gd name="connsiteX2682" fmla="*/ 7987133 w 11625583"/>
              <a:gd name="connsiteY2682" fmla="*/ 2278090 h 6380470"/>
              <a:gd name="connsiteX2683" fmla="*/ 8051799 w 11625583"/>
              <a:gd name="connsiteY2683" fmla="*/ 2342756 h 6380470"/>
              <a:gd name="connsiteX2684" fmla="*/ 7987133 w 11625583"/>
              <a:gd name="connsiteY2684" fmla="*/ 2407423 h 6380470"/>
              <a:gd name="connsiteX2685" fmla="*/ 7922467 w 11625583"/>
              <a:gd name="connsiteY2685" fmla="*/ 2342756 h 6380470"/>
              <a:gd name="connsiteX2686" fmla="*/ 7987133 w 11625583"/>
              <a:gd name="connsiteY2686" fmla="*/ 2278090 h 6380470"/>
              <a:gd name="connsiteX2687" fmla="*/ 7830562 w 11625583"/>
              <a:gd name="connsiteY2687" fmla="*/ 2278090 h 6380470"/>
              <a:gd name="connsiteX2688" fmla="*/ 7895228 w 11625583"/>
              <a:gd name="connsiteY2688" fmla="*/ 2342756 h 6380470"/>
              <a:gd name="connsiteX2689" fmla="*/ 7830562 w 11625583"/>
              <a:gd name="connsiteY2689" fmla="*/ 2407423 h 6380470"/>
              <a:gd name="connsiteX2690" fmla="*/ 7765896 w 11625583"/>
              <a:gd name="connsiteY2690" fmla="*/ 2342756 h 6380470"/>
              <a:gd name="connsiteX2691" fmla="*/ 7830562 w 11625583"/>
              <a:gd name="connsiteY2691" fmla="*/ 2278090 h 6380470"/>
              <a:gd name="connsiteX2692" fmla="*/ 7677904 w 11625583"/>
              <a:gd name="connsiteY2692" fmla="*/ 2278090 h 6380470"/>
              <a:gd name="connsiteX2693" fmla="*/ 7742570 w 11625583"/>
              <a:gd name="connsiteY2693" fmla="*/ 2342756 h 6380470"/>
              <a:gd name="connsiteX2694" fmla="*/ 7677904 w 11625583"/>
              <a:gd name="connsiteY2694" fmla="*/ 2407423 h 6380470"/>
              <a:gd name="connsiteX2695" fmla="*/ 7613238 w 11625583"/>
              <a:gd name="connsiteY2695" fmla="*/ 2342756 h 6380470"/>
              <a:gd name="connsiteX2696" fmla="*/ 7677904 w 11625583"/>
              <a:gd name="connsiteY2696" fmla="*/ 2278090 h 6380470"/>
              <a:gd name="connsiteX2697" fmla="*/ 7521331 w 11625583"/>
              <a:gd name="connsiteY2697" fmla="*/ 2278090 h 6380470"/>
              <a:gd name="connsiteX2698" fmla="*/ 7585997 w 11625583"/>
              <a:gd name="connsiteY2698" fmla="*/ 2342756 h 6380470"/>
              <a:gd name="connsiteX2699" fmla="*/ 7521331 w 11625583"/>
              <a:gd name="connsiteY2699" fmla="*/ 2407423 h 6380470"/>
              <a:gd name="connsiteX2700" fmla="*/ 7456665 w 11625583"/>
              <a:gd name="connsiteY2700" fmla="*/ 2342756 h 6380470"/>
              <a:gd name="connsiteX2701" fmla="*/ 7521331 w 11625583"/>
              <a:gd name="connsiteY2701" fmla="*/ 2278090 h 6380470"/>
              <a:gd name="connsiteX2702" fmla="*/ 7368671 w 11625583"/>
              <a:gd name="connsiteY2702" fmla="*/ 2278090 h 6380470"/>
              <a:gd name="connsiteX2703" fmla="*/ 7433337 w 11625583"/>
              <a:gd name="connsiteY2703" fmla="*/ 2342756 h 6380470"/>
              <a:gd name="connsiteX2704" fmla="*/ 7368671 w 11625583"/>
              <a:gd name="connsiteY2704" fmla="*/ 2407423 h 6380470"/>
              <a:gd name="connsiteX2705" fmla="*/ 7304005 w 11625583"/>
              <a:gd name="connsiteY2705" fmla="*/ 2342756 h 6380470"/>
              <a:gd name="connsiteX2706" fmla="*/ 7368671 w 11625583"/>
              <a:gd name="connsiteY2706" fmla="*/ 2278090 h 6380470"/>
              <a:gd name="connsiteX2707" fmla="*/ 7055523 w 11625583"/>
              <a:gd name="connsiteY2707" fmla="*/ 2278090 h 6380470"/>
              <a:gd name="connsiteX2708" fmla="*/ 7120189 w 11625583"/>
              <a:gd name="connsiteY2708" fmla="*/ 2342756 h 6380470"/>
              <a:gd name="connsiteX2709" fmla="*/ 7055523 w 11625583"/>
              <a:gd name="connsiteY2709" fmla="*/ 2407423 h 6380470"/>
              <a:gd name="connsiteX2710" fmla="*/ 6990857 w 11625583"/>
              <a:gd name="connsiteY2710" fmla="*/ 2342756 h 6380470"/>
              <a:gd name="connsiteX2711" fmla="*/ 7055523 w 11625583"/>
              <a:gd name="connsiteY2711" fmla="*/ 2278090 h 6380470"/>
              <a:gd name="connsiteX2712" fmla="*/ 6895037 w 11625583"/>
              <a:gd name="connsiteY2712" fmla="*/ 2278090 h 6380470"/>
              <a:gd name="connsiteX2713" fmla="*/ 6959703 w 11625583"/>
              <a:gd name="connsiteY2713" fmla="*/ 2342756 h 6380470"/>
              <a:gd name="connsiteX2714" fmla="*/ 6895037 w 11625583"/>
              <a:gd name="connsiteY2714" fmla="*/ 2407423 h 6380470"/>
              <a:gd name="connsiteX2715" fmla="*/ 6830371 w 11625583"/>
              <a:gd name="connsiteY2715" fmla="*/ 2342756 h 6380470"/>
              <a:gd name="connsiteX2716" fmla="*/ 6895037 w 11625583"/>
              <a:gd name="connsiteY2716" fmla="*/ 2278090 h 6380470"/>
              <a:gd name="connsiteX2717" fmla="*/ 6742377 w 11625583"/>
              <a:gd name="connsiteY2717" fmla="*/ 2278090 h 6380470"/>
              <a:gd name="connsiteX2718" fmla="*/ 6807043 w 11625583"/>
              <a:gd name="connsiteY2718" fmla="*/ 2342756 h 6380470"/>
              <a:gd name="connsiteX2719" fmla="*/ 6742377 w 11625583"/>
              <a:gd name="connsiteY2719" fmla="*/ 2407423 h 6380470"/>
              <a:gd name="connsiteX2720" fmla="*/ 6677711 w 11625583"/>
              <a:gd name="connsiteY2720" fmla="*/ 2342756 h 6380470"/>
              <a:gd name="connsiteX2721" fmla="*/ 6742377 w 11625583"/>
              <a:gd name="connsiteY2721" fmla="*/ 2278090 h 6380470"/>
              <a:gd name="connsiteX2722" fmla="*/ 6585804 w 11625583"/>
              <a:gd name="connsiteY2722" fmla="*/ 2278090 h 6380470"/>
              <a:gd name="connsiteX2723" fmla="*/ 6650470 w 11625583"/>
              <a:gd name="connsiteY2723" fmla="*/ 2342756 h 6380470"/>
              <a:gd name="connsiteX2724" fmla="*/ 6585804 w 11625583"/>
              <a:gd name="connsiteY2724" fmla="*/ 2407423 h 6380470"/>
              <a:gd name="connsiteX2725" fmla="*/ 6521138 w 11625583"/>
              <a:gd name="connsiteY2725" fmla="*/ 2342756 h 6380470"/>
              <a:gd name="connsiteX2726" fmla="*/ 6585804 w 11625583"/>
              <a:gd name="connsiteY2726" fmla="*/ 2278090 h 6380470"/>
              <a:gd name="connsiteX2727" fmla="*/ 6429231 w 11625583"/>
              <a:gd name="connsiteY2727" fmla="*/ 2278090 h 6380470"/>
              <a:gd name="connsiteX2728" fmla="*/ 6493897 w 11625583"/>
              <a:gd name="connsiteY2728" fmla="*/ 2342756 h 6380470"/>
              <a:gd name="connsiteX2729" fmla="*/ 6429231 w 11625583"/>
              <a:gd name="connsiteY2729" fmla="*/ 2407423 h 6380470"/>
              <a:gd name="connsiteX2730" fmla="*/ 6364565 w 11625583"/>
              <a:gd name="connsiteY2730" fmla="*/ 2342756 h 6380470"/>
              <a:gd name="connsiteX2731" fmla="*/ 6429231 w 11625583"/>
              <a:gd name="connsiteY2731" fmla="*/ 2278090 h 6380470"/>
              <a:gd name="connsiteX2732" fmla="*/ 6276571 w 11625583"/>
              <a:gd name="connsiteY2732" fmla="*/ 2278090 h 6380470"/>
              <a:gd name="connsiteX2733" fmla="*/ 6341237 w 11625583"/>
              <a:gd name="connsiteY2733" fmla="*/ 2342756 h 6380470"/>
              <a:gd name="connsiteX2734" fmla="*/ 6276571 w 11625583"/>
              <a:gd name="connsiteY2734" fmla="*/ 2407423 h 6380470"/>
              <a:gd name="connsiteX2735" fmla="*/ 6211905 w 11625583"/>
              <a:gd name="connsiteY2735" fmla="*/ 2342756 h 6380470"/>
              <a:gd name="connsiteX2736" fmla="*/ 6276571 w 11625583"/>
              <a:gd name="connsiteY2736" fmla="*/ 2278090 h 6380470"/>
              <a:gd name="connsiteX2737" fmla="*/ 6119999 w 11625583"/>
              <a:gd name="connsiteY2737" fmla="*/ 2278090 h 6380470"/>
              <a:gd name="connsiteX2738" fmla="*/ 6184665 w 11625583"/>
              <a:gd name="connsiteY2738" fmla="*/ 2342756 h 6380470"/>
              <a:gd name="connsiteX2739" fmla="*/ 6119999 w 11625583"/>
              <a:gd name="connsiteY2739" fmla="*/ 2407423 h 6380470"/>
              <a:gd name="connsiteX2740" fmla="*/ 6055333 w 11625583"/>
              <a:gd name="connsiteY2740" fmla="*/ 2342756 h 6380470"/>
              <a:gd name="connsiteX2741" fmla="*/ 6119999 w 11625583"/>
              <a:gd name="connsiteY2741" fmla="*/ 2278090 h 6380470"/>
              <a:gd name="connsiteX2742" fmla="*/ 5967339 w 11625583"/>
              <a:gd name="connsiteY2742" fmla="*/ 2278090 h 6380470"/>
              <a:gd name="connsiteX2743" fmla="*/ 6032005 w 11625583"/>
              <a:gd name="connsiteY2743" fmla="*/ 2342756 h 6380470"/>
              <a:gd name="connsiteX2744" fmla="*/ 5967339 w 11625583"/>
              <a:gd name="connsiteY2744" fmla="*/ 2407423 h 6380470"/>
              <a:gd name="connsiteX2745" fmla="*/ 5902673 w 11625583"/>
              <a:gd name="connsiteY2745" fmla="*/ 2342756 h 6380470"/>
              <a:gd name="connsiteX2746" fmla="*/ 5967339 w 11625583"/>
              <a:gd name="connsiteY2746" fmla="*/ 2278090 h 6380470"/>
              <a:gd name="connsiteX2747" fmla="*/ 5501540 w 11625583"/>
              <a:gd name="connsiteY2747" fmla="*/ 2278090 h 6380470"/>
              <a:gd name="connsiteX2748" fmla="*/ 5566203 w 11625583"/>
              <a:gd name="connsiteY2748" fmla="*/ 2342756 h 6380470"/>
              <a:gd name="connsiteX2749" fmla="*/ 5501540 w 11625583"/>
              <a:gd name="connsiteY2749" fmla="*/ 2407423 h 6380470"/>
              <a:gd name="connsiteX2750" fmla="*/ 5436881 w 11625583"/>
              <a:gd name="connsiteY2750" fmla="*/ 2342756 h 6380470"/>
              <a:gd name="connsiteX2751" fmla="*/ 5501540 w 11625583"/>
              <a:gd name="connsiteY2751" fmla="*/ 2278090 h 6380470"/>
              <a:gd name="connsiteX2752" fmla="*/ 5348888 w 11625583"/>
              <a:gd name="connsiteY2752" fmla="*/ 2278090 h 6380470"/>
              <a:gd name="connsiteX2753" fmla="*/ 5413553 w 11625583"/>
              <a:gd name="connsiteY2753" fmla="*/ 2342756 h 6380470"/>
              <a:gd name="connsiteX2754" fmla="*/ 5348888 w 11625583"/>
              <a:gd name="connsiteY2754" fmla="*/ 2407423 h 6380470"/>
              <a:gd name="connsiteX2755" fmla="*/ 5284227 w 11625583"/>
              <a:gd name="connsiteY2755" fmla="*/ 2342756 h 6380470"/>
              <a:gd name="connsiteX2756" fmla="*/ 5348888 w 11625583"/>
              <a:gd name="connsiteY2756" fmla="*/ 2278090 h 6380470"/>
              <a:gd name="connsiteX2757" fmla="*/ 5192318 w 11625583"/>
              <a:gd name="connsiteY2757" fmla="*/ 2278090 h 6380470"/>
              <a:gd name="connsiteX2758" fmla="*/ 5256980 w 11625583"/>
              <a:gd name="connsiteY2758" fmla="*/ 2342756 h 6380470"/>
              <a:gd name="connsiteX2759" fmla="*/ 5192318 w 11625583"/>
              <a:gd name="connsiteY2759" fmla="*/ 2407423 h 6380470"/>
              <a:gd name="connsiteX2760" fmla="*/ 5127652 w 11625583"/>
              <a:gd name="connsiteY2760" fmla="*/ 2342756 h 6380470"/>
              <a:gd name="connsiteX2761" fmla="*/ 5192318 w 11625583"/>
              <a:gd name="connsiteY2761" fmla="*/ 2278090 h 6380470"/>
              <a:gd name="connsiteX2762" fmla="*/ 3172598 w 11625583"/>
              <a:gd name="connsiteY2762" fmla="*/ 2278090 h 6380470"/>
              <a:gd name="connsiteX2763" fmla="*/ 3237268 w 11625583"/>
              <a:gd name="connsiteY2763" fmla="*/ 2342756 h 6380470"/>
              <a:gd name="connsiteX2764" fmla="*/ 3172598 w 11625583"/>
              <a:gd name="connsiteY2764" fmla="*/ 2407423 h 6380470"/>
              <a:gd name="connsiteX2765" fmla="*/ 3107920 w 11625583"/>
              <a:gd name="connsiteY2765" fmla="*/ 2342756 h 6380470"/>
              <a:gd name="connsiteX2766" fmla="*/ 3172598 w 11625583"/>
              <a:gd name="connsiteY2766" fmla="*/ 2278090 h 6380470"/>
              <a:gd name="connsiteX2767" fmla="*/ 3012091 w 11625583"/>
              <a:gd name="connsiteY2767" fmla="*/ 2278090 h 6380470"/>
              <a:gd name="connsiteX2768" fmla="*/ 3076760 w 11625583"/>
              <a:gd name="connsiteY2768" fmla="*/ 2342756 h 6380470"/>
              <a:gd name="connsiteX2769" fmla="*/ 3012091 w 11625583"/>
              <a:gd name="connsiteY2769" fmla="*/ 2407423 h 6380470"/>
              <a:gd name="connsiteX2770" fmla="*/ 2947431 w 11625583"/>
              <a:gd name="connsiteY2770" fmla="*/ 2342756 h 6380470"/>
              <a:gd name="connsiteX2771" fmla="*/ 3012091 w 11625583"/>
              <a:gd name="connsiteY2771" fmla="*/ 2278090 h 6380470"/>
              <a:gd name="connsiteX2772" fmla="*/ 2855533 w 11625583"/>
              <a:gd name="connsiteY2772" fmla="*/ 2278090 h 6380470"/>
              <a:gd name="connsiteX2773" fmla="*/ 2920192 w 11625583"/>
              <a:gd name="connsiteY2773" fmla="*/ 2342756 h 6380470"/>
              <a:gd name="connsiteX2774" fmla="*/ 2855533 w 11625583"/>
              <a:gd name="connsiteY2774" fmla="*/ 2407423 h 6380470"/>
              <a:gd name="connsiteX2775" fmla="*/ 2790873 w 11625583"/>
              <a:gd name="connsiteY2775" fmla="*/ 2342756 h 6380470"/>
              <a:gd name="connsiteX2776" fmla="*/ 2855533 w 11625583"/>
              <a:gd name="connsiteY2776" fmla="*/ 2278090 h 6380470"/>
              <a:gd name="connsiteX2777" fmla="*/ 2698976 w 11625583"/>
              <a:gd name="connsiteY2777" fmla="*/ 2278090 h 6380470"/>
              <a:gd name="connsiteX2778" fmla="*/ 2763635 w 11625583"/>
              <a:gd name="connsiteY2778" fmla="*/ 2342756 h 6380470"/>
              <a:gd name="connsiteX2779" fmla="*/ 2698976 w 11625583"/>
              <a:gd name="connsiteY2779" fmla="*/ 2407423 h 6380470"/>
              <a:gd name="connsiteX2780" fmla="*/ 2634317 w 11625583"/>
              <a:gd name="connsiteY2780" fmla="*/ 2342756 h 6380470"/>
              <a:gd name="connsiteX2781" fmla="*/ 2698976 w 11625583"/>
              <a:gd name="connsiteY2781" fmla="*/ 2278090 h 6380470"/>
              <a:gd name="connsiteX2782" fmla="*/ 2546333 w 11625583"/>
              <a:gd name="connsiteY2782" fmla="*/ 2278090 h 6380470"/>
              <a:gd name="connsiteX2783" fmla="*/ 2610993 w 11625583"/>
              <a:gd name="connsiteY2783" fmla="*/ 2342756 h 6380470"/>
              <a:gd name="connsiteX2784" fmla="*/ 2546333 w 11625583"/>
              <a:gd name="connsiteY2784" fmla="*/ 2407423 h 6380470"/>
              <a:gd name="connsiteX2785" fmla="*/ 2481673 w 11625583"/>
              <a:gd name="connsiteY2785" fmla="*/ 2342756 h 6380470"/>
              <a:gd name="connsiteX2786" fmla="*/ 2546333 w 11625583"/>
              <a:gd name="connsiteY2786" fmla="*/ 2278090 h 6380470"/>
              <a:gd name="connsiteX2787" fmla="*/ 2389761 w 11625583"/>
              <a:gd name="connsiteY2787" fmla="*/ 2278090 h 6380470"/>
              <a:gd name="connsiteX2788" fmla="*/ 2454433 w 11625583"/>
              <a:gd name="connsiteY2788" fmla="*/ 2342756 h 6380470"/>
              <a:gd name="connsiteX2789" fmla="*/ 2389761 w 11625583"/>
              <a:gd name="connsiteY2789" fmla="*/ 2407423 h 6380470"/>
              <a:gd name="connsiteX2790" fmla="*/ 2325098 w 11625583"/>
              <a:gd name="connsiteY2790" fmla="*/ 2342756 h 6380470"/>
              <a:gd name="connsiteX2791" fmla="*/ 2389761 w 11625583"/>
              <a:gd name="connsiteY2791" fmla="*/ 2278090 h 6380470"/>
              <a:gd name="connsiteX2792" fmla="*/ 2237087 w 11625583"/>
              <a:gd name="connsiteY2792" fmla="*/ 2278090 h 6380470"/>
              <a:gd name="connsiteX2793" fmla="*/ 2301766 w 11625583"/>
              <a:gd name="connsiteY2793" fmla="*/ 2342756 h 6380470"/>
              <a:gd name="connsiteX2794" fmla="*/ 2237087 w 11625583"/>
              <a:gd name="connsiteY2794" fmla="*/ 2407423 h 6380470"/>
              <a:gd name="connsiteX2795" fmla="*/ 2172408 w 11625583"/>
              <a:gd name="connsiteY2795" fmla="*/ 2342756 h 6380470"/>
              <a:gd name="connsiteX2796" fmla="*/ 2237087 w 11625583"/>
              <a:gd name="connsiteY2796" fmla="*/ 2278090 h 6380470"/>
              <a:gd name="connsiteX2797" fmla="*/ 9850358 w 11625583"/>
              <a:gd name="connsiteY2797" fmla="*/ 2137178 h 6380470"/>
              <a:gd name="connsiteX2798" fmla="*/ 9915024 w 11625583"/>
              <a:gd name="connsiteY2798" fmla="*/ 2201844 h 6380470"/>
              <a:gd name="connsiteX2799" fmla="*/ 9850358 w 11625583"/>
              <a:gd name="connsiteY2799" fmla="*/ 2266510 h 6380470"/>
              <a:gd name="connsiteX2800" fmla="*/ 9785692 w 11625583"/>
              <a:gd name="connsiteY2800" fmla="*/ 2201844 h 6380470"/>
              <a:gd name="connsiteX2801" fmla="*/ 9850358 w 11625583"/>
              <a:gd name="connsiteY2801" fmla="*/ 2137178 h 6380470"/>
              <a:gd name="connsiteX2802" fmla="*/ 9693783 w 11625583"/>
              <a:gd name="connsiteY2802" fmla="*/ 2137178 h 6380470"/>
              <a:gd name="connsiteX2803" fmla="*/ 9758449 w 11625583"/>
              <a:gd name="connsiteY2803" fmla="*/ 2201844 h 6380470"/>
              <a:gd name="connsiteX2804" fmla="*/ 9693783 w 11625583"/>
              <a:gd name="connsiteY2804" fmla="*/ 2266510 h 6380470"/>
              <a:gd name="connsiteX2805" fmla="*/ 9629117 w 11625583"/>
              <a:gd name="connsiteY2805" fmla="*/ 2201844 h 6380470"/>
              <a:gd name="connsiteX2806" fmla="*/ 9693783 w 11625583"/>
              <a:gd name="connsiteY2806" fmla="*/ 2137178 h 6380470"/>
              <a:gd name="connsiteX2807" fmla="*/ 9541123 w 11625583"/>
              <a:gd name="connsiteY2807" fmla="*/ 2137178 h 6380470"/>
              <a:gd name="connsiteX2808" fmla="*/ 9605789 w 11625583"/>
              <a:gd name="connsiteY2808" fmla="*/ 2201844 h 6380470"/>
              <a:gd name="connsiteX2809" fmla="*/ 9541123 w 11625583"/>
              <a:gd name="connsiteY2809" fmla="*/ 2266510 h 6380470"/>
              <a:gd name="connsiteX2810" fmla="*/ 9476457 w 11625583"/>
              <a:gd name="connsiteY2810" fmla="*/ 2201844 h 6380470"/>
              <a:gd name="connsiteX2811" fmla="*/ 9541123 w 11625583"/>
              <a:gd name="connsiteY2811" fmla="*/ 2137178 h 6380470"/>
              <a:gd name="connsiteX2812" fmla="*/ 9384550 w 11625583"/>
              <a:gd name="connsiteY2812" fmla="*/ 2137178 h 6380470"/>
              <a:gd name="connsiteX2813" fmla="*/ 9449216 w 11625583"/>
              <a:gd name="connsiteY2813" fmla="*/ 2201844 h 6380470"/>
              <a:gd name="connsiteX2814" fmla="*/ 9384550 w 11625583"/>
              <a:gd name="connsiteY2814" fmla="*/ 2266510 h 6380470"/>
              <a:gd name="connsiteX2815" fmla="*/ 9319884 w 11625583"/>
              <a:gd name="connsiteY2815" fmla="*/ 2201844 h 6380470"/>
              <a:gd name="connsiteX2816" fmla="*/ 9384550 w 11625583"/>
              <a:gd name="connsiteY2816" fmla="*/ 2137178 h 6380470"/>
              <a:gd name="connsiteX2817" fmla="*/ 9227977 w 11625583"/>
              <a:gd name="connsiteY2817" fmla="*/ 2137178 h 6380470"/>
              <a:gd name="connsiteX2818" fmla="*/ 9292643 w 11625583"/>
              <a:gd name="connsiteY2818" fmla="*/ 2201844 h 6380470"/>
              <a:gd name="connsiteX2819" fmla="*/ 9227977 w 11625583"/>
              <a:gd name="connsiteY2819" fmla="*/ 2266510 h 6380470"/>
              <a:gd name="connsiteX2820" fmla="*/ 9163311 w 11625583"/>
              <a:gd name="connsiteY2820" fmla="*/ 2201844 h 6380470"/>
              <a:gd name="connsiteX2821" fmla="*/ 9227977 w 11625583"/>
              <a:gd name="connsiteY2821" fmla="*/ 2137178 h 6380470"/>
              <a:gd name="connsiteX2822" fmla="*/ 9075319 w 11625583"/>
              <a:gd name="connsiteY2822" fmla="*/ 2137178 h 6380470"/>
              <a:gd name="connsiteX2823" fmla="*/ 9139985 w 11625583"/>
              <a:gd name="connsiteY2823" fmla="*/ 2201844 h 6380470"/>
              <a:gd name="connsiteX2824" fmla="*/ 9075319 w 11625583"/>
              <a:gd name="connsiteY2824" fmla="*/ 2266510 h 6380470"/>
              <a:gd name="connsiteX2825" fmla="*/ 9010653 w 11625583"/>
              <a:gd name="connsiteY2825" fmla="*/ 2201844 h 6380470"/>
              <a:gd name="connsiteX2826" fmla="*/ 9075319 w 11625583"/>
              <a:gd name="connsiteY2826" fmla="*/ 2137178 h 6380470"/>
              <a:gd name="connsiteX2827" fmla="*/ 8914831 w 11625583"/>
              <a:gd name="connsiteY2827" fmla="*/ 2137178 h 6380470"/>
              <a:gd name="connsiteX2828" fmla="*/ 8979497 w 11625583"/>
              <a:gd name="connsiteY2828" fmla="*/ 2201844 h 6380470"/>
              <a:gd name="connsiteX2829" fmla="*/ 8914831 w 11625583"/>
              <a:gd name="connsiteY2829" fmla="*/ 2266510 h 6380470"/>
              <a:gd name="connsiteX2830" fmla="*/ 8850165 w 11625583"/>
              <a:gd name="connsiteY2830" fmla="*/ 2201844 h 6380470"/>
              <a:gd name="connsiteX2831" fmla="*/ 8914831 w 11625583"/>
              <a:gd name="connsiteY2831" fmla="*/ 2137178 h 6380470"/>
              <a:gd name="connsiteX2832" fmla="*/ 8766086 w 11625583"/>
              <a:gd name="connsiteY2832" fmla="*/ 2137178 h 6380470"/>
              <a:gd name="connsiteX2833" fmla="*/ 8830752 w 11625583"/>
              <a:gd name="connsiteY2833" fmla="*/ 2201844 h 6380470"/>
              <a:gd name="connsiteX2834" fmla="*/ 8766086 w 11625583"/>
              <a:gd name="connsiteY2834" fmla="*/ 2266510 h 6380470"/>
              <a:gd name="connsiteX2835" fmla="*/ 8701420 w 11625583"/>
              <a:gd name="connsiteY2835" fmla="*/ 2201844 h 6380470"/>
              <a:gd name="connsiteX2836" fmla="*/ 8766086 w 11625583"/>
              <a:gd name="connsiteY2836" fmla="*/ 2137178 h 6380470"/>
              <a:gd name="connsiteX2837" fmla="*/ 8601685 w 11625583"/>
              <a:gd name="connsiteY2837" fmla="*/ 2137178 h 6380470"/>
              <a:gd name="connsiteX2838" fmla="*/ 8666351 w 11625583"/>
              <a:gd name="connsiteY2838" fmla="*/ 2201844 h 6380470"/>
              <a:gd name="connsiteX2839" fmla="*/ 8601685 w 11625583"/>
              <a:gd name="connsiteY2839" fmla="*/ 2266510 h 6380470"/>
              <a:gd name="connsiteX2840" fmla="*/ 8537019 w 11625583"/>
              <a:gd name="connsiteY2840" fmla="*/ 2201844 h 6380470"/>
              <a:gd name="connsiteX2841" fmla="*/ 8601685 w 11625583"/>
              <a:gd name="connsiteY2841" fmla="*/ 2137178 h 6380470"/>
              <a:gd name="connsiteX2842" fmla="*/ 8449025 w 11625583"/>
              <a:gd name="connsiteY2842" fmla="*/ 2137178 h 6380470"/>
              <a:gd name="connsiteX2843" fmla="*/ 8513691 w 11625583"/>
              <a:gd name="connsiteY2843" fmla="*/ 2201844 h 6380470"/>
              <a:gd name="connsiteX2844" fmla="*/ 8449025 w 11625583"/>
              <a:gd name="connsiteY2844" fmla="*/ 2266510 h 6380470"/>
              <a:gd name="connsiteX2845" fmla="*/ 8384359 w 11625583"/>
              <a:gd name="connsiteY2845" fmla="*/ 2201844 h 6380470"/>
              <a:gd name="connsiteX2846" fmla="*/ 8449025 w 11625583"/>
              <a:gd name="connsiteY2846" fmla="*/ 2137178 h 6380470"/>
              <a:gd name="connsiteX2847" fmla="*/ 8296368 w 11625583"/>
              <a:gd name="connsiteY2847" fmla="*/ 2137178 h 6380470"/>
              <a:gd name="connsiteX2848" fmla="*/ 8361034 w 11625583"/>
              <a:gd name="connsiteY2848" fmla="*/ 2201844 h 6380470"/>
              <a:gd name="connsiteX2849" fmla="*/ 8296368 w 11625583"/>
              <a:gd name="connsiteY2849" fmla="*/ 2266510 h 6380470"/>
              <a:gd name="connsiteX2850" fmla="*/ 8231702 w 11625583"/>
              <a:gd name="connsiteY2850" fmla="*/ 2201844 h 6380470"/>
              <a:gd name="connsiteX2851" fmla="*/ 8296368 w 11625583"/>
              <a:gd name="connsiteY2851" fmla="*/ 2137178 h 6380470"/>
              <a:gd name="connsiteX2852" fmla="*/ 8139793 w 11625583"/>
              <a:gd name="connsiteY2852" fmla="*/ 2137178 h 6380470"/>
              <a:gd name="connsiteX2853" fmla="*/ 8204459 w 11625583"/>
              <a:gd name="connsiteY2853" fmla="*/ 2201844 h 6380470"/>
              <a:gd name="connsiteX2854" fmla="*/ 8139793 w 11625583"/>
              <a:gd name="connsiteY2854" fmla="*/ 2266510 h 6380470"/>
              <a:gd name="connsiteX2855" fmla="*/ 8075127 w 11625583"/>
              <a:gd name="connsiteY2855" fmla="*/ 2201844 h 6380470"/>
              <a:gd name="connsiteX2856" fmla="*/ 8139793 w 11625583"/>
              <a:gd name="connsiteY2856" fmla="*/ 2137178 h 6380470"/>
              <a:gd name="connsiteX2857" fmla="*/ 7987133 w 11625583"/>
              <a:gd name="connsiteY2857" fmla="*/ 2137178 h 6380470"/>
              <a:gd name="connsiteX2858" fmla="*/ 8051799 w 11625583"/>
              <a:gd name="connsiteY2858" fmla="*/ 2201844 h 6380470"/>
              <a:gd name="connsiteX2859" fmla="*/ 7987133 w 11625583"/>
              <a:gd name="connsiteY2859" fmla="*/ 2266510 h 6380470"/>
              <a:gd name="connsiteX2860" fmla="*/ 7922467 w 11625583"/>
              <a:gd name="connsiteY2860" fmla="*/ 2201844 h 6380470"/>
              <a:gd name="connsiteX2861" fmla="*/ 7987133 w 11625583"/>
              <a:gd name="connsiteY2861" fmla="*/ 2137178 h 6380470"/>
              <a:gd name="connsiteX2862" fmla="*/ 7830562 w 11625583"/>
              <a:gd name="connsiteY2862" fmla="*/ 2137178 h 6380470"/>
              <a:gd name="connsiteX2863" fmla="*/ 7895228 w 11625583"/>
              <a:gd name="connsiteY2863" fmla="*/ 2201844 h 6380470"/>
              <a:gd name="connsiteX2864" fmla="*/ 7830562 w 11625583"/>
              <a:gd name="connsiteY2864" fmla="*/ 2266510 h 6380470"/>
              <a:gd name="connsiteX2865" fmla="*/ 7765896 w 11625583"/>
              <a:gd name="connsiteY2865" fmla="*/ 2201844 h 6380470"/>
              <a:gd name="connsiteX2866" fmla="*/ 7830562 w 11625583"/>
              <a:gd name="connsiteY2866" fmla="*/ 2137178 h 6380470"/>
              <a:gd name="connsiteX2867" fmla="*/ 7677904 w 11625583"/>
              <a:gd name="connsiteY2867" fmla="*/ 2137178 h 6380470"/>
              <a:gd name="connsiteX2868" fmla="*/ 7742570 w 11625583"/>
              <a:gd name="connsiteY2868" fmla="*/ 2201844 h 6380470"/>
              <a:gd name="connsiteX2869" fmla="*/ 7677904 w 11625583"/>
              <a:gd name="connsiteY2869" fmla="*/ 2266510 h 6380470"/>
              <a:gd name="connsiteX2870" fmla="*/ 7613238 w 11625583"/>
              <a:gd name="connsiteY2870" fmla="*/ 2201844 h 6380470"/>
              <a:gd name="connsiteX2871" fmla="*/ 7677904 w 11625583"/>
              <a:gd name="connsiteY2871" fmla="*/ 2137178 h 6380470"/>
              <a:gd name="connsiteX2872" fmla="*/ 7368669 w 11625583"/>
              <a:gd name="connsiteY2872" fmla="*/ 2137178 h 6380470"/>
              <a:gd name="connsiteX2873" fmla="*/ 7433335 w 11625583"/>
              <a:gd name="connsiteY2873" fmla="*/ 2201844 h 6380470"/>
              <a:gd name="connsiteX2874" fmla="*/ 7368669 w 11625583"/>
              <a:gd name="connsiteY2874" fmla="*/ 2266510 h 6380470"/>
              <a:gd name="connsiteX2875" fmla="*/ 7304003 w 11625583"/>
              <a:gd name="connsiteY2875" fmla="*/ 2201844 h 6380470"/>
              <a:gd name="connsiteX2876" fmla="*/ 7368669 w 11625583"/>
              <a:gd name="connsiteY2876" fmla="*/ 2137178 h 6380470"/>
              <a:gd name="connsiteX2877" fmla="*/ 7212096 w 11625583"/>
              <a:gd name="connsiteY2877" fmla="*/ 2137178 h 6380470"/>
              <a:gd name="connsiteX2878" fmla="*/ 7276762 w 11625583"/>
              <a:gd name="connsiteY2878" fmla="*/ 2201844 h 6380470"/>
              <a:gd name="connsiteX2879" fmla="*/ 7212096 w 11625583"/>
              <a:gd name="connsiteY2879" fmla="*/ 2266510 h 6380470"/>
              <a:gd name="connsiteX2880" fmla="*/ 7147430 w 11625583"/>
              <a:gd name="connsiteY2880" fmla="*/ 2201844 h 6380470"/>
              <a:gd name="connsiteX2881" fmla="*/ 7212096 w 11625583"/>
              <a:gd name="connsiteY2881" fmla="*/ 2137178 h 6380470"/>
              <a:gd name="connsiteX2882" fmla="*/ 7055523 w 11625583"/>
              <a:gd name="connsiteY2882" fmla="*/ 2137178 h 6380470"/>
              <a:gd name="connsiteX2883" fmla="*/ 7120189 w 11625583"/>
              <a:gd name="connsiteY2883" fmla="*/ 2201844 h 6380470"/>
              <a:gd name="connsiteX2884" fmla="*/ 7055523 w 11625583"/>
              <a:gd name="connsiteY2884" fmla="*/ 2266510 h 6380470"/>
              <a:gd name="connsiteX2885" fmla="*/ 6990857 w 11625583"/>
              <a:gd name="connsiteY2885" fmla="*/ 2201844 h 6380470"/>
              <a:gd name="connsiteX2886" fmla="*/ 7055523 w 11625583"/>
              <a:gd name="connsiteY2886" fmla="*/ 2137178 h 6380470"/>
              <a:gd name="connsiteX2887" fmla="*/ 6895037 w 11625583"/>
              <a:gd name="connsiteY2887" fmla="*/ 2137178 h 6380470"/>
              <a:gd name="connsiteX2888" fmla="*/ 6959703 w 11625583"/>
              <a:gd name="connsiteY2888" fmla="*/ 2201844 h 6380470"/>
              <a:gd name="connsiteX2889" fmla="*/ 6895037 w 11625583"/>
              <a:gd name="connsiteY2889" fmla="*/ 2266510 h 6380470"/>
              <a:gd name="connsiteX2890" fmla="*/ 6830371 w 11625583"/>
              <a:gd name="connsiteY2890" fmla="*/ 2201844 h 6380470"/>
              <a:gd name="connsiteX2891" fmla="*/ 6895037 w 11625583"/>
              <a:gd name="connsiteY2891" fmla="*/ 2137178 h 6380470"/>
              <a:gd name="connsiteX2892" fmla="*/ 6742377 w 11625583"/>
              <a:gd name="connsiteY2892" fmla="*/ 2137178 h 6380470"/>
              <a:gd name="connsiteX2893" fmla="*/ 6807043 w 11625583"/>
              <a:gd name="connsiteY2893" fmla="*/ 2201844 h 6380470"/>
              <a:gd name="connsiteX2894" fmla="*/ 6742377 w 11625583"/>
              <a:gd name="connsiteY2894" fmla="*/ 2266510 h 6380470"/>
              <a:gd name="connsiteX2895" fmla="*/ 6677711 w 11625583"/>
              <a:gd name="connsiteY2895" fmla="*/ 2201844 h 6380470"/>
              <a:gd name="connsiteX2896" fmla="*/ 6742377 w 11625583"/>
              <a:gd name="connsiteY2896" fmla="*/ 2137178 h 6380470"/>
              <a:gd name="connsiteX2897" fmla="*/ 6429231 w 11625583"/>
              <a:gd name="connsiteY2897" fmla="*/ 2137178 h 6380470"/>
              <a:gd name="connsiteX2898" fmla="*/ 6493897 w 11625583"/>
              <a:gd name="connsiteY2898" fmla="*/ 2201844 h 6380470"/>
              <a:gd name="connsiteX2899" fmla="*/ 6429231 w 11625583"/>
              <a:gd name="connsiteY2899" fmla="*/ 2266510 h 6380470"/>
              <a:gd name="connsiteX2900" fmla="*/ 6364565 w 11625583"/>
              <a:gd name="connsiteY2900" fmla="*/ 2201844 h 6380470"/>
              <a:gd name="connsiteX2901" fmla="*/ 6429231 w 11625583"/>
              <a:gd name="connsiteY2901" fmla="*/ 2137178 h 6380470"/>
              <a:gd name="connsiteX2902" fmla="*/ 6276571 w 11625583"/>
              <a:gd name="connsiteY2902" fmla="*/ 2137178 h 6380470"/>
              <a:gd name="connsiteX2903" fmla="*/ 6341237 w 11625583"/>
              <a:gd name="connsiteY2903" fmla="*/ 2201844 h 6380470"/>
              <a:gd name="connsiteX2904" fmla="*/ 6276571 w 11625583"/>
              <a:gd name="connsiteY2904" fmla="*/ 2266510 h 6380470"/>
              <a:gd name="connsiteX2905" fmla="*/ 6211905 w 11625583"/>
              <a:gd name="connsiteY2905" fmla="*/ 2201844 h 6380470"/>
              <a:gd name="connsiteX2906" fmla="*/ 6276571 w 11625583"/>
              <a:gd name="connsiteY2906" fmla="*/ 2137178 h 6380470"/>
              <a:gd name="connsiteX2907" fmla="*/ 6119999 w 11625583"/>
              <a:gd name="connsiteY2907" fmla="*/ 2137178 h 6380470"/>
              <a:gd name="connsiteX2908" fmla="*/ 6184665 w 11625583"/>
              <a:gd name="connsiteY2908" fmla="*/ 2201844 h 6380470"/>
              <a:gd name="connsiteX2909" fmla="*/ 6119999 w 11625583"/>
              <a:gd name="connsiteY2909" fmla="*/ 2266510 h 6380470"/>
              <a:gd name="connsiteX2910" fmla="*/ 6055333 w 11625583"/>
              <a:gd name="connsiteY2910" fmla="*/ 2201844 h 6380470"/>
              <a:gd name="connsiteX2911" fmla="*/ 6119999 w 11625583"/>
              <a:gd name="connsiteY2911" fmla="*/ 2137178 h 6380470"/>
              <a:gd name="connsiteX2912" fmla="*/ 5967339 w 11625583"/>
              <a:gd name="connsiteY2912" fmla="*/ 2137178 h 6380470"/>
              <a:gd name="connsiteX2913" fmla="*/ 6032005 w 11625583"/>
              <a:gd name="connsiteY2913" fmla="*/ 2201844 h 6380470"/>
              <a:gd name="connsiteX2914" fmla="*/ 5967339 w 11625583"/>
              <a:gd name="connsiteY2914" fmla="*/ 2266510 h 6380470"/>
              <a:gd name="connsiteX2915" fmla="*/ 5902673 w 11625583"/>
              <a:gd name="connsiteY2915" fmla="*/ 2201844 h 6380470"/>
              <a:gd name="connsiteX2916" fmla="*/ 5967339 w 11625583"/>
              <a:gd name="connsiteY2916" fmla="*/ 2137178 h 6380470"/>
              <a:gd name="connsiteX2917" fmla="*/ 5810794 w 11625583"/>
              <a:gd name="connsiteY2917" fmla="*/ 2137178 h 6380470"/>
              <a:gd name="connsiteX2918" fmla="*/ 5875432 w 11625583"/>
              <a:gd name="connsiteY2918" fmla="*/ 2201844 h 6380470"/>
              <a:gd name="connsiteX2919" fmla="*/ 5810794 w 11625583"/>
              <a:gd name="connsiteY2919" fmla="*/ 2266510 h 6380470"/>
              <a:gd name="connsiteX2920" fmla="*/ 5746114 w 11625583"/>
              <a:gd name="connsiteY2920" fmla="*/ 2201844 h 6380470"/>
              <a:gd name="connsiteX2921" fmla="*/ 5810794 w 11625583"/>
              <a:gd name="connsiteY2921" fmla="*/ 2137178 h 6380470"/>
              <a:gd name="connsiteX2922" fmla="*/ 5658108 w 11625583"/>
              <a:gd name="connsiteY2922" fmla="*/ 2137178 h 6380470"/>
              <a:gd name="connsiteX2923" fmla="*/ 5722781 w 11625583"/>
              <a:gd name="connsiteY2923" fmla="*/ 2201844 h 6380470"/>
              <a:gd name="connsiteX2924" fmla="*/ 5658108 w 11625583"/>
              <a:gd name="connsiteY2924" fmla="*/ 2266510 h 6380470"/>
              <a:gd name="connsiteX2925" fmla="*/ 5593441 w 11625583"/>
              <a:gd name="connsiteY2925" fmla="*/ 2201844 h 6380470"/>
              <a:gd name="connsiteX2926" fmla="*/ 5658108 w 11625583"/>
              <a:gd name="connsiteY2926" fmla="*/ 2137178 h 6380470"/>
              <a:gd name="connsiteX2927" fmla="*/ 5501540 w 11625583"/>
              <a:gd name="connsiteY2927" fmla="*/ 2137178 h 6380470"/>
              <a:gd name="connsiteX2928" fmla="*/ 5566204 w 11625583"/>
              <a:gd name="connsiteY2928" fmla="*/ 2201844 h 6380470"/>
              <a:gd name="connsiteX2929" fmla="*/ 5501540 w 11625583"/>
              <a:gd name="connsiteY2929" fmla="*/ 2266510 h 6380470"/>
              <a:gd name="connsiteX2930" fmla="*/ 5436883 w 11625583"/>
              <a:gd name="connsiteY2930" fmla="*/ 2201844 h 6380470"/>
              <a:gd name="connsiteX2931" fmla="*/ 5501540 w 11625583"/>
              <a:gd name="connsiteY2931" fmla="*/ 2137178 h 6380470"/>
              <a:gd name="connsiteX2932" fmla="*/ 3321359 w 11625583"/>
              <a:gd name="connsiteY2932" fmla="*/ 2137178 h 6380470"/>
              <a:gd name="connsiteX2933" fmla="*/ 3386011 w 11625583"/>
              <a:gd name="connsiteY2933" fmla="*/ 2201844 h 6380470"/>
              <a:gd name="connsiteX2934" fmla="*/ 3321359 w 11625583"/>
              <a:gd name="connsiteY2934" fmla="*/ 2266510 h 6380470"/>
              <a:gd name="connsiteX2935" fmla="*/ 3256695 w 11625583"/>
              <a:gd name="connsiteY2935" fmla="*/ 2201844 h 6380470"/>
              <a:gd name="connsiteX2936" fmla="*/ 3321359 w 11625583"/>
              <a:gd name="connsiteY2936" fmla="*/ 2137178 h 6380470"/>
              <a:gd name="connsiteX2937" fmla="*/ 3172606 w 11625583"/>
              <a:gd name="connsiteY2937" fmla="*/ 2137178 h 6380470"/>
              <a:gd name="connsiteX2938" fmla="*/ 3237278 w 11625583"/>
              <a:gd name="connsiteY2938" fmla="*/ 2201844 h 6380470"/>
              <a:gd name="connsiteX2939" fmla="*/ 3172606 w 11625583"/>
              <a:gd name="connsiteY2939" fmla="*/ 2266510 h 6380470"/>
              <a:gd name="connsiteX2940" fmla="*/ 3107925 w 11625583"/>
              <a:gd name="connsiteY2940" fmla="*/ 2201844 h 6380470"/>
              <a:gd name="connsiteX2941" fmla="*/ 3172606 w 11625583"/>
              <a:gd name="connsiteY2941" fmla="*/ 2137178 h 6380470"/>
              <a:gd name="connsiteX2942" fmla="*/ 3012096 w 11625583"/>
              <a:gd name="connsiteY2942" fmla="*/ 2137178 h 6380470"/>
              <a:gd name="connsiteX2943" fmla="*/ 3076765 w 11625583"/>
              <a:gd name="connsiteY2943" fmla="*/ 2201844 h 6380470"/>
              <a:gd name="connsiteX2944" fmla="*/ 3012096 w 11625583"/>
              <a:gd name="connsiteY2944" fmla="*/ 2266510 h 6380470"/>
              <a:gd name="connsiteX2945" fmla="*/ 2947438 w 11625583"/>
              <a:gd name="connsiteY2945" fmla="*/ 2201844 h 6380470"/>
              <a:gd name="connsiteX2946" fmla="*/ 3012096 w 11625583"/>
              <a:gd name="connsiteY2946" fmla="*/ 2137178 h 6380470"/>
              <a:gd name="connsiteX2947" fmla="*/ 2855539 w 11625583"/>
              <a:gd name="connsiteY2947" fmla="*/ 2137178 h 6380470"/>
              <a:gd name="connsiteX2948" fmla="*/ 2920198 w 11625583"/>
              <a:gd name="connsiteY2948" fmla="*/ 2201844 h 6380470"/>
              <a:gd name="connsiteX2949" fmla="*/ 2855539 w 11625583"/>
              <a:gd name="connsiteY2949" fmla="*/ 2266510 h 6380470"/>
              <a:gd name="connsiteX2950" fmla="*/ 2790880 w 11625583"/>
              <a:gd name="connsiteY2950" fmla="*/ 2201844 h 6380470"/>
              <a:gd name="connsiteX2951" fmla="*/ 2855539 w 11625583"/>
              <a:gd name="connsiteY2951" fmla="*/ 2137178 h 6380470"/>
              <a:gd name="connsiteX2952" fmla="*/ 2698983 w 11625583"/>
              <a:gd name="connsiteY2952" fmla="*/ 2137178 h 6380470"/>
              <a:gd name="connsiteX2953" fmla="*/ 2763642 w 11625583"/>
              <a:gd name="connsiteY2953" fmla="*/ 2201844 h 6380470"/>
              <a:gd name="connsiteX2954" fmla="*/ 2698983 w 11625583"/>
              <a:gd name="connsiteY2954" fmla="*/ 2266510 h 6380470"/>
              <a:gd name="connsiteX2955" fmla="*/ 2634325 w 11625583"/>
              <a:gd name="connsiteY2955" fmla="*/ 2201844 h 6380470"/>
              <a:gd name="connsiteX2956" fmla="*/ 2698983 w 11625583"/>
              <a:gd name="connsiteY2956" fmla="*/ 2137178 h 6380470"/>
              <a:gd name="connsiteX2957" fmla="*/ 2546341 w 11625583"/>
              <a:gd name="connsiteY2957" fmla="*/ 2137178 h 6380470"/>
              <a:gd name="connsiteX2958" fmla="*/ 2611002 w 11625583"/>
              <a:gd name="connsiteY2958" fmla="*/ 2201844 h 6380470"/>
              <a:gd name="connsiteX2959" fmla="*/ 2546341 w 11625583"/>
              <a:gd name="connsiteY2959" fmla="*/ 2266510 h 6380470"/>
              <a:gd name="connsiteX2960" fmla="*/ 2481681 w 11625583"/>
              <a:gd name="connsiteY2960" fmla="*/ 2201844 h 6380470"/>
              <a:gd name="connsiteX2961" fmla="*/ 2546341 w 11625583"/>
              <a:gd name="connsiteY2961" fmla="*/ 2137178 h 6380470"/>
              <a:gd name="connsiteX2962" fmla="*/ 2389761 w 11625583"/>
              <a:gd name="connsiteY2962" fmla="*/ 2137178 h 6380470"/>
              <a:gd name="connsiteX2963" fmla="*/ 2454444 w 11625583"/>
              <a:gd name="connsiteY2963" fmla="*/ 2201844 h 6380470"/>
              <a:gd name="connsiteX2964" fmla="*/ 2389761 w 11625583"/>
              <a:gd name="connsiteY2964" fmla="*/ 2266510 h 6380470"/>
              <a:gd name="connsiteX2965" fmla="*/ 2325107 w 11625583"/>
              <a:gd name="connsiteY2965" fmla="*/ 2201844 h 6380470"/>
              <a:gd name="connsiteX2966" fmla="*/ 2389761 w 11625583"/>
              <a:gd name="connsiteY2966" fmla="*/ 2137178 h 6380470"/>
              <a:gd name="connsiteX2967" fmla="*/ 2237094 w 11625583"/>
              <a:gd name="connsiteY2967" fmla="*/ 2137178 h 6380470"/>
              <a:gd name="connsiteX2968" fmla="*/ 2301774 w 11625583"/>
              <a:gd name="connsiteY2968" fmla="*/ 2201844 h 6380470"/>
              <a:gd name="connsiteX2969" fmla="*/ 2237094 w 11625583"/>
              <a:gd name="connsiteY2969" fmla="*/ 2266510 h 6380470"/>
              <a:gd name="connsiteX2970" fmla="*/ 2172414 w 11625583"/>
              <a:gd name="connsiteY2970" fmla="*/ 2201844 h 6380470"/>
              <a:gd name="connsiteX2971" fmla="*/ 2237094 w 11625583"/>
              <a:gd name="connsiteY2971" fmla="*/ 2137178 h 6380470"/>
              <a:gd name="connsiteX2972" fmla="*/ 2084416 w 11625583"/>
              <a:gd name="connsiteY2972" fmla="*/ 2137178 h 6380470"/>
              <a:gd name="connsiteX2973" fmla="*/ 2149082 w 11625583"/>
              <a:gd name="connsiteY2973" fmla="*/ 2201844 h 6380470"/>
              <a:gd name="connsiteX2974" fmla="*/ 2084416 w 11625583"/>
              <a:gd name="connsiteY2974" fmla="*/ 2266510 h 6380470"/>
              <a:gd name="connsiteX2975" fmla="*/ 2019767 w 11625583"/>
              <a:gd name="connsiteY2975" fmla="*/ 2201844 h 6380470"/>
              <a:gd name="connsiteX2976" fmla="*/ 2084416 w 11625583"/>
              <a:gd name="connsiteY2976" fmla="*/ 2137178 h 6380470"/>
              <a:gd name="connsiteX2977" fmla="*/ 1927830 w 11625583"/>
              <a:gd name="connsiteY2977" fmla="*/ 2137178 h 6380470"/>
              <a:gd name="connsiteX2978" fmla="*/ 1992519 w 11625583"/>
              <a:gd name="connsiteY2978" fmla="*/ 2201844 h 6380470"/>
              <a:gd name="connsiteX2979" fmla="*/ 1927830 w 11625583"/>
              <a:gd name="connsiteY2979" fmla="*/ 2266510 h 6380470"/>
              <a:gd name="connsiteX2980" fmla="*/ 1863193 w 11625583"/>
              <a:gd name="connsiteY2980" fmla="*/ 2201844 h 6380470"/>
              <a:gd name="connsiteX2981" fmla="*/ 1927830 w 11625583"/>
              <a:gd name="connsiteY2981" fmla="*/ 2137178 h 6380470"/>
              <a:gd name="connsiteX2982" fmla="*/ 1775186 w 11625583"/>
              <a:gd name="connsiteY2982" fmla="*/ 2137178 h 6380470"/>
              <a:gd name="connsiteX2983" fmla="*/ 1839865 w 11625583"/>
              <a:gd name="connsiteY2983" fmla="*/ 2201844 h 6380470"/>
              <a:gd name="connsiteX2984" fmla="*/ 1775186 w 11625583"/>
              <a:gd name="connsiteY2984" fmla="*/ 2266510 h 6380470"/>
              <a:gd name="connsiteX2985" fmla="*/ 1710516 w 11625583"/>
              <a:gd name="connsiteY2985" fmla="*/ 2201844 h 6380470"/>
              <a:gd name="connsiteX2986" fmla="*/ 1775186 w 11625583"/>
              <a:gd name="connsiteY2986" fmla="*/ 2137178 h 6380470"/>
              <a:gd name="connsiteX2987" fmla="*/ 1618605 w 11625583"/>
              <a:gd name="connsiteY2987" fmla="*/ 2137178 h 6380470"/>
              <a:gd name="connsiteX2988" fmla="*/ 1683274 w 11625583"/>
              <a:gd name="connsiteY2988" fmla="*/ 2201844 h 6380470"/>
              <a:gd name="connsiteX2989" fmla="*/ 1618605 w 11625583"/>
              <a:gd name="connsiteY2989" fmla="*/ 2266510 h 6380470"/>
              <a:gd name="connsiteX2990" fmla="*/ 1553941 w 11625583"/>
              <a:gd name="connsiteY2990" fmla="*/ 2201844 h 6380470"/>
              <a:gd name="connsiteX2991" fmla="*/ 1618605 w 11625583"/>
              <a:gd name="connsiteY2991" fmla="*/ 2137178 h 6380470"/>
              <a:gd name="connsiteX2992" fmla="*/ 1465947 w 11625583"/>
              <a:gd name="connsiteY2992" fmla="*/ 2137178 h 6380470"/>
              <a:gd name="connsiteX2993" fmla="*/ 1530613 w 11625583"/>
              <a:gd name="connsiteY2993" fmla="*/ 2201844 h 6380470"/>
              <a:gd name="connsiteX2994" fmla="*/ 1465947 w 11625583"/>
              <a:gd name="connsiteY2994" fmla="*/ 2266510 h 6380470"/>
              <a:gd name="connsiteX2995" fmla="*/ 1401283 w 11625583"/>
              <a:gd name="connsiteY2995" fmla="*/ 2201844 h 6380470"/>
              <a:gd name="connsiteX2996" fmla="*/ 1465947 w 11625583"/>
              <a:gd name="connsiteY2996" fmla="*/ 2137178 h 6380470"/>
              <a:gd name="connsiteX2997" fmla="*/ 5348894 w 11625583"/>
              <a:gd name="connsiteY2997" fmla="*/ 2137174 h 6380470"/>
              <a:gd name="connsiteX2998" fmla="*/ 5413562 w 11625583"/>
              <a:gd name="connsiteY2998" fmla="*/ 2201840 h 6380470"/>
              <a:gd name="connsiteX2999" fmla="*/ 5348894 w 11625583"/>
              <a:gd name="connsiteY2999" fmla="*/ 2266507 h 6380470"/>
              <a:gd name="connsiteX3000" fmla="*/ 5284237 w 11625583"/>
              <a:gd name="connsiteY3000" fmla="*/ 2201840 h 6380470"/>
              <a:gd name="connsiteX3001" fmla="*/ 5348894 w 11625583"/>
              <a:gd name="connsiteY3001" fmla="*/ 2137174 h 6380470"/>
              <a:gd name="connsiteX3002" fmla="*/ 5192302 w 11625583"/>
              <a:gd name="connsiteY3002" fmla="*/ 2137174 h 6380470"/>
              <a:gd name="connsiteX3003" fmla="*/ 5256968 w 11625583"/>
              <a:gd name="connsiteY3003" fmla="*/ 2201840 h 6380470"/>
              <a:gd name="connsiteX3004" fmla="*/ 5192302 w 11625583"/>
              <a:gd name="connsiteY3004" fmla="*/ 2266506 h 6380470"/>
              <a:gd name="connsiteX3005" fmla="*/ 5127636 w 11625583"/>
              <a:gd name="connsiteY3005" fmla="*/ 2201840 h 6380470"/>
              <a:gd name="connsiteX3006" fmla="*/ 5192302 w 11625583"/>
              <a:gd name="connsiteY3006" fmla="*/ 2137174 h 6380470"/>
              <a:gd name="connsiteX3007" fmla="*/ 10312248 w 11625583"/>
              <a:gd name="connsiteY3007" fmla="*/ 2000175 h 6380470"/>
              <a:gd name="connsiteX3008" fmla="*/ 10376914 w 11625583"/>
              <a:gd name="connsiteY3008" fmla="*/ 2064841 h 6380470"/>
              <a:gd name="connsiteX3009" fmla="*/ 10312248 w 11625583"/>
              <a:gd name="connsiteY3009" fmla="*/ 2129508 h 6380470"/>
              <a:gd name="connsiteX3010" fmla="*/ 10247582 w 11625583"/>
              <a:gd name="connsiteY3010" fmla="*/ 2064841 h 6380470"/>
              <a:gd name="connsiteX3011" fmla="*/ 10312248 w 11625583"/>
              <a:gd name="connsiteY3011" fmla="*/ 2000175 h 6380470"/>
              <a:gd name="connsiteX3012" fmla="*/ 10159588 w 11625583"/>
              <a:gd name="connsiteY3012" fmla="*/ 2000175 h 6380470"/>
              <a:gd name="connsiteX3013" fmla="*/ 10224254 w 11625583"/>
              <a:gd name="connsiteY3013" fmla="*/ 2064841 h 6380470"/>
              <a:gd name="connsiteX3014" fmla="*/ 10159588 w 11625583"/>
              <a:gd name="connsiteY3014" fmla="*/ 2129508 h 6380470"/>
              <a:gd name="connsiteX3015" fmla="*/ 10094922 w 11625583"/>
              <a:gd name="connsiteY3015" fmla="*/ 2064841 h 6380470"/>
              <a:gd name="connsiteX3016" fmla="*/ 10159588 w 11625583"/>
              <a:gd name="connsiteY3016" fmla="*/ 2000175 h 6380470"/>
              <a:gd name="connsiteX3017" fmla="*/ 10003016 w 11625583"/>
              <a:gd name="connsiteY3017" fmla="*/ 2000175 h 6380470"/>
              <a:gd name="connsiteX3018" fmla="*/ 10067682 w 11625583"/>
              <a:gd name="connsiteY3018" fmla="*/ 2064841 h 6380470"/>
              <a:gd name="connsiteX3019" fmla="*/ 10003016 w 11625583"/>
              <a:gd name="connsiteY3019" fmla="*/ 2129508 h 6380470"/>
              <a:gd name="connsiteX3020" fmla="*/ 9938350 w 11625583"/>
              <a:gd name="connsiteY3020" fmla="*/ 2064841 h 6380470"/>
              <a:gd name="connsiteX3021" fmla="*/ 10003016 w 11625583"/>
              <a:gd name="connsiteY3021" fmla="*/ 2000175 h 6380470"/>
              <a:gd name="connsiteX3022" fmla="*/ 9850358 w 11625583"/>
              <a:gd name="connsiteY3022" fmla="*/ 2000175 h 6380470"/>
              <a:gd name="connsiteX3023" fmla="*/ 9915024 w 11625583"/>
              <a:gd name="connsiteY3023" fmla="*/ 2064841 h 6380470"/>
              <a:gd name="connsiteX3024" fmla="*/ 9850358 w 11625583"/>
              <a:gd name="connsiteY3024" fmla="*/ 2129508 h 6380470"/>
              <a:gd name="connsiteX3025" fmla="*/ 9785692 w 11625583"/>
              <a:gd name="connsiteY3025" fmla="*/ 2064841 h 6380470"/>
              <a:gd name="connsiteX3026" fmla="*/ 9850358 w 11625583"/>
              <a:gd name="connsiteY3026" fmla="*/ 2000175 h 6380470"/>
              <a:gd name="connsiteX3027" fmla="*/ 9693783 w 11625583"/>
              <a:gd name="connsiteY3027" fmla="*/ 2000175 h 6380470"/>
              <a:gd name="connsiteX3028" fmla="*/ 9758449 w 11625583"/>
              <a:gd name="connsiteY3028" fmla="*/ 2064841 h 6380470"/>
              <a:gd name="connsiteX3029" fmla="*/ 9693783 w 11625583"/>
              <a:gd name="connsiteY3029" fmla="*/ 2129508 h 6380470"/>
              <a:gd name="connsiteX3030" fmla="*/ 9629117 w 11625583"/>
              <a:gd name="connsiteY3030" fmla="*/ 2064841 h 6380470"/>
              <a:gd name="connsiteX3031" fmla="*/ 9693783 w 11625583"/>
              <a:gd name="connsiteY3031" fmla="*/ 2000175 h 6380470"/>
              <a:gd name="connsiteX3032" fmla="*/ 9541123 w 11625583"/>
              <a:gd name="connsiteY3032" fmla="*/ 2000175 h 6380470"/>
              <a:gd name="connsiteX3033" fmla="*/ 9605789 w 11625583"/>
              <a:gd name="connsiteY3033" fmla="*/ 2064841 h 6380470"/>
              <a:gd name="connsiteX3034" fmla="*/ 9541123 w 11625583"/>
              <a:gd name="connsiteY3034" fmla="*/ 2129508 h 6380470"/>
              <a:gd name="connsiteX3035" fmla="*/ 9476457 w 11625583"/>
              <a:gd name="connsiteY3035" fmla="*/ 2064841 h 6380470"/>
              <a:gd name="connsiteX3036" fmla="*/ 9541123 w 11625583"/>
              <a:gd name="connsiteY3036" fmla="*/ 2000175 h 6380470"/>
              <a:gd name="connsiteX3037" fmla="*/ 9384550 w 11625583"/>
              <a:gd name="connsiteY3037" fmla="*/ 2000175 h 6380470"/>
              <a:gd name="connsiteX3038" fmla="*/ 9449216 w 11625583"/>
              <a:gd name="connsiteY3038" fmla="*/ 2064841 h 6380470"/>
              <a:gd name="connsiteX3039" fmla="*/ 9384550 w 11625583"/>
              <a:gd name="connsiteY3039" fmla="*/ 2129508 h 6380470"/>
              <a:gd name="connsiteX3040" fmla="*/ 9319884 w 11625583"/>
              <a:gd name="connsiteY3040" fmla="*/ 2064841 h 6380470"/>
              <a:gd name="connsiteX3041" fmla="*/ 9384550 w 11625583"/>
              <a:gd name="connsiteY3041" fmla="*/ 2000175 h 6380470"/>
              <a:gd name="connsiteX3042" fmla="*/ 9227977 w 11625583"/>
              <a:gd name="connsiteY3042" fmla="*/ 2000175 h 6380470"/>
              <a:gd name="connsiteX3043" fmla="*/ 9292643 w 11625583"/>
              <a:gd name="connsiteY3043" fmla="*/ 2064841 h 6380470"/>
              <a:gd name="connsiteX3044" fmla="*/ 9227977 w 11625583"/>
              <a:gd name="connsiteY3044" fmla="*/ 2129508 h 6380470"/>
              <a:gd name="connsiteX3045" fmla="*/ 9163311 w 11625583"/>
              <a:gd name="connsiteY3045" fmla="*/ 2064841 h 6380470"/>
              <a:gd name="connsiteX3046" fmla="*/ 9227977 w 11625583"/>
              <a:gd name="connsiteY3046" fmla="*/ 2000175 h 6380470"/>
              <a:gd name="connsiteX3047" fmla="*/ 9075319 w 11625583"/>
              <a:gd name="connsiteY3047" fmla="*/ 2000175 h 6380470"/>
              <a:gd name="connsiteX3048" fmla="*/ 9139985 w 11625583"/>
              <a:gd name="connsiteY3048" fmla="*/ 2064841 h 6380470"/>
              <a:gd name="connsiteX3049" fmla="*/ 9075319 w 11625583"/>
              <a:gd name="connsiteY3049" fmla="*/ 2129508 h 6380470"/>
              <a:gd name="connsiteX3050" fmla="*/ 9010653 w 11625583"/>
              <a:gd name="connsiteY3050" fmla="*/ 2064841 h 6380470"/>
              <a:gd name="connsiteX3051" fmla="*/ 9075319 w 11625583"/>
              <a:gd name="connsiteY3051" fmla="*/ 2000175 h 6380470"/>
              <a:gd name="connsiteX3052" fmla="*/ 8914831 w 11625583"/>
              <a:gd name="connsiteY3052" fmla="*/ 2000175 h 6380470"/>
              <a:gd name="connsiteX3053" fmla="*/ 8979497 w 11625583"/>
              <a:gd name="connsiteY3053" fmla="*/ 2064841 h 6380470"/>
              <a:gd name="connsiteX3054" fmla="*/ 8914831 w 11625583"/>
              <a:gd name="connsiteY3054" fmla="*/ 2129508 h 6380470"/>
              <a:gd name="connsiteX3055" fmla="*/ 8850165 w 11625583"/>
              <a:gd name="connsiteY3055" fmla="*/ 2064841 h 6380470"/>
              <a:gd name="connsiteX3056" fmla="*/ 8914831 w 11625583"/>
              <a:gd name="connsiteY3056" fmla="*/ 2000175 h 6380470"/>
              <a:gd name="connsiteX3057" fmla="*/ 8766086 w 11625583"/>
              <a:gd name="connsiteY3057" fmla="*/ 2000175 h 6380470"/>
              <a:gd name="connsiteX3058" fmla="*/ 8830752 w 11625583"/>
              <a:gd name="connsiteY3058" fmla="*/ 2064841 h 6380470"/>
              <a:gd name="connsiteX3059" fmla="*/ 8766086 w 11625583"/>
              <a:gd name="connsiteY3059" fmla="*/ 2129508 h 6380470"/>
              <a:gd name="connsiteX3060" fmla="*/ 8701420 w 11625583"/>
              <a:gd name="connsiteY3060" fmla="*/ 2064841 h 6380470"/>
              <a:gd name="connsiteX3061" fmla="*/ 8766086 w 11625583"/>
              <a:gd name="connsiteY3061" fmla="*/ 2000175 h 6380470"/>
              <a:gd name="connsiteX3062" fmla="*/ 8601685 w 11625583"/>
              <a:gd name="connsiteY3062" fmla="*/ 2000175 h 6380470"/>
              <a:gd name="connsiteX3063" fmla="*/ 8666351 w 11625583"/>
              <a:gd name="connsiteY3063" fmla="*/ 2064841 h 6380470"/>
              <a:gd name="connsiteX3064" fmla="*/ 8601685 w 11625583"/>
              <a:gd name="connsiteY3064" fmla="*/ 2129508 h 6380470"/>
              <a:gd name="connsiteX3065" fmla="*/ 8537019 w 11625583"/>
              <a:gd name="connsiteY3065" fmla="*/ 2064841 h 6380470"/>
              <a:gd name="connsiteX3066" fmla="*/ 8601685 w 11625583"/>
              <a:gd name="connsiteY3066" fmla="*/ 2000175 h 6380470"/>
              <a:gd name="connsiteX3067" fmla="*/ 8449025 w 11625583"/>
              <a:gd name="connsiteY3067" fmla="*/ 2000175 h 6380470"/>
              <a:gd name="connsiteX3068" fmla="*/ 8513691 w 11625583"/>
              <a:gd name="connsiteY3068" fmla="*/ 2064841 h 6380470"/>
              <a:gd name="connsiteX3069" fmla="*/ 8449025 w 11625583"/>
              <a:gd name="connsiteY3069" fmla="*/ 2129508 h 6380470"/>
              <a:gd name="connsiteX3070" fmla="*/ 8384359 w 11625583"/>
              <a:gd name="connsiteY3070" fmla="*/ 2064841 h 6380470"/>
              <a:gd name="connsiteX3071" fmla="*/ 8449025 w 11625583"/>
              <a:gd name="connsiteY3071" fmla="*/ 2000175 h 6380470"/>
              <a:gd name="connsiteX3072" fmla="*/ 8296368 w 11625583"/>
              <a:gd name="connsiteY3072" fmla="*/ 2000175 h 6380470"/>
              <a:gd name="connsiteX3073" fmla="*/ 8361034 w 11625583"/>
              <a:gd name="connsiteY3073" fmla="*/ 2064841 h 6380470"/>
              <a:gd name="connsiteX3074" fmla="*/ 8296368 w 11625583"/>
              <a:gd name="connsiteY3074" fmla="*/ 2129508 h 6380470"/>
              <a:gd name="connsiteX3075" fmla="*/ 8231702 w 11625583"/>
              <a:gd name="connsiteY3075" fmla="*/ 2064841 h 6380470"/>
              <a:gd name="connsiteX3076" fmla="*/ 8296368 w 11625583"/>
              <a:gd name="connsiteY3076" fmla="*/ 2000175 h 6380470"/>
              <a:gd name="connsiteX3077" fmla="*/ 8139793 w 11625583"/>
              <a:gd name="connsiteY3077" fmla="*/ 2000175 h 6380470"/>
              <a:gd name="connsiteX3078" fmla="*/ 8204459 w 11625583"/>
              <a:gd name="connsiteY3078" fmla="*/ 2064841 h 6380470"/>
              <a:gd name="connsiteX3079" fmla="*/ 8139793 w 11625583"/>
              <a:gd name="connsiteY3079" fmla="*/ 2129508 h 6380470"/>
              <a:gd name="connsiteX3080" fmla="*/ 8075127 w 11625583"/>
              <a:gd name="connsiteY3080" fmla="*/ 2064841 h 6380470"/>
              <a:gd name="connsiteX3081" fmla="*/ 8139793 w 11625583"/>
              <a:gd name="connsiteY3081" fmla="*/ 2000175 h 6380470"/>
              <a:gd name="connsiteX3082" fmla="*/ 7987133 w 11625583"/>
              <a:gd name="connsiteY3082" fmla="*/ 2000175 h 6380470"/>
              <a:gd name="connsiteX3083" fmla="*/ 8051799 w 11625583"/>
              <a:gd name="connsiteY3083" fmla="*/ 2064841 h 6380470"/>
              <a:gd name="connsiteX3084" fmla="*/ 7987133 w 11625583"/>
              <a:gd name="connsiteY3084" fmla="*/ 2129508 h 6380470"/>
              <a:gd name="connsiteX3085" fmla="*/ 7922467 w 11625583"/>
              <a:gd name="connsiteY3085" fmla="*/ 2064841 h 6380470"/>
              <a:gd name="connsiteX3086" fmla="*/ 7987133 w 11625583"/>
              <a:gd name="connsiteY3086" fmla="*/ 2000175 h 6380470"/>
              <a:gd name="connsiteX3087" fmla="*/ 7830562 w 11625583"/>
              <a:gd name="connsiteY3087" fmla="*/ 2000175 h 6380470"/>
              <a:gd name="connsiteX3088" fmla="*/ 7895228 w 11625583"/>
              <a:gd name="connsiteY3088" fmla="*/ 2064841 h 6380470"/>
              <a:gd name="connsiteX3089" fmla="*/ 7830562 w 11625583"/>
              <a:gd name="connsiteY3089" fmla="*/ 2129508 h 6380470"/>
              <a:gd name="connsiteX3090" fmla="*/ 7765896 w 11625583"/>
              <a:gd name="connsiteY3090" fmla="*/ 2064841 h 6380470"/>
              <a:gd name="connsiteX3091" fmla="*/ 7830562 w 11625583"/>
              <a:gd name="connsiteY3091" fmla="*/ 2000175 h 6380470"/>
              <a:gd name="connsiteX3092" fmla="*/ 7677904 w 11625583"/>
              <a:gd name="connsiteY3092" fmla="*/ 2000175 h 6380470"/>
              <a:gd name="connsiteX3093" fmla="*/ 7742570 w 11625583"/>
              <a:gd name="connsiteY3093" fmla="*/ 2064841 h 6380470"/>
              <a:gd name="connsiteX3094" fmla="*/ 7677904 w 11625583"/>
              <a:gd name="connsiteY3094" fmla="*/ 2129508 h 6380470"/>
              <a:gd name="connsiteX3095" fmla="*/ 7613238 w 11625583"/>
              <a:gd name="connsiteY3095" fmla="*/ 2064841 h 6380470"/>
              <a:gd name="connsiteX3096" fmla="*/ 7677904 w 11625583"/>
              <a:gd name="connsiteY3096" fmla="*/ 2000175 h 6380470"/>
              <a:gd name="connsiteX3097" fmla="*/ 7521331 w 11625583"/>
              <a:gd name="connsiteY3097" fmla="*/ 2000175 h 6380470"/>
              <a:gd name="connsiteX3098" fmla="*/ 7585997 w 11625583"/>
              <a:gd name="connsiteY3098" fmla="*/ 2064841 h 6380470"/>
              <a:gd name="connsiteX3099" fmla="*/ 7521331 w 11625583"/>
              <a:gd name="connsiteY3099" fmla="*/ 2129508 h 6380470"/>
              <a:gd name="connsiteX3100" fmla="*/ 7456665 w 11625583"/>
              <a:gd name="connsiteY3100" fmla="*/ 2064841 h 6380470"/>
              <a:gd name="connsiteX3101" fmla="*/ 7521331 w 11625583"/>
              <a:gd name="connsiteY3101" fmla="*/ 2000175 h 6380470"/>
              <a:gd name="connsiteX3102" fmla="*/ 7368669 w 11625583"/>
              <a:gd name="connsiteY3102" fmla="*/ 2000175 h 6380470"/>
              <a:gd name="connsiteX3103" fmla="*/ 7433335 w 11625583"/>
              <a:gd name="connsiteY3103" fmla="*/ 2064841 h 6380470"/>
              <a:gd name="connsiteX3104" fmla="*/ 7368669 w 11625583"/>
              <a:gd name="connsiteY3104" fmla="*/ 2129508 h 6380470"/>
              <a:gd name="connsiteX3105" fmla="*/ 7304003 w 11625583"/>
              <a:gd name="connsiteY3105" fmla="*/ 2064841 h 6380470"/>
              <a:gd name="connsiteX3106" fmla="*/ 7368669 w 11625583"/>
              <a:gd name="connsiteY3106" fmla="*/ 2000175 h 6380470"/>
              <a:gd name="connsiteX3107" fmla="*/ 7212096 w 11625583"/>
              <a:gd name="connsiteY3107" fmla="*/ 2000175 h 6380470"/>
              <a:gd name="connsiteX3108" fmla="*/ 7276762 w 11625583"/>
              <a:gd name="connsiteY3108" fmla="*/ 2064841 h 6380470"/>
              <a:gd name="connsiteX3109" fmla="*/ 7212096 w 11625583"/>
              <a:gd name="connsiteY3109" fmla="*/ 2129508 h 6380470"/>
              <a:gd name="connsiteX3110" fmla="*/ 7147430 w 11625583"/>
              <a:gd name="connsiteY3110" fmla="*/ 2064841 h 6380470"/>
              <a:gd name="connsiteX3111" fmla="*/ 7212096 w 11625583"/>
              <a:gd name="connsiteY3111" fmla="*/ 2000175 h 6380470"/>
              <a:gd name="connsiteX3112" fmla="*/ 7055523 w 11625583"/>
              <a:gd name="connsiteY3112" fmla="*/ 2000175 h 6380470"/>
              <a:gd name="connsiteX3113" fmla="*/ 7120189 w 11625583"/>
              <a:gd name="connsiteY3113" fmla="*/ 2064841 h 6380470"/>
              <a:gd name="connsiteX3114" fmla="*/ 7055523 w 11625583"/>
              <a:gd name="connsiteY3114" fmla="*/ 2129508 h 6380470"/>
              <a:gd name="connsiteX3115" fmla="*/ 6990857 w 11625583"/>
              <a:gd name="connsiteY3115" fmla="*/ 2064841 h 6380470"/>
              <a:gd name="connsiteX3116" fmla="*/ 7055523 w 11625583"/>
              <a:gd name="connsiteY3116" fmla="*/ 2000175 h 6380470"/>
              <a:gd name="connsiteX3117" fmla="*/ 6895037 w 11625583"/>
              <a:gd name="connsiteY3117" fmla="*/ 2000175 h 6380470"/>
              <a:gd name="connsiteX3118" fmla="*/ 6959703 w 11625583"/>
              <a:gd name="connsiteY3118" fmla="*/ 2064841 h 6380470"/>
              <a:gd name="connsiteX3119" fmla="*/ 6895037 w 11625583"/>
              <a:gd name="connsiteY3119" fmla="*/ 2129508 h 6380470"/>
              <a:gd name="connsiteX3120" fmla="*/ 6830371 w 11625583"/>
              <a:gd name="connsiteY3120" fmla="*/ 2064841 h 6380470"/>
              <a:gd name="connsiteX3121" fmla="*/ 6895037 w 11625583"/>
              <a:gd name="connsiteY3121" fmla="*/ 2000175 h 6380470"/>
              <a:gd name="connsiteX3122" fmla="*/ 6742377 w 11625583"/>
              <a:gd name="connsiteY3122" fmla="*/ 2000175 h 6380470"/>
              <a:gd name="connsiteX3123" fmla="*/ 6807043 w 11625583"/>
              <a:gd name="connsiteY3123" fmla="*/ 2064841 h 6380470"/>
              <a:gd name="connsiteX3124" fmla="*/ 6742377 w 11625583"/>
              <a:gd name="connsiteY3124" fmla="*/ 2129508 h 6380470"/>
              <a:gd name="connsiteX3125" fmla="*/ 6677711 w 11625583"/>
              <a:gd name="connsiteY3125" fmla="*/ 2064841 h 6380470"/>
              <a:gd name="connsiteX3126" fmla="*/ 6742377 w 11625583"/>
              <a:gd name="connsiteY3126" fmla="*/ 2000175 h 6380470"/>
              <a:gd name="connsiteX3127" fmla="*/ 6585804 w 11625583"/>
              <a:gd name="connsiteY3127" fmla="*/ 2000175 h 6380470"/>
              <a:gd name="connsiteX3128" fmla="*/ 6650470 w 11625583"/>
              <a:gd name="connsiteY3128" fmla="*/ 2064841 h 6380470"/>
              <a:gd name="connsiteX3129" fmla="*/ 6585804 w 11625583"/>
              <a:gd name="connsiteY3129" fmla="*/ 2129508 h 6380470"/>
              <a:gd name="connsiteX3130" fmla="*/ 6521138 w 11625583"/>
              <a:gd name="connsiteY3130" fmla="*/ 2064841 h 6380470"/>
              <a:gd name="connsiteX3131" fmla="*/ 6585804 w 11625583"/>
              <a:gd name="connsiteY3131" fmla="*/ 2000175 h 6380470"/>
              <a:gd name="connsiteX3132" fmla="*/ 6429231 w 11625583"/>
              <a:gd name="connsiteY3132" fmla="*/ 2000175 h 6380470"/>
              <a:gd name="connsiteX3133" fmla="*/ 6493897 w 11625583"/>
              <a:gd name="connsiteY3133" fmla="*/ 2064841 h 6380470"/>
              <a:gd name="connsiteX3134" fmla="*/ 6429231 w 11625583"/>
              <a:gd name="connsiteY3134" fmla="*/ 2129508 h 6380470"/>
              <a:gd name="connsiteX3135" fmla="*/ 6364565 w 11625583"/>
              <a:gd name="connsiteY3135" fmla="*/ 2064841 h 6380470"/>
              <a:gd name="connsiteX3136" fmla="*/ 6429231 w 11625583"/>
              <a:gd name="connsiteY3136" fmla="*/ 2000175 h 6380470"/>
              <a:gd name="connsiteX3137" fmla="*/ 6276571 w 11625583"/>
              <a:gd name="connsiteY3137" fmla="*/ 2000175 h 6380470"/>
              <a:gd name="connsiteX3138" fmla="*/ 6341237 w 11625583"/>
              <a:gd name="connsiteY3138" fmla="*/ 2064841 h 6380470"/>
              <a:gd name="connsiteX3139" fmla="*/ 6276571 w 11625583"/>
              <a:gd name="connsiteY3139" fmla="*/ 2129508 h 6380470"/>
              <a:gd name="connsiteX3140" fmla="*/ 6211905 w 11625583"/>
              <a:gd name="connsiteY3140" fmla="*/ 2064841 h 6380470"/>
              <a:gd name="connsiteX3141" fmla="*/ 6276571 w 11625583"/>
              <a:gd name="connsiteY3141" fmla="*/ 2000175 h 6380470"/>
              <a:gd name="connsiteX3142" fmla="*/ 6119999 w 11625583"/>
              <a:gd name="connsiteY3142" fmla="*/ 2000175 h 6380470"/>
              <a:gd name="connsiteX3143" fmla="*/ 6184665 w 11625583"/>
              <a:gd name="connsiteY3143" fmla="*/ 2064841 h 6380470"/>
              <a:gd name="connsiteX3144" fmla="*/ 6119999 w 11625583"/>
              <a:gd name="connsiteY3144" fmla="*/ 2129508 h 6380470"/>
              <a:gd name="connsiteX3145" fmla="*/ 6055333 w 11625583"/>
              <a:gd name="connsiteY3145" fmla="*/ 2064841 h 6380470"/>
              <a:gd name="connsiteX3146" fmla="*/ 6119999 w 11625583"/>
              <a:gd name="connsiteY3146" fmla="*/ 2000175 h 6380470"/>
              <a:gd name="connsiteX3147" fmla="*/ 5967339 w 11625583"/>
              <a:gd name="connsiteY3147" fmla="*/ 2000175 h 6380470"/>
              <a:gd name="connsiteX3148" fmla="*/ 6032005 w 11625583"/>
              <a:gd name="connsiteY3148" fmla="*/ 2064841 h 6380470"/>
              <a:gd name="connsiteX3149" fmla="*/ 5967339 w 11625583"/>
              <a:gd name="connsiteY3149" fmla="*/ 2129508 h 6380470"/>
              <a:gd name="connsiteX3150" fmla="*/ 5902673 w 11625583"/>
              <a:gd name="connsiteY3150" fmla="*/ 2064841 h 6380470"/>
              <a:gd name="connsiteX3151" fmla="*/ 5967339 w 11625583"/>
              <a:gd name="connsiteY3151" fmla="*/ 2000175 h 6380470"/>
              <a:gd name="connsiteX3152" fmla="*/ 5810796 w 11625583"/>
              <a:gd name="connsiteY3152" fmla="*/ 2000175 h 6380470"/>
              <a:gd name="connsiteX3153" fmla="*/ 5875432 w 11625583"/>
              <a:gd name="connsiteY3153" fmla="*/ 2064841 h 6380470"/>
              <a:gd name="connsiteX3154" fmla="*/ 5810796 w 11625583"/>
              <a:gd name="connsiteY3154" fmla="*/ 2129508 h 6380470"/>
              <a:gd name="connsiteX3155" fmla="*/ 5746114 w 11625583"/>
              <a:gd name="connsiteY3155" fmla="*/ 2064841 h 6380470"/>
              <a:gd name="connsiteX3156" fmla="*/ 5810796 w 11625583"/>
              <a:gd name="connsiteY3156" fmla="*/ 2000175 h 6380470"/>
              <a:gd name="connsiteX3157" fmla="*/ 5658111 w 11625583"/>
              <a:gd name="connsiteY3157" fmla="*/ 2000175 h 6380470"/>
              <a:gd name="connsiteX3158" fmla="*/ 5722783 w 11625583"/>
              <a:gd name="connsiteY3158" fmla="*/ 2064841 h 6380470"/>
              <a:gd name="connsiteX3159" fmla="*/ 5658111 w 11625583"/>
              <a:gd name="connsiteY3159" fmla="*/ 2129508 h 6380470"/>
              <a:gd name="connsiteX3160" fmla="*/ 5593443 w 11625583"/>
              <a:gd name="connsiteY3160" fmla="*/ 2064841 h 6380470"/>
              <a:gd name="connsiteX3161" fmla="*/ 5658111 w 11625583"/>
              <a:gd name="connsiteY3161" fmla="*/ 2000175 h 6380470"/>
              <a:gd name="connsiteX3162" fmla="*/ 5501543 w 11625583"/>
              <a:gd name="connsiteY3162" fmla="*/ 2000175 h 6380470"/>
              <a:gd name="connsiteX3163" fmla="*/ 5566204 w 11625583"/>
              <a:gd name="connsiteY3163" fmla="*/ 2064841 h 6380470"/>
              <a:gd name="connsiteX3164" fmla="*/ 5501543 w 11625583"/>
              <a:gd name="connsiteY3164" fmla="*/ 2129508 h 6380470"/>
              <a:gd name="connsiteX3165" fmla="*/ 5436884 w 11625583"/>
              <a:gd name="connsiteY3165" fmla="*/ 2064841 h 6380470"/>
              <a:gd name="connsiteX3166" fmla="*/ 5501543 w 11625583"/>
              <a:gd name="connsiteY3166" fmla="*/ 2000175 h 6380470"/>
              <a:gd name="connsiteX3167" fmla="*/ 3630587 w 11625583"/>
              <a:gd name="connsiteY3167" fmla="*/ 2000175 h 6380470"/>
              <a:gd name="connsiteX3168" fmla="*/ 3695253 w 11625583"/>
              <a:gd name="connsiteY3168" fmla="*/ 2064841 h 6380470"/>
              <a:gd name="connsiteX3169" fmla="*/ 3630587 w 11625583"/>
              <a:gd name="connsiteY3169" fmla="*/ 2129508 h 6380470"/>
              <a:gd name="connsiteX3170" fmla="*/ 3565911 w 11625583"/>
              <a:gd name="connsiteY3170" fmla="*/ 2064841 h 6380470"/>
              <a:gd name="connsiteX3171" fmla="*/ 3630587 w 11625583"/>
              <a:gd name="connsiteY3171" fmla="*/ 2000175 h 6380470"/>
              <a:gd name="connsiteX3172" fmla="*/ 3481836 w 11625583"/>
              <a:gd name="connsiteY3172" fmla="*/ 2000175 h 6380470"/>
              <a:gd name="connsiteX3173" fmla="*/ 3546503 w 11625583"/>
              <a:gd name="connsiteY3173" fmla="*/ 2064841 h 6380470"/>
              <a:gd name="connsiteX3174" fmla="*/ 3481836 w 11625583"/>
              <a:gd name="connsiteY3174" fmla="*/ 2129508 h 6380470"/>
              <a:gd name="connsiteX3175" fmla="*/ 3417179 w 11625583"/>
              <a:gd name="connsiteY3175" fmla="*/ 2064841 h 6380470"/>
              <a:gd name="connsiteX3176" fmla="*/ 3481836 w 11625583"/>
              <a:gd name="connsiteY3176" fmla="*/ 2000175 h 6380470"/>
              <a:gd name="connsiteX3177" fmla="*/ 3321368 w 11625583"/>
              <a:gd name="connsiteY3177" fmla="*/ 2000175 h 6380470"/>
              <a:gd name="connsiteX3178" fmla="*/ 3386016 w 11625583"/>
              <a:gd name="connsiteY3178" fmla="*/ 2064841 h 6380470"/>
              <a:gd name="connsiteX3179" fmla="*/ 3321368 w 11625583"/>
              <a:gd name="connsiteY3179" fmla="*/ 2129508 h 6380470"/>
              <a:gd name="connsiteX3180" fmla="*/ 3256702 w 11625583"/>
              <a:gd name="connsiteY3180" fmla="*/ 2064841 h 6380470"/>
              <a:gd name="connsiteX3181" fmla="*/ 3321368 w 11625583"/>
              <a:gd name="connsiteY3181" fmla="*/ 2000175 h 6380470"/>
              <a:gd name="connsiteX3182" fmla="*/ 3172613 w 11625583"/>
              <a:gd name="connsiteY3182" fmla="*/ 2000175 h 6380470"/>
              <a:gd name="connsiteX3183" fmla="*/ 3237285 w 11625583"/>
              <a:gd name="connsiteY3183" fmla="*/ 2064841 h 6380470"/>
              <a:gd name="connsiteX3184" fmla="*/ 3172613 w 11625583"/>
              <a:gd name="connsiteY3184" fmla="*/ 2129508 h 6380470"/>
              <a:gd name="connsiteX3185" fmla="*/ 3107933 w 11625583"/>
              <a:gd name="connsiteY3185" fmla="*/ 2064841 h 6380470"/>
              <a:gd name="connsiteX3186" fmla="*/ 3172613 w 11625583"/>
              <a:gd name="connsiteY3186" fmla="*/ 2000175 h 6380470"/>
              <a:gd name="connsiteX3187" fmla="*/ 3012103 w 11625583"/>
              <a:gd name="connsiteY3187" fmla="*/ 2000175 h 6380470"/>
              <a:gd name="connsiteX3188" fmla="*/ 3076772 w 11625583"/>
              <a:gd name="connsiteY3188" fmla="*/ 2064841 h 6380470"/>
              <a:gd name="connsiteX3189" fmla="*/ 3012103 w 11625583"/>
              <a:gd name="connsiteY3189" fmla="*/ 2129508 h 6380470"/>
              <a:gd name="connsiteX3190" fmla="*/ 2947444 w 11625583"/>
              <a:gd name="connsiteY3190" fmla="*/ 2064841 h 6380470"/>
              <a:gd name="connsiteX3191" fmla="*/ 3012103 w 11625583"/>
              <a:gd name="connsiteY3191" fmla="*/ 2000175 h 6380470"/>
              <a:gd name="connsiteX3192" fmla="*/ 2855546 w 11625583"/>
              <a:gd name="connsiteY3192" fmla="*/ 2000175 h 6380470"/>
              <a:gd name="connsiteX3193" fmla="*/ 2920205 w 11625583"/>
              <a:gd name="connsiteY3193" fmla="*/ 2064841 h 6380470"/>
              <a:gd name="connsiteX3194" fmla="*/ 2855546 w 11625583"/>
              <a:gd name="connsiteY3194" fmla="*/ 2129508 h 6380470"/>
              <a:gd name="connsiteX3195" fmla="*/ 2790888 w 11625583"/>
              <a:gd name="connsiteY3195" fmla="*/ 2064841 h 6380470"/>
              <a:gd name="connsiteX3196" fmla="*/ 2855546 w 11625583"/>
              <a:gd name="connsiteY3196" fmla="*/ 2000175 h 6380470"/>
              <a:gd name="connsiteX3197" fmla="*/ 2698992 w 11625583"/>
              <a:gd name="connsiteY3197" fmla="*/ 2000175 h 6380470"/>
              <a:gd name="connsiteX3198" fmla="*/ 2763651 w 11625583"/>
              <a:gd name="connsiteY3198" fmla="*/ 2064841 h 6380470"/>
              <a:gd name="connsiteX3199" fmla="*/ 2698992 w 11625583"/>
              <a:gd name="connsiteY3199" fmla="*/ 2129508 h 6380470"/>
              <a:gd name="connsiteX3200" fmla="*/ 2634334 w 11625583"/>
              <a:gd name="connsiteY3200" fmla="*/ 2064841 h 6380470"/>
              <a:gd name="connsiteX3201" fmla="*/ 2698992 w 11625583"/>
              <a:gd name="connsiteY3201" fmla="*/ 2000175 h 6380470"/>
              <a:gd name="connsiteX3202" fmla="*/ 2546352 w 11625583"/>
              <a:gd name="connsiteY3202" fmla="*/ 2000175 h 6380470"/>
              <a:gd name="connsiteX3203" fmla="*/ 2611012 w 11625583"/>
              <a:gd name="connsiteY3203" fmla="*/ 2064841 h 6380470"/>
              <a:gd name="connsiteX3204" fmla="*/ 2546352 w 11625583"/>
              <a:gd name="connsiteY3204" fmla="*/ 2129508 h 6380470"/>
              <a:gd name="connsiteX3205" fmla="*/ 2481692 w 11625583"/>
              <a:gd name="connsiteY3205" fmla="*/ 2064841 h 6380470"/>
              <a:gd name="connsiteX3206" fmla="*/ 2546352 w 11625583"/>
              <a:gd name="connsiteY3206" fmla="*/ 2000175 h 6380470"/>
              <a:gd name="connsiteX3207" fmla="*/ 2389761 w 11625583"/>
              <a:gd name="connsiteY3207" fmla="*/ 2000175 h 6380470"/>
              <a:gd name="connsiteX3208" fmla="*/ 2454456 w 11625583"/>
              <a:gd name="connsiteY3208" fmla="*/ 2064841 h 6380470"/>
              <a:gd name="connsiteX3209" fmla="*/ 2389761 w 11625583"/>
              <a:gd name="connsiteY3209" fmla="*/ 2129508 h 6380470"/>
              <a:gd name="connsiteX3210" fmla="*/ 2325118 w 11625583"/>
              <a:gd name="connsiteY3210" fmla="*/ 2064841 h 6380470"/>
              <a:gd name="connsiteX3211" fmla="*/ 2389761 w 11625583"/>
              <a:gd name="connsiteY3211" fmla="*/ 2000175 h 6380470"/>
              <a:gd name="connsiteX3212" fmla="*/ 2237104 w 11625583"/>
              <a:gd name="connsiteY3212" fmla="*/ 2000175 h 6380470"/>
              <a:gd name="connsiteX3213" fmla="*/ 2301785 w 11625583"/>
              <a:gd name="connsiteY3213" fmla="*/ 2064841 h 6380470"/>
              <a:gd name="connsiteX3214" fmla="*/ 2237104 w 11625583"/>
              <a:gd name="connsiteY3214" fmla="*/ 2129508 h 6380470"/>
              <a:gd name="connsiteX3215" fmla="*/ 2172423 w 11625583"/>
              <a:gd name="connsiteY3215" fmla="*/ 2064841 h 6380470"/>
              <a:gd name="connsiteX3216" fmla="*/ 2237104 w 11625583"/>
              <a:gd name="connsiteY3216" fmla="*/ 2000175 h 6380470"/>
              <a:gd name="connsiteX3217" fmla="*/ 2084427 w 11625583"/>
              <a:gd name="connsiteY3217" fmla="*/ 2000175 h 6380470"/>
              <a:gd name="connsiteX3218" fmla="*/ 2149089 w 11625583"/>
              <a:gd name="connsiteY3218" fmla="*/ 2064841 h 6380470"/>
              <a:gd name="connsiteX3219" fmla="*/ 2084427 w 11625583"/>
              <a:gd name="connsiteY3219" fmla="*/ 2129508 h 6380470"/>
              <a:gd name="connsiteX3220" fmla="*/ 2019780 w 11625583"/>
              <a:gd name="connsiteY3220" fmla="*/ 2064841 h 6380470"/>
              <a:gd name="connsiteX3221" fmla="*/ 2084427 w 11625583"/>
              <a:gd name="connsiteY3221" fmla="*/ 2000175 h 6380470"/>
              <a:gd name="connsiteX3222" fmla="*/ 1927843 w 11625583"/>
              <a:gd name="connsiteY3222" fmla="*/ 2000175 h 6380470"/>
              <a:gd name="connsiteX3223" fmla="*/ 1992527 w 11625583"/>
              <a:gd name="connsiteY3223" fmla="*/ 2064841 h 6380470"/>
              <a:gd name="connsiteX3224" fmla="*/ 1927843 w 11625583"/>
              <a:gd name="connsiteY3224" fmla="*/ 2129508 h 6380470"/>
              <a:gd name="connsiteX3225" fmla="*/ 1863202 w 11625583"/>
              <a:gd name="connsiteY3225" fmla="*/ 2064841 h 6380470"/>
              <a:gd name="connsiteX3226" fmla="*/ 1927843 w 11625583"/>
              <a:gd name="connsiteY3226" fmla="*/ 2000175 h 6380470"/>
              <a:gd name="connsiteX3227" fmla="*/ 1775193 w 11625583"/>
              <a:gd name="connsiteY3227" fmla="*/ 2000175 h 6380470"/>
              <a:gd name="connsiteX3228" fmla="*/ 1839873 w 11625583"/>
              <a:gd name="connsiteY3228" fmla="*/ 2064841 h 6380470"/>
              <a:gd name="connsiteX3229" fmla="*/ 1775193 w 11625583"/>
              <a:gd name="connsiteY3229" fmla="*/ 2129508 h 6380470"/>
              <a:gd name="connsiteX3230" fmla="*/ 1710523 w 11625583"/>
              <a:gd name="connsiteY3230" fmla="*/ 2064841 h 6380470"/>
              <a:gd name="connsiteX3231" fmla="*/ 1775193 w 11625583"/>
              <a:gd name="connsiteY3231" fmla="*/ 2000175 h 6380470"/>
              <a:gd name="connsiteX3232" fmla="*/ 1618612 w 11625583"/>
              <a:gd name="connsiteY3232" fmla="*/ 2000175 h 6380470"/>
              <a:gd name="connsiteX3233" fmla="*/ 1683281 w 11625583"/>
              <a:gd name="connsiteY3233" fmla="*/ 2064841 h 6380470"/>
              <a:gd name="connsiteX3234" fmla="*/ 1618612 w 11625583"/>
              <a:gd name="connsiteY3234" fmla="*/ 2129508 h 6380470"/>
              <a:gd name="connsiteX3235" fmla="*/ 1553949 w 11625583"/>
              <a:gd name="connsiteY3235" fmla="*/ 2064841 h 6380470"/>
              <a:gd name="connsiteX3236" fmla="*/ 1618612 w 11625583"/>
              <a:gd name="connsiteY3236" fmla="*/ 2000175 h 6380470"/>
              <a:gd name="connsiteX3237" fmla="*/ 1465954 w 11625583"/>
              <a:gd name="connsiteY3237" fmla="*/ 2000175 h 6380470"/>
              <a:gd name="connsiteX3238" fmla="*/ 1530620 w 11625583"/>
              <a:gd name="connsiteY3238" fmla="*/ 2064841 h 6380470"/>
              <a:gd name="connsiteX3239" fmla="*/ 1465954 w 11625583"/>
              <a:gd name="connsiteY3239" fmla="*/ 2129508 h 6380470"/>
              <a:gd name="connsiteX3240" fmla="*/ 1401290 w 11625583"/>
              <a:gd name="connsiteY3240" fmla="*/ 2064841 h 6380470"/>
              <a:gd name="connsiteX3241" fmla="*/ 1465954 w 11625583"/>
              <a:gd name="connsiteY3241" fmla="*/ 2000175 h 6380470"/>
              <a:gd name="connsiteX3242" fmla="*/ 2237112 w 11625583"/>
              <a:gd name="connsiteY3242" fmla="*/ 1851452 h 6380470"/>
              <a:gd name="connsiteX3243" fmla="*/ 2301794 w 11625583"/>
              <a:gd name="connsiteY3243" fmla="*/ 1916117 h 6380470"/>
              <a:gd name="connsiteX3244" fmla="*/ 2237112 w 11625583"/>
              <a:gd name="connsiteY3244" fmla="*/ 1980764 h 6380470"/>
              <a:gd name="connsiteX3245" fmla="*/ 2172429 w 11625583"/>
              <a:gd name="connsiteY3245" fmla="*/ 1916117 h 6380470"/>
              <a:gd name="connsiteX3246" fmla="*/ 2237112 w 11625583"/>
              <a:gd name="connsiteY3246" fmla="*/ 1851452 h 6380470"/>
              <a:gd name="connsiteX3247" fmla="*/ 2084431 w 11625583"/>
              <a:gd name="connsiteY3247" fmla="*/ 1851452 h 6380470"/>
              <a:gd name="connsiteX3248" fmla="*/ 2149096 w 11625583"/>
              <a:gd name="connsiteY3248" fmla="*/ 1916117 h 6380470"/>
              <a:gd name="connsiteX3249" fmla="*/ 2084431 w 11625583"/>
              <a:gd name="connsiteY3249" fmla="*/ 1980764 h 6380470"/>
              <a:gd name="connsiteX3250" fmla="*/ 2019789 w 11625583"/>
              <a:gd name="connsiteY3250" fmla="*/ 1916117 h 6380470"/>
              <a:gd name="connsiteX3251" fmla="*/ 2084431 w 11625583"/>
              <a:gd name="connsiteY3251" fmla="*/ 1851452 h 6380470"/>
              <a:gd name="connsiteX3252" fmla="*/ 1927843 w 11625583"/>
              <a:gd name="connsiteY3252" fmla="*/ 1851452 h 6380470"/>
              <a:gd name="connsiteX3253" fmla="*/ 1992535 w 11625583"/>
              <a:gd name="connsiteY3253" fmla="*/ 1916117 h 6380470"/>
              <a:gd name="connsiteX3254" fmla="*/ 1927843 w 11625583"/>
              <a:gd name="connsiteY3254" fmla="*/ 1980764 h 6380470"/>
              <a:gd name="connsiteX3255" fmla="*/ 1863210 w 11625583"/>
              <a:gd name="connsiteY3255" fmla="*/ 1916117 h 6380470"/>
              <a:gd name="connsiteX3256" fmla="*/ 1927843 w 11625583"/>
              <a:gd name="connsiteY3256" fmla="*/ 1851452 h 6380470"/>
              <a:gd name="connsiteX3257" fmla="*/ 1775198 w 11625583"/>
              <a:gd name="connsiteY3257" fmla="*/ 1851452 h 6380470"/>
              <a:gd name="connsiteX3258" fmla="*/ 1839879 w 11625583"/>
              <a:gd name="connsiteY3258" fmla="*/ 1916117 h 6380470"/>
              <a:gd name="connsiteX3259" fmla="*/ 1775198 w 11625583"/>
              <a:gd name="connsiteY3259" fmla="*/ 1980764 h 6380470"/>
              <a:gd name="connsiteX3260" fmla="*/ 1710529 w 11625583"/>
              <a:gd name="connsiteY3260" fmla="*/ 1916117 h 6380470"/>
              <a:gd name="connsiteX3261" fmla="*/ 1775198 w 11625583"/>
              <a:gd name="connsiteY3261" fmla="*/ 1851452 h 6380470"/>
              <a:gd name="connsiteX3262" fmla="*/ 1618616 w 11625583"/>
              <a:gd name="connsiteY3262" fmla="*/ 1851452 h 6380470"/>
              <a:gd name="connsiteX3263" fmla="*/ 1683287 w 11625583"/>
              <a:gd name="connsiteY3263" fmla="*/ 1916117 h 6380470"/>
              <a:gd name="connsiteX3264" fmla="*/ 1618616 w 11625583"/>
              <a:gd name="connsiteY3264" fmla="*/ 1980764 h 6380470"/>
              <a:gd name="connsiteX3265" fmla="*/ 1553953 w 11625583"/>
              <a:gd name="connsiteY3265" fmla="*/ 1916117 h 6380470"/>
              <a:gd name="connsiteX3266" fmla="*/ 1618616 w 11625583"/>
              <a:gd name="connsiteY3266" fmla="*/ 1851452 h 6380470"/>
              <a:gd name="connsiteX3267" fmla="*/ 1465960 w 11625583"/>
              <a:gd name="connsiteY3267" fmla="*/ 1851450 h 6380470"/>
              <a:gd name="connsiteX3268" fmla="*/ 1530626 w 11625583"/>
              <a:gd name="connsiteY3268" fmla="*/ 1916115 h 6380470"/>
              <a:gd name="connsiteX3269" fmla="*/ 1465960 w 11625583"/>
              <a:gd name="connsiteY3269" fmla="*/ 1980761 h 6380470"/>
              <a:gd name="connsiteX3270" fmla="*/ 1401296 w 11625583"/>
              <a:gd name="connsiteY3270" fmla="*/ 1916115 h 6380470"/>
              <a:gd name="connsiteX3271" fmla="*/ 1465960 w 11625583"/>
              <a:gd name="connsiteY3271" fmla="*/ 1851450 h 6380470"/>
              <a:gd name="connsiteX3272" fmla="*/ 10625394 w 11625583"/>
              <a:gd name="connsiteY3272" fmla="*/ 1851450 h 6380470"/>
              <a:gd name="connsiteX3273" fmla="*/ 10690060 w 11625583"/>
              <a:gd name="connsiteY3273" fmla="*/ 1916114 h 6380470"/>
              <a:gd name="connsiteX3274" fmla="*/ 10625394 w 11625583"/>
              <a:gd name="connsiteY3274" fmla="*/ 1980760 h 6380470"/>
              <a:gd name="connsiteX3275" fmla="*/ 10560728 w 11625583"/>
              <a:gd name="connsiteY3275" fmla="*/ 1916114 h 6380470"/>
              <a:gd name="connsiteX3276" fmla="*/ 10625394 w 11625583"/>
              <a:gd name="connsiteY3276" fmla="*/ 1851450 h 6380470"/>
              <a:gd name="connsiteX3277" fmla="*/ 10159588 w 11625583"/>
              <a:gd name="connsiteY3277" fmla="*/ 1851450 h 6380470"/>
              <a:gd name="connsiteX3278" fmla="*/ 10224254 w 11625583"/>
              <a:gd name="connsiteY3278" fmla="*/ 1916114 h 6380470"/>
              <a:gd name="connsiteX3279" fmla="*/ 10159588 w 11625583"/>
              <a:gd name="connsiteY3279" fmla="*/ 1980760 h 6380470"/>
              <a:gd name="connsiteX3280" fmla="*/ 10094922 w 11625583"/>
              <a:gd name="connsiteY3280" fmla="*/ 1916114 h 6380470"/>
              <a:gd name="connsiteX3281" fmla="*/ 10159588 w 11625583"/>
              <a:gd name="connsiteY3281" fmla="*/ 1851450 h 6380470"/>
              <a:gd name="connsiteX3282" fmla="*/ 10003016 w 11625583"/>
              <a:gd name="connsiteY3282" fmla="*/ 1851450 h 6380470"/>
              <a:gd name="connsiteX3283" fmla="*/ 10067682 w 11625583"/>
              <a:gd name="connsiteY3283" fmla="*/ 1916114 h 6380470"/>
              <a:gd name="connsiteX3284" fmla="*/ 10003016 w 11625583"/>
              <a:gd name="connsiteY3284" fmla="*/ 1980760 h 6380470"/>
              <a:gd name="connsiteX3285" fmla="*/ 9938350 w 11625583"/>
              <a:gd name="connsiteY3285" fmla="*/ 1916114 h 6380470"/>
              <a:gd name="connsiteX3286" fmla="*/ 10003016 w 11625583"/>
              <a:gd name="connsiteY3286" fmla="*/ 1851450 h 6380470"/>
              <a:gd name="connsiteX3287" fmla="*/ 9850358 w 11625583"/>
              <a:gd name="connsiteY3287" fmla="*/ 1851450 h 6380470"/>
              <a:gd name="connsiteX3288" fmla="*/ 9915024 w 11625583"/>
              <a:gd name="connsiteY3288" fmla="*/ 1916114 h 6380470"/>
              <a:gd name="connsiteX3289" fmla="*/ 9850358 w 11625583"/>
              <a:gd name="connsiteY3289" fmla="*/ 1980760 h 6380470"/>
              <a:gd name="connsiteX3290" fmla="*/ 9785692 w 11625583"/>
              <a:gd name="connsiteY3290" fmla="*/ 1916114 h 6380470"/>
              <a:gd name="connsiteX3291" fmla="*/ 9850358 w 11625583"/>
              <a:gd name="connsiteY3291" fmla="*/ 1851450 h 6380470"/>
              <a:gd name="connsiteX3292" fmla="*/ 9693783 w 11625583"/>
              <a:gd name="connsiteY3292" fmla="*/ 1851450 h 6380470"/>
              <a:gd name="connsiteX3293" fmla="*/ 9758449 w 11625583"/>
              <a:gd name="connsiteY3293" fmla="*/ 1916114 h 6380470"/>
              <a:gd name="connsiteX3294" fmla="*/ 9693783 w 11625583"/>
              <a:gd name="connsiteY3294" fmla="*/ 1980760 h 6380470"/>
              <a:gd name="connsiteX3295" fmla="*/ 9629117 w 11625583"/>
              <a:gd name="connsiteY3295" fmla="*/ 1916114 h 6380470"/>
              <a:gd name="connsiteX3296" fmla="*/ 9693783 w 11625583"/>
              <a:gd name="connsiteY3296" fmla="*/ 1851450 h 6380470"/>
              <a:gd name="connsiteX3297" fmla="*/ 9541123 w 11625583"/>
              <a:gd name="connsiteY3297" fmla="*/ 1851450 h 6380470"/>
              <a:gd name="connsiteX3298" fmla="*/ 9605789 w 11625583"/>
              <a:gd name="connsiteY3298" fmla="*/ 1916114 h 6380470"/>
              <a:gd name="connsiteX3299" fmla="*/ 9541123 w 11625583"/>
              <a:gd name="connsiteY3299" fmla="*/ 1980760 h 6380470"/>
              <a:gd name="connsiteX3300" fmla="*/ 9476457 w 11625583"/>
              <a:gd name="connsiteY3300" fmla="*/ 1916114 h 6380470"/>
              <a:gd name="connsiteX3301" fmla="*/ 9541123 w 11625583"/>
              <a:gd name="connsiteY3301" fmla="*/ 1851450 h 6380470"/>
              <a:gd name="connsiteX3302" fmla="*/ 9384550 w 11625583"/>
              <a:gd name="connsiteY3302" fmla="*/ 1851450 h 6380470"/>
              <a:gd name="connsiteX3303" fmla="*/ 9449216 w 11625583"/>
              <a:gd name="connsiteY3303" fmla="*/ 1916114 h 6380470"/>
              <a:gd name="connsiteX3304" fmla="*/ 9384550 w 11625583"/>
              <a:gd name="connsiteY3304" fmla="*/ 1980760 h 6380470"/>
              <a:gd name="connsiteX3305" fmla="*/ 9319884 w 11625583"/>
              <a:gd name="connsiteY3305" fmla="*/ 1916114 h 6380470"/>
              <a:gd name="connsiteX3306" fmla="*/ 9384550 w 11625583"/>
              <a:gd name="connsiteY3306" fmla="*/ 1851450 h 6380470"/>
              <a:gd name="connsiteX3307" fmla="*/ 9227977 w 11625583"/>
              <a:gd name="connsiteY3307" fmla="*/ 1851450 h 6380470"/>
              <a:gd name="connsiteX3308" fmla="*/ 9292643 w 11625583"/>
              <a:gd name="connsiteY3308" fmla="*/ 1916114 h 6380470"/>
              <a:gd name="connsiteX3309" fmla="*/ 9227977 w 11625583"/>
              <a:gd name="connsiteY3309" fmla="*/ 1980760 h 6380470"/>
              <a:gd name="connsiteX3310" fmla="*/ 9163311 w 11625583"/>
              <a:gd name="connsiteY3310" fmla="*/ 1916114 h 6380470"/>
              <a:gd name="connsiteX3311" fmla="*/ 9227977 w 11625583"/>
              <a:gd name="connsiteY3311" fmla="*/ 1851450 h 6380470"/>
              <a:gd name="connsiteX3312" fmla="*/ 9075319 w 11625583"/>
              <a:gd name="connsiteY3312" fmla="*/ 1851450 h 6380470"/>
              <a:gd name="connsiteX3313" fmla="*/ 9139985 w 11625583"/>
              <a:gd name="connsiteY3313" fmla="*/ 1916114 h 6380470"/>
              <a:gd name="connsiteX3314" fmla="*/ 9075319 w 11625583"/>
              <a:gd name="connsiteY3314" fmla="*/ 1980760 h 6380470"/>
              <a:gd name="connsiteX3315" fmla="*/ 9010653 w 11625583"/>
              <a:gd name="connsiteY3315" fmla="*/ 1916114 h 6380470"/>
              <a:gd name="connsiteX3316" fmla="*/ 9075319 w 11625583"/>
              <a:gd name="connsiteY3316" fmla="*/ 1851450 h 6380470"/>
              <a:gd name="connsiteX3317" fmla="*/ 8914831 w 11625583"/>
              <a:gd name="connsiteY3317" fmla="*/ 1851450 h 6380470"/>
              <a:gd name="connsiteX3318" fmla="*/ 8979497 w 11625583"/>
              <a:gd name="connsiteY3318" fmla="*/ 1916114 h 6380470"/>
              <a:gd name="connsiteX3319" fmla="*/ 8914831 w 11625583"/>
              <a:gd name="connsiteY3319" fmla="*/ 1980760 h 6380470"/>
              <a:gd name="connsiteX3320" fmla="*/ 8850165 w 11625583"/>
              <a:gd name="connsiteY3320" fmla="*/ 1916114 h 6380470"/>
              <a:gd name="connsiteX3321" fmla="*/ 8914831 w 11625583"/>
              <a:gd name="connsiteY3321" fmla="*/ 1851450 h 6380470"/>
              <a:gd name="connsiteX3322" fmla="*/ 8766086 w 11625583"/>
              <a:gd name="connsiteY3322" fmla="*/ 1851450 h 6380470"/>
              <a:gd name="connsiteX3323" fmla="*/ 8830752 w 11625583"/>
              <a:gd name="connsiteY3323" fmla="*/ 1916114 h 6380470"/>
              <a:gd name="connsiteX3324" fmla="*/ 8766086 w 11625583"/>
              <a:gd name="connsiteY3324" fmla="*/ 1980760 h 6380470"/>
              <a:gd name="connsiteX3325" fmla="*/ 8701420 w 11625583"/>
              <a:gd name="connsiteY3325" fmla="*/ 1916114 h 6380470"/>
              <a:gd name="connsiteX3326" fmla="*/ 8766086 w 11625583"/>
              <a:gd name="connsiteY3326" fmla="*/ 1851450 h 6380470"/>
              <a:gd name="connsiteX3327" fmla="*/ 8601685 w 11625583"/>
              <a:gd name="connsiteY3327" fmla="*/ 1851450 h 6380470"/>
              <a:gd name="connsiteX3328" fmla="*/ 8666351 w 11625583"/>
              <a:gd name="connsiteY3328" fmla="*/ 1916114 h 6380470"/>
              <a:gd name="connsiteX3329" fmla="*/ 8601685 w 11625583"/>
              <a:gd name="connsiteY3329" fmla="*/ 1980760 h 6380470"/>
              <a:gd name="connsiteX3330" fmla="*/ 8537019 w 11625583"/>
              <a:gd name="connsiteY3330" fmla="*/ 1916114 h 6380470"/>
              <a:gd name="connsiteX3331" fmla="*/ 8601685 w 11625583"/>
              <a:gd name="connsiteY3331" fmla="*/ 1851450 h 6380470"/>
              <a:gd name="connsiteX3332" fmla="*/ 8449025 w 11625583"/>
              <a:gd name="connsiteY3332" fmla="*/ 1851450 h 6380470"/>
              <a:gd name="connsiteX3333" fmla="*/ 8513691 w 11625583"/>
              <a:gd name="connsiteY3333" fmla="*/ 1916114 h 6380470"/>
              <a:gd name="connsiteX3334" fmla="*/ 8449025 w 11625583"/>
              <a:gd name="connsiteY3334" fmla="*/ 1980760 h 6380470"/>
              <a:gd name="connsiteX3335" fmla="*/ 8384359 w 11625583"/>
              <a:gd name="connsiteY3335" fmla="*/ 1916114 h 6380470"/>
              <a:gd name="connsiteX3336" fmla="*/ 8449025 w 11625583"/>
              <a:gd name="connsiteY3336" fmla="*/ 1851450 h 6380470"/>
              <a:gd name="connsiteX3337" fmla="*/ 8296368 w 11625583"/>
              <a:gd name="connsiteY3337" fmla="*/ 1851450 h 6380470"/>
              <a:gd name="connsiteX3338" fmla="*/ 8361034 w 11625583"/>
              <a:gd name="connsiteY3338" fmla="*/ 1916114 h 6380470"/>
              <a:gd name="connsiteX3339" fmla="*/ 8296368 w 11625583"/>
              <a:gd name="connsiteY3339" fmla="*/ 1980760 h 6380470"/>
              <a:gd name="connsiteX3340" fmla="*/ 8231702 w 11625583"/>
              <a:gd name="connsiteY3340" fmla="*/ 1916114 h 6380470"/>
              <a:gd name="connsiteX3341" fmla="*/ 8296368 w 11625583"/>
              <a:gd name="connsiteY3341" fmla="*/ 1851450 h 6380470"/>
              <a:gd name="connsiteX3342" fmla="*/ 8139793 w 11625583"/>
              <a:gd name="connsiteY3342" fmla="*/ 1851450 h 6380470"/>
              <a:gd name="connsiteX3343" fmla="*/ 8204459 w 11625583"/>
              <a:gd name="connsiteY3343" fmla="*/ 1916114 h 6380470"/>
              <a:gd name="connsiteX3344" fmla="*/ 8139793 w 11625583"/>
              <a:gd name="connsiteY3344" fmla="*/ 1980760 h 6380470"/>
              <a:gd name="connsiteX3345" fmla="*/ 8075127 w 11625583"/>
              <a:gd name="connsiteY3345" fmla="*/ 1916114 h 6380470"/>
              <a:gd name="connsiteX3346" fmla="*/ 8139793 w 11625583"/>
              <a:gd name="connsiteY3346" fmla="*/ 1851450 h 6380470"/>
              <a:gd name="connsiteX3347" fmla="*/ 7987133 w 11625583"/>
              <a:gd name="connsiteY3347" fmla="*/ 1851450 h 6380470"/>
              <a:gd name="connsiteX3348" fmla="*/ 8051799 w 11625583"/>
              <a:gd name="connsiteY3348" fmla="*/ 1916114 h 6380470"/>
              <a:gd name="connsiteX3349" fmla="*/ 7987133 w 11625583"/>
              <a:gd name="connsiteY3349" fmla="*/ 1980760 h 6380470"/>
              <a:gd name="connsiteX3350" fmla="*/ 7922467 w 11625583"/>
              <a:gd name="connsiteY3350" fmla="*/ 1916114 h 6380470"/>
              <a:gd name="connsiteX3351" fmla="*/ 7987133 w 11625583"/>
              <a:gd name="connsiteY3351" fmla="*/ 1851450 h 6380470"/>
              <a:gd name="connsiteX3352" fmla="*/ 7830562 w 11625583"/>
              <a:gd name="connsiteY3352" fmla="*/ 1851450 h 6380470"/>
              <a:gd name="connsiteX3353" fmla="*/ 7895228 w 11625583"/>
              <a:gd name="connsiteY3353" fmla="*/ 1916114 h 6380470"/>
              <a:gd name="connsiteX3354" fmla="*/ 7830562 w 11625583"/>
              <a:gd name="connsiteY3354" fmla="*/ 1980760 h 6380470"/>
              <a:gd name="connsiteX3355" fmla="*/ 7765896 w 11625583"/>
              <a:gd name="connsiteY3355" fmla="*/ 1916114 h 6380470"/>
              <a:gd name="connsiteX3356" fmla="*/ 7830562 w 11625583"/>
              <a:gd name="connsiteY3356" fmla="*/ 1851450 h 6380470"/>
              <a:gd name="connsiteX3357" fmla="*/ 7677904 w 11625583"/>
              <a:gd name="connsiteY3357" fmla="*/ 1851450 h 6380470"/>
              <a:gd name="connsiteX3358" fmla="*/ 7742570 w 11625583"/>
              <a:gd name="connsiteY3358" fmla="*/ 1916114 h 6380470"/>
              <a:gd name="connsiteX3359" fmla="*/ 7677904 w 11625583"/>
              <a:gd name="connsiteY3359" fmla="*/ 1980760 h 6380470"/>
              <a:gd name="connsiteX3360" fmla="*/ 7613238 w 11625583"/>
              <a:gd name="connsiteY3360" fmla="*/ 1916114 h 6380470"/>
              <a:gd name="connsiteX3361" fmla="*/ 7677904 w 11625583"/>
              <a:gd name="connsiteY3361" fmla="*/ 1851450 h 6380470"/>
              <a:gd name="connsiteX3362" fmla="*/ 7521331 w 11625583"/>
              <a:gd name="connsiteY3362" fmla="*/ 1851450 h 6380470"/>
              <a:gd name="connsiteX3363" fmla="*/ 7585997 w 11625583"/>
              <a:gd name="connsiteY3363" fmla="*/ 1916114 h 6380470"/>
              <a:gd name="connsiteX3364" fmla="*/ 7521331 w 11625583"/>
              <a:gd name="connsiteY3364" fmla="*/ 1980760 h 6380470"/>
              <a:gd name="connsiteX3365" fmla="*/ 7456665 w 11625583"/>
              <a:gd name="connsiteY3365" fmla="*/ 1916114 h 6380470"/>
              <a:gd name="connsiteX3366" fmla="*/ 7521331 w 11625583"/>
              <a:gd name="connsiteY3366" fmla="*/ 1851450 h 6380470"/>
              <a:gd name="connsiteX3367" fmla="*/ 7368671 w 11625583"/>
              <a:gd name="connsiteY3367" fmla="*/ 1851450 h 6380470"/>
              <a:gd name="connsiteX3368" fmla="*/ 7433337 w 11625583"/>
              <a:gd name="connsiteY3368" fmla="*/ 1916114 h 6380470"/>
              <a:gd name="connsiteX3369" fmla="*/ 7368671 w 11625583"/>
              <a:gd name="connsiteY3369" fmla="*/ 1980760 h 6380470"/>
              <a:gd name="connsiteX3370" fmla="*/ 7304005 w 11625583"/>
              <a:gd name="connsiteY3370" fmla="*/ 1916114 h 6380470"/>
              <a:gd name="connsiteX3371" fmla="*/ 7368671 w 11625583"/>
              <a:gd name="connsiteY3371" fmla="*/ 1851450 h 6380470"/>
              <a:gd name="connsiteX3372" fmla="*/ 7212096 w 11625583"/>
              <a:gd name="connsiteY3372" fmla="*/ 1851450 h 6380470"/>
              <a:gd name="connsiteX3373" fmla="*/ 7276762 w 11625583"/>
              <a:gd name="connsiteY3373" fmla="*/ 1916114 h 6380470"/>
              <a:gd name="connsiteX3374" fmla="*/ 7212096 w 11625583"/>
              <a:gd name="connsiteY3374" fmla="*/ 1980760 h 6380470"/>
              <a:gd name="connsiteX3375" fmla="*/ 7147430 w 11625583"/>
              <a:gd name="connsiteY3375" fmla="*/ 1916114 h 6380470"/>
              <a:gd name="connsiteX3376" fmla="*/ 7212096 w 11625583"/>
              <a:gd name="connsiteY3376" fmla="*/ 1851450 h 6380470"/>
              <a:gd name="connsiteX3377" fmla="*/ 7055523 w 11625583"/>
              <a:gd name="connsiteY3377" fmla="*/ 1851450 h 6380470"/>
              <a:gd name="connsiteX3378" fmla="*/ 7120189 w 11625583"/>
              <a:gd name="connsiteY3378" fmla="*/ 1916114 h 6380470"/>
              <a:gd name="connsiteX3379" fmla="*/ 7055523 w 11625583"/>
              <a:gd name="connsiteY3379" fmla="*/ 1980760 h 6380470"/>
              <a:gd name="connsiteX3380" fmla="*/ 6990857 w 11625583"/>
              <a:gd name="connsiteY3380" fmla="*/ 1916114 h 6380470"/>
              <a:gd name="connsiteX3381" fmla="*/ 7055523 w 11625583"/>
              <a:gd name="connsiteY3381" fmla="*/ 1851450 h 6380470"/>
              <a:gd name="connsiteX3382" fmla="*/ 6895037 w 11625583"/>
              <a:gd name="connsiteY3382" fmla="*/ 1851450 h 6380470"/>
              <a:gd name="connsiteX3383" fmla="*/ 6959703 w 11625583"/>
              <a:gd name="connsiteY3383" fmla="*/ 1916114 h 6380470"/>
              <a:gd name="connsiteX3384" fmla="*/ 6895037 w 11625583"/>
              <a:gd name="connsiteY3384" fmla="*/ 1980760 h 6380470"/>
              <a:gd name="connsiteX3385" fmla="*/ 6830371 w 11625583"/>
              <a:gd name="connsiteY3385" fmla="*/ 1916114 h 6380470"/>
              <a:gd name="connsiteX3386" fmla="*/ 6895037 w 11625583"/>
              <a:gd name="connsiteY3386" fmla="*/ 1851450 h 6380470"/>
              <a:gd name="connsiteX3387" fmla="*/ 6742377 w 11625583"/>
              <a:gd name="connsiteY3387" fmla="*/ 1851450 h 6380470"/>
              <a:gd name="connsiteX3388" fmla="*/ 6807043 w 11625583"/>
              <a:gd name="connsiteY3388" fmla="*/ 1916114 h 6380470"/>
              <a:gd name="connsiteX3389" fmla="*/ 6742377 w 11625583"/>
              <a:gd name="connsiteY3389" fmla="*/ 1980760 h 6380470"/>
              <a:gd name="connsiteX3390" fmla="*/ 6677711 w 11625583"/>
              <a:gd name="connsiteY3390" fmla="*/ 1916114 h 6380470"/>
              <a:gd name="connsiteX3391" fmla="*/ 6742377 w 11625583"/>
              <a:gd name="connsiteY3391" fmla="*/ 1851450 h 6380470"/>
              <a:gd name="connsiteX3392" fmla="*/ 6585804 w 11625583"/>
              <a:gd name="connsiteY3392" fmla="*/ 1851450 h 6380470"/>
              <a:gd name="connsiteX3393" fmla="*/ 6650470 w 11625583"/>
              <a:gd name="connsiteY3393" fmla="*/ 1916114 h 6380470"/>
              <a:gd name="connsiteX3394" fmla="*/ 6585804 w 11625583"/>
              <a:gd name="connsiteY3394" fmla="*/ 1980760 h 6380470"/>
              <a:gd name="connsiteX3395" fmla="*/ 6521138 w 11625583"/>
              <a:gd name="connsiteY3395" fmla="*/ 1916114 h 6380470"/>
              <a:gd name="connsiteX3396" fmla="*/ 6585804 w 11625583"/>
              <a:gd name="connsiteY3396" fmla="*/ 1851450 h 6380470"/>
              <a:gd name="connsiteX3397" fmla="*/ 6276571 w 11625583"/>
              <a:gd name="connsiteY3397" fmla="*/ 1851450 h 6380470"/>
              <a:gd name="connsiteX3398" fmla="*/ 6341237 w 11625583"/>
              <a:gd name="connsiteY3398" fmla="*/ 1916114 h 6380470"/>
              <a:gd name="connsiteX3399" fmla="*/ 6276571 w 11625583"/>
              <a:gd name="connsiteY3399" fmla="*/ 1980760 h 6380470"/>
              <a:gd name="connsiteX3400" fmla="*/ 6211905 w 11625583"/>
              <a:gd name="connsiteY3400" fmla="*/ 1916114 h 6380470"/>
              <a:gd name="connsiteX3401" fmla="*/ 6276571 w 11625583"/>
              <a:gd name="connsiteY3401" fmla="*/ 1851450 h 6380470"/>
              <a:gd name="connsiteX3402" fmla="*/ 6119999 w 11625583"/>
              <a:gd name="connsiteY3402" fmla="*/ 1851450 h 6380470"/>
              <a:gd name="connsiteX3403" fmla="*/ 6184665 w 11625583"/>
              <a:gd name="connsiteY3403" fmla="*/ 1916114 h 6380470"/>
              <a:gd name="connsiteX3404" fmla="*/ 6119999 w 11625583"/>
              <a:gd name="connsiteY3404" fmla="*/ 1980760 h 6380470"/>
              <a:gd name="connsiteX3405" fmla="*/ 6055333 w 11625583"/>
              <a:gd name="connsiteY3405" fmla="*/ 1916114 h 6380470"/>
              <a:gd name="connsiteX3406" fmla="*/ 6119999 w 11625583"/>
              <a:gd name="connsiteY3406" fmla="*/ 1851450 h 6380470"/>
              <a:gd name="connsiteX3407" fmla="*/ 5967339 w 11625583"/>
              <a:gd name="connsiteY3407" fmla="*/ 1851450 h 6380470"/>
              <a:gd name="connsiteX3408" fmla="*/ 6032005 w 11625583"/>
              <a:gd name="connsiteY3408" fmla="*/ 1916114 h 6380470"/>
              <a:gd name="connsiteX3409" fmla="*/ 5967339 w 11625583"/>
              <a:gd name="connsiteY3409" fmla="*/ 1980760 h 6380470"/>
              <a:gd name="connsiteX3410" fmla="*/ 5902673 w 11625583"/>
              <a:gd name="connsiteY3410" fmla="*/ 1916114 h 6380470"/>
              <a:gd name="connsiteX3411" fmla="*/ 5967339 w 11625583"/>
              <a:gd name="connsiteY3411" fmla="*/ 1851450 h 6380470"/>
              <a:gd name="connsiteX3412" fmla="*/ 5810798 w 11625583"/>
              <a:gd name="connsiteY3412" fmla="*/ 1851450 h 6380470"/>
              <a:gd name="connsiteX3413" fmla="*/ 5875432 w 11625583"/>
              <a:gd name="connsiteY3413" fmla="*/ 1916114 h 6380470"/>
              <a:gd name="connsiteX3414" fmla="*/ 5810798 w 11625583"/>
              <a:gd name="connsiteY3414" fmla="*/ 1980760 h 6380470"/>
              <a:gd name="connsiteX3415" fmla="*/ 5746117 w 11625583"/>
              <a:gd name="connsiteY3415" fmla="*/ 1916114 h 6380470"/>
              <a:gd name="connsiteX3416" fmla="*/ 5810798 w 11625583"/>
              <a:gd name="connsiteY3416" fmla="*/ 1851450 h 6380470"/>
              <a:gd name="connsiteX3417" fmla="*/ 5658111 w 11625583"/>
              <a:gd name="connsiteY3417" fmla="*/ 1851450 h 6380470"/>
              <a:gd name="connsiteX3418" fmla="*/ 5722783 w 11625583"/>
              <a:gd name="connsiteY3418" fmla="*/ 1916114 h 6380470"/>
              <a:gd name="connsiteX3419" fmla="*/ 5658111 w 11625583"/>
              <a:gd name="connsiteY3419" fmla="*/ 1980760 h 6380470"/>
              <a:gd name="connsiteX3420" fmla="*/ 5593443 w 11625583"/>
              <a:gd name="connsiteY3420" fmla="*/ 1916114 h 6380470"/>
              <a:gd name="connsiteX3421" fmla="*/ 5658111 w 11625583"/>
              <a:gd name="connsiteY3421" fmla="*/ 1851450 h 6380470"/>
              <a:gd name="connsiteX3422" fmla="*/ 5501543 w 11625583"/>
              <a:gd name="connsiteY3422" fmla="*/ 1851450 h 6380470"/>
              <a:gd name="connsiteX3423" fmla="*/ 5566204 w 11625583"/>
              <a:gd name="connsiteY3423" fmla="*/ 1916114 h 6380470"/>
              <a:gd name="connsiteX3424" fmla="*/ 5501543 w 11625583"/>
              <a:gd name="connsiteY3424" fmla="*/ 1980760 h 6380470"/>
              <a:gd name="connsiteX3425" fmla="*/ 5436885 w 11625583"/>
              <a:gd name="connsiteY3425" fmla="*/ 1916114 h 6380470"/>
              <a:gd name="connsiteX3426" fmla="*/ 5501543 w 11625583"/>
              <a:gd name="connsiteY3426" fmla="*/ 1851450 h 6380470"/>
              <a:gd name="connsiteX3427" fmla="*/ 5348888 w 11625583"/>
              <a:gd name="connsiteY3427" fmla="*/ 1851450 h 6380470"/>
              <a:gd name="connsiteX3428" fmla="*/ 5413554 w 11625583"/>
              <a:gd name="connsiteY3428" fmla="*/ 1916114 h 6380470"/>
              <a:gd name="connsiteX3429" fmla="*/ 5348888 w 11625583"/>
              <a:gd name="connsiteY3429" fmla="*/ 1980760 h 6380470"/>
              <a:gd name="connsiteX3430" fmla="*/ 5284230 w 11625583"/>
              <a:gd name="connsiteY3430" fmla="*/ 1916114 h 6380470"/>
              <a:gd name="connsiteX3431" fmla="*/ 5348888 w 11625583"/>
              <a:gd name="connsiteY3431" fmla="*/ 1851450 h 6380470"/>
              <a:gd name="connsiteX3432" fmla="*/ 3630594 w 11625583"/>
              <a:gd name="connsiteY3432" fmla="*/ 1851450 h 6380470"/>
              <a:gd name="connsiteX3433" fmla="*/ 3695260 w 11625583"/>
              <a:gd name="connsiteY3433" fmla="*/ 1916114 h 6380470"/>
              <a:gd name="connsiteX3434" fmla="*/ 3630594 w 11625583"/>
              <a:gd name="connsiteY3434" fmla="*/ 1980760 h 6380470"/>
              <a:gd name="connsiteX3435" fmla="*/ 3565917 w 11625583"/>
              <a:gd name="connsiteY3435" fmla="*/ 1916114 h 6380470"/>
              <a:gd name="connsiteX3436" fmla="*/ 3630594 w 11625583"/>
              <a:gd name="connsiteY3436" fmla="*/ 1851450 h 6380470"/>
              <a:gd name="connsiteX3437" fmla="*/ 3481843 w 11625583"/>
              <a:gd name="connsiteY3437" fmla="*/ 1851450 h 6380470"/>
              <a:gd name="connsiteX3438" fmla="*/ 3546512 w 11625583"/>
              <a:gd name="connsiteY3438" fmla="*/ 1916114 h 6380470"/>
              <a:gd name="connsiteX3439" fmla="*/ 3481843 w 11625583"/>
              <a:gd name="connsiteY3439" fmla="*/ 1980760 h 6380470"/>
              <a:gd name="connsiteX3440" fmla="*/ 3417186 w 11625583"/>
              <a:gd name="connsiteY3440" fmla="*/ 1916114 h 6380470"/>
              <a:gd name="connsiteX3441" fmla="*/ 3481843 w 11625583"/>
              <a:gd name="connsiteY3441" fmla="*/ 1851450 h 6380470"/>
              <a:gd name="connsiteX3442" fmla="*/ 3321374 w 11625583"/>
              <a:gd name="connsiteY3442" fmla="*/ 1851450 h 6380470"/>
              <a:gd name="connsiteX3443" fmla="*/ 3386019 w 11625583"/>
              <a:gd name="connsiteY3443" fmla="*/ 1916114 h 6380470"/>
              <a:gd name="connsiteX3444" fmla="*/ 3321374 w 11625583"/>
              <a:gd name="connsiteY3444" fmla="*/ 1980760 h 6380470"/>
              <a:gd name="connsiteX3445" fmla="*/ 3256709 w 11625583"/>
              <a:gd name="connsiteY3445" fmla="*/ 1916114 h 6380470"/>
              <a:gd name="connsiteX3446" fmla="*/ 3321374 w 11625583"/>
              <a:gd name="connsiteY3446" fmla="*/ 1851450 h 6380470"/>
              <a:gd name="connsiteX3447" fmla="*/ 3172621 w 11625583"/>
              <a:gd name="connsiteY3447" fmla="*/ 1851450 h 6380470"/>
              <a:gd name="connsiteX3448" fmla="*/ 3237294 w 11625583"/>
              <a:gd name="connsiteY3448" fmla="*/ 1916114 h 6380470"/>
              <a:gd name="connsiteX3449" fmla="*/ 3172621 w 11625583"/>
              <a:gd name="connsiteY3449" fmla="*/ 1980760 h 6380470"/>
              <a:gd name="connsiteX3450" fmla="*/ 3107940 w 11625583"/>
              <a:gd name="connsiteY3450" fmla="*/ 1916114 h 6380470"/>
              <a:gd name="connsiteX3451" fmla="*/ 3172621 w 11625583"/>
              <a:gd name="connsiteY3451" fmla="*/ 1851450 h 6380470"/>
              <a:gd name="connsiteX3452" fmla="*/ 3012108 w 11625583"/>
              <a:gd name="connsiteY3452" fmla="*/ 1851450 h 6380470"/>
              <a:gd name="connsiteX3453" fmla="*/ 3076778 w 11625583"/>
              <a:gd name="connsiteY3453" fmla="*/ 1916114 h 6380470"/>
              <a:gd name="connsiteX3454" fmla="*/ 3012108 w 11625583"/>
              <a:gd name="connsiteY3454" fmla="*/ 1980760 h 6380470"/>
              <a:gd name="connsiteX3455" fmla="*/ 2947451 w 11625583"/>
              <a:gd name="connsiteY3455" fmla="*/ 1916114 h 6380470"/>
              <a:gd name="connsiteX3456" fmla="*/ 3012108 w 11625583"/>
              <a:gd name="connsiteY3456" fmla="*/ 1851450 h 6380470"/>
              <a:gd name="connsiteX3457" fmla="*/ 2855554 w 11625583"/>
              <a:gd name="connsiteY3457" fmla="*/ 1851450 h 6380470"/>
              <a:gd name="connsiteX3458" fmla="*/ 2920212 w 11625583"/>
              <a:gd name="connsiteY3458" fmla="*/ 1916114 h 6380470"/>
              <a:gd name="connsiteX3459" fmla="*/ 2855554 w 11625583"/>
              <a:gd name="connsiteY3459" fmla="*/ 1980760 h 6380470"/>
              <a:gd name="connsiteX3460" fmla="*/ 2790897 w 11625583"/>
              <a:gd name="connsiteY3460" fmla="*/ 1916114 h 6380470"/>
              <a:gd name="connsiteX3461" fmla="*/ 2855554 w 11625583"/>
              <a:gd name="connsiteY3461" fmla="*/ 1851450 h 6380470"/>
              <a:gd name="connsiteX3462" fmla="*/ 2699002 w 11625583"/>
              <a:gd name="connsiteY3462" fmla="*/ 1851450 h 6380470"/>
              <a:gd name="connsiteX3463" fmla="*/ 2763659 w 11625583"/>
              <a:gd name="connsiteY3463" fmla="*/ 1916114 h 6380470"/>
              <a:gd name="connsiteX3464" fmla="*/ 2699002 w 11625583"/>
              <a:gd name="connsiteY3464" fmla="*/ 1980760 h 6380470"/>
              <a:gd name="connsiteX3465" fmla="*/ 2634344 w 11625583"/>
              <a:gd name="connsiteY3465" fmla="*/ 1916114 h 6380470"/>
              <a:gd name="connsiteX3466" fmla="*/ 2699002 w 11625583"/>
              <a:gd name="connsiteY3466" fmla="*/ 1851450 h 6380470"/>
              <a:gd name="connsiteX3467" fmla="*/ 2546361 w 11625583"/>
              <a:gd name="connsiteY3467" fmla="*/ 1851450 h 6380470"/>
              <a:gd name="connsiteX3468" fmla="*/ 2611021 w 11625583"/>
              <a:gd name="connsiteY3468" fmla="*/ 1916114 h 6380470"/>
              <a:gd name="connsiteX3469" fmla="*/ 2546361 w 11625583"/>
              <a:gd name="connsiteY3469" fmla="*/ 1980760 h 6380470"/>
              <a:gd name="connsiteX3470" fmla="*/ 2481704 w 11625583"/>
              <a:gd name="connsiteY3470" fmla="*/ 1916114 h 6380470"/>
              <a:gd name="connsiteX3471" fmla="*/ 2546361 w 11625583"/>
              <a:gd name="connsiteY3471" fmla="*/ 1851450 h 6380470"/>
              <a:gd name="connsiteX3472" fmla="*/ 2389782 w 11625583"/>
              <a:gd name="connsiteY3472" fmla="*/ 1851450 h 6380470"/>
              <a:gd name="connsiteX3473" fmla="*/ 2454467 w 11625583"/>
              <a:gd name="connsiteY3473" fmla="*/ 1916114 h 6380470"/>
              <a:gd name="connsiteX3474" fmla="*/ 2389782 w 11625583"/>
              <a:gd name="connsiteY3474" fmla="*/ 1980760 h 6380470"/>
              <a:gd name="connsiteX3475" fmla="*/ 2325128 w 11625583"/>
              <a:gd name="connsiteY3475" fmla="*/ 1916114 h 6380470"/>
              <a:gd name="connsiteX3476" fmla="*/ 2389782 w 11625583"/>
              <a:gd name="connsiteY3476" fmla="*/ 1851450 h 6380470"/>
              <a:gd name="connsiteX3477" fmla="*/ 10625394 w 11625583"/>
              <a:gd name="connsiteY3477" fmla="*/ 1710535 h 6380470"/>
              <a:gd name="connsiteX3478" fmla="*/ 10690060 w 11625583"/>
              <a:gd name="connsiteY3478" fmla="*/ 1775201 h 6380470"/>
              <a:gd name="connsiteX3479" fmla="*/ 10625394 w 11625583"/>
              <a:gd name="connsiteY3479" fmla="*/ 1839865 h 6380470"/>
              <a:gd name="connsiteX3480" fmla="*/ 10560728 w 11625583"/>
              <a:gd name="connsiteY3480" fmla="*/ 1775201 h 6380470"/>
              <a:gd name="connsiteX3481" fmla="*/ 10625394 w 11625583"/>
              <a:gd name="connsiteY3481" fmla="*/ 1710535 h 6380470"/>
              <a:gd name="connsiteX3482" fmla="*/ 10159588 w 11625583"/>
              <a:gd name="connsiteY3482" fmla="*/ 1710535 h 6380470"/>
              <a:gd name="connsiteX3483" fmla="*/ 10224254 w 11625583"/>
              <a:gd name="connsiteY3483" fmla="*/ 1775201 h 6380470"/>
              <a:gd name="connsiteX3484" fmla="*/ 10159588 w 11625583"/>
              <a:gd name="connsiteY3484" fmla="*/ 1839865 h 6380470"/>
              <a:gd name="connsiteX3485" fmla="*/ 10094922 w 11625583"/>
              <a:gd name="connsiteY3485" fmla="*/ 1775201 h 6380470"/>
              <a:gd name="connsiteX3486" fmla="*/ 10159588 w 11625583"/>
              <a:gd name="connsiteY3486" fmla="*/ 1710535 h 6380470"/>
              <a:gd name="connsiteX3487" fmla="*/ 10003016 w 11625583"/>
              <a:gd name="connsiteY3487" fmla="*/ 1710535 h 6380470"/>
              <a:gd name="connsiteX3488" fmla="*/ 10067682 w 11625583"/>
              <a:gd name="connsiteY3488" fmla="*/ 1775201 h 6380470"/>
              <a:gd name="connsiteX3489" fmla="*/ 10003016 w 11625583"/>
              <a:gd name="connsiteY3489" fmla="*/ 1839865 h 6380470"/>
              <a:gd name="connsiteX3490" fmla="*/ 9938350 w 11625583"/>
              <a:gd name="connsiteY3490" fmla="*/ 1775201 h 6380470"/>
              <a:gd name="connsiteX3491" fmla="*/ 10003016 w 11625583"/>
              <a:gd name="connsiteY3491" fmla="*/ 1710535 h 6380470"/>
              <a:gd name="connsiteX3492" fmla="*/ 9850356 w 11625583"/>
              <a:gd name="connsiteY3492" fmla="*/ 1710535 h 6380470"/>
              <a:gd name="connsiteX3493" fmla="*/ 9915022 w 11625583"/>
              <a:gd name="connsiteY3493" fmla="*/ 1775201 h 6380470"/>
              <a:gd name="connsiteX3494" fmla="*/ 9850356 w 11625583"/>
              <a:gd name="connsiteY3494" fmla="*/ 1839865 h 6380470"/>
              <a:gd name="connsiteX3495" fmla="*/ 9785690 w 11625583"/>
              <a:gd name="connsiteY3495" fmla="*/ 1775201 h 6380470"/>
              <a:gd name="connsiteX3496" fmla="*/ 9850356 w 11625583"/>
              <a:gd name="connsiteY3496" fmla="*/ 1710535 h 6380470"/>
              <a:gd name="connsiteX3497" fmla="*/ 9693782 w 11625583"/>
              <a:gd name="connsiteY3497" fmla="*/ 1710535 h 6380470"/>
              <a:gd name="connsiteX3498" fmla="*/ 9758448 w 11625583"/>
              <a:gd name="connsiteY3498" fmla="*/ 1775201 h 6380470"/>
              <a:gd name="connsiteX3499" fmla="*/ 9693782 w 11625583"/>
              <a:gd name="connsiteY3499" fmla="*/ 1839865 h 6380470"/>
              <a:gd name="connsiteX3500" fmla="*/ 9629116 w 11625583"/>
              <a:gd name="connsiteY3500" fmla="*/ 1775201 h 6380470"/>
              <a:gd name="connsiteX3501" fmla="*/ 9693782 w 11625583"/>
              <a:gd name="connsiteY3501" fmla="*/ 1710535 h 6380470"/>
              <a:gd name="connsiteX3502" fmla="*/ 9541123 w 11625583"/>
              <a:gd name="connsiteY3502" fmla="*/ 1710535 h 6380470"/>
              <a:gd name="connsiteX3503" fmla="*/ 9605789 w 11625583"/>
              <a:gd name="connsiteY3503" fmla="*/ 1775201 h 6380470"/>
              <a:gd name="connsiteX3504" fmla="*/ 9541123 w 11625583"/>
              <a:gd name="connsiteY3504" fmla="*/ 1839865 h 6380470"/>
              <a:gd name="connsiteX3505" fmla="*/ 9476457 w 11625583"/>
              <a:gd name="connsiteY3505" fmla="*/ 1775201 h 6380470"/>
              <a:gd name="connsiteX3506" fmla="*/ 9541123 w 11625583"/>
              <a:gd name="connsiteY3506" fmla="*/ 1710535 h 6380470"/>
              <a:gd name="connsiteX3507" fmla="*/ 9384550 w 11625583"/>
              <a:gd name="connsiteY3507" fmla="*/ 1710535 h 6380470"/>
              <a:gd name="connsiteX3508" fmla="*/ 9449216 w 11625583"/>
              <a:gd name="connsiteY3508" fmla="*/ 1775201 h 6380470"/>
              <a:gd name="connsiteX3509" fmla="*/ 9384550 w 11625583"/>
              <a:gd name="connsiteY3509" fmla="*/ 1839865 h 6380470"/>
              <a:gd name="connsiteX3510" fmla="*/ 9319884 w 11625583"/>
              <a:gd name="connsiteY3510" fmla="*/ 1775201 h 6380470"/>
              <a:gd name="connsiteX3511" fmla="*/ 9384550 w 11625583"/>
              <a:gd name="connsiteY3511" fmla="*/ 1710535 h 6380470"/>
              <a:gd name="connsiteX3512" fmla="*/ 9227977 w 11625583"/>
              <a:gd name="connsiteY3512" fmla="*/ 1710535 h 6380470"/>
              <a:gd name="connsiteX3513" fmla="*/ 9292643 w 11625583"/>
              <a:gd name="connsiteY3513" fmla="*/ 1775201 h 6380470"/>
              <a:gd name="connsiteX3514" fmla="*/ 9227977 w 11625583"/>
              <a:gd name="connsiteY3514" fmla="*/ 1839865 h 6380470"/>
              <a:gd name="connsiteX3515" fmla="*/ 9163311 w 11625583"/>
              <a:gd name="connsiteY3515" fmla="*/ 1775201 h 6380470"/>
              <a:gd name="connsiteX3516" fmla="*/ 9227977 w 11625583"/>
              <a:gd name="connsiteY3516" fmla="*/ 1710535 h 6380470"/>
              <a:gd name="connsiteX3517" fmla="*/ 9075317 w 11625583"/>
              <a:gd name="connsiteY3517" fmla="*/ 1710535 h 6380470"/>
              <a:gd name="connsiteX3518" fmla="*/ 9139983 w 11625583"/>
              <a:gd name="connsiteY3518" fmla="*/ 1775201 h 6380470"/>
              <a:gd name="connsiteX3519" fmla="*/ 9075317 w 11625583"/>
              <a:gd name="connsiteY3519" fmla="*/ 1839865 h 6380470"/>
              <a:gd name="connsiteX3520" fmla="*/ 9010651 w 11625583"/>
              <a:gd name="connsiteY3520" fmla="*/ 1775201 h 6380470"/>
              <a:gd name="connsiteX3521" fmla="*/ 9075317 w 11625583"/>
              <a:gd name="connsiteY3521" fmla="*/ 1710535 h 6380470"/>
              <a:gd name="connsiteX3522" fmla="*/ 8914829 w 11625583"/>
              <a:gd name="connsiteY3522" fmla="*/ 1710535 h 6380470"/>
              <a:gd name="connsiteX3523" fmla="*/ 8979495 w 11625583"/>
              <a:gd name="connsiteY3523" fmla="*/ 1775201 h 6380470"/>
              <a:gd name="connsiteX3524" fmla="*/ 8914829 w 11625583"/>
              <a:gd name="connsiteY3524" fmla="*/ 1839865 h 6380470"/>
              <a:gd name="connsiteX3525" fmla="*/ 8850163 w 11625583"/>
              <a:gd name="connsiteY3525" fmla="*/ 1775201 h 6380470"/>
              <a:gd name="connsiteX3526" fmla="*/ 8914829 w 11625583"/>
              <a:gd name="connsiteY3526" fmla="*/ 1710535 h 6380470"/>
              <a:gd name="connsiteX3527" fmla="*/ 8766086 w 11625583"/>
              <a:gd name="connsiteY3527" fmla="*/ 1710535 h 6380470"/>
              <a:gd name="connsiteX3528" fmla="*/ 8830752 w 11625583"/>
              <a:gd name="connsiteY3528" fmla="*/ 1775201 h 6380470"/>
              <a:gd name="connsiteX3529" fmla="*/ 8766086 w 11625583"/>
              <a:gd name="connsiteY3529" fmla="*/ 1839865 h 6380470"/>
              <a:gd name="connsiteX3530" fmla="*/ 8701420 w 11625583"/>
              <a:gd name="connsiteY3530" fmla="*/ 1775201 h 6380470"/>
              <a:gd name="connsiteX3531" fmla="*/ 8766086 w 11625583"/>
              <a:gd name="connsiteY3531" fmla="*/ 1710535 h 6380470"/>
              <a:gd name="connsiteX3532" fmla="*/ 8601683 w 11625583"/>
              <a:gd name="connsiteY3532" fmla="*/ 1710535 h 6380470"/>
              <a:gd name="connsiteX3533" fmla="*/ 8666349 w 11625583"/>
              <a:gd name="connsiteY3533" fmla="*/ 1775201 h 6380470"/>
              <a:gd name="connsiteX3534" fmla="*/ 8601683 w 11625583"/>
              <a:gd name="connsiteY3534" fmla="*/ 1839865 h 6380470"/>
              <a:gd name="connsiteX3535" fmla="*/ 8537017 w 11625583"/>
              <a:gd name="connsiteY3535" fmla="*/ 1775201 h 6380470"/>
              <a:gd name="connsiteX3536" fmla="*/ 8601683 w 11625583"/>
              <a:gd name="connsiteY3536" fmla="*/ 1710535 h 6380470"/>
              <a:gd name="connsiteX3537" fmla="*/ 8449025 w 11625583"/>
              <a:gd name="connsiteY3537" fmla="*/ 1710535 h 6380470"/>
              <a:gd name="connsiteX3538" fmla="*/ 8513691 w 11625583"/>
              <a:gd name="connsiteY3538" fmla="*/ 1775201 h 6380470"/>
              <a:gd name="connsiteX3539" fmla="*/ 8449025 w 11625583"/>
              <a:gd name="connsiteY3539" fmla="*/ 1839865 h 6380470"/>
              <a:gd name="connsiteX3540" fmla="*/ 8384359 w 11625583"/>
              <a:gd name="connsiteY3540" fmla="*/ 1775201 h 6380470"/>
              <a:gd name="connsiteX3541" fmla="*/ 8449025 w 11625583"/>
              <a:gd name="connsiteY3541" fmla="*/ 1710535 h 6380470"/>
              <a:gd name="connsiteX3542" fmla="*/ 8296367 w 11625583"/>
              <a:gd name="connsiteY3542" fmla="*/ 1710535 h 6380470"/>
              <a:gd name="connsiteX3543" fmla="*/ 8361033 w 11625583"/>
              <a:gd name="connsiteY3543" fmla="*/ 1775201 h 6380470"/>
              <a:gd name="connsiteX3544" fmla="*/ 8296367 w 11625583"/>
              <a:gd name="connsiteY3544" fmla="*/ 1839865 h 6380470"/>
              <a:gd name="connsiteX3545" fmla="*/ 8231701 w 11625583"/>
              <a:gd name="connsiteY3545" fmla="*/ 1775201 h 6380470"/>
              <a:gd name="connsiteX3546" fmla="*/ 8296367 w 11625583"/>
              <a:gd name="connsiteY3546" fmla="*/ 1710535 h 6380470"/>
              <a:gd name="connsiteX3547" fmla="*/ 8139792 w 11625583"/>
              <a:gd name="connsiteY3547" fmla="*/ 1710535 h 6380470"/>
              <a:gd name="connsiteX3548" fmla="*/ 8204458 w 11625583"/>
              <a:gd name="connsiteY3548" fmla="*/ 1775201 h 6380470"/>
              <a:gd name="connsiteX3549" fmla="*/ 8139792 w 11625583"/>
              <a:gd name="connsiteY3549" fmla="*/ 1839865 h 6380470"/>
              <a:gd name="connsiteX3550" fmla="*/ 8075126 w 11625583"/>
              <a:gd name="connsiteY3550" fmla="*/ 1775201 h 6380470"/>
              <a:gd name="connsiteX3551" fmla="*/ 8139792 w 11625583"/>
              <a:gd name="connsiteY3551" fmla="*/ 1710535 h 6380470"/>
              <a:gd name="connsiteX3552" fmla="*/ 7987133 w 11625583"/>
              <a:gd name="connsiteY3552" fmla="*/ 1710535 h 6380470"/>
              <a:gd name="connsiteX3553" fmla="*/ 8051799 w 11625583"/>
              <a:gd name="connsiteY3553" fmla="*/ 1775201 h 6380470"/>
              <a:gd name="connsiteX3554" fmla="*/ 7987133 w 11625583"/>
              <a:gd name="connsiteY3554" fmla="*/ 1839865 h 6380470"/>
              <a:gd name="connsiteX3555" fmla="*/ 7922467 w 11625583"/>
              <a:gd name="connsiteY3555" fmla="*/ 1775201 h 6380470"/>
              <a:gd name="connsiteX3556" fmla="*/ 7987133 w 11625583"/>
              <a:gd name="connsiteY3556" fmla="*/ 1710535 h 6380470"/>
              <a:gd name="connsiteX3557" fmla="*/ 7830562 w 11625583"/>
              <a:gd name="connsiteY3557" fmla="*/ 1710535 h 6380470"/>
              <a:gd name="connsiteX3558" fmla="*/ 7895228 w 11625583"/>
              <a:gd name="connsiteY3558" fmla="*/ 1775201 h 6380470"/>
              <a:gd name="connsiteX3559" fmla="*/ 7830562 w 11625583"/>
              <a:gd name="connsiteY3559" fmla="*/ 1839865 h 6380470"/>
              <a:gd name="connsiteX3560" fmla="*/ 7765896 w 11625583"/>
              <a:gd name="connsiteY3560" fmla="*/ 1775201 h 6380470"/>
              <a:gd name="connsiteX3561" fmla="*/ 7830562 w 11625583"/>
              <a:gd name="connsiteY3561" fmla="*/ 1710535 h 6380470"/>
              <a:gd name="connsiteX3562" fmla="*/ 7677902 w 11625583"/>
              <a:gd name="connsiteY3562" fmla="*/ 1710535 h 6380470"/>
              <a:gd name="connsiteX3563" fmla="*/ 7742568 w 11625583"/>
              <a:gd name="connsiteY3563" fmla="*/ 1775201 h 6380470"/>
              <a:gd name="connsiteX3564" fmla="*/ 7677902 w 11625583"/>
              <a:gd name="connsiteY3564" fmla="*/ 1839865 h 6380470"/>
              <a:gd name="connsiteX3565" fmla="*/ 7613236 w 11625583"/>
              <a:gd name="connsiteY3565" fmla="*/ 1775201 h 6380470"/>
              <a:gd name="connsiteX3566" fmla="*/ 7677902 w 11625583"/>
              <a:gd name="connsiteY3566" fmla="*/ 1710535 h 6380470"/>
              <a:gd name="connsiteX3567" fmla="*/ 7521329 w 11625583"/>
              <a:gd name="connsiteY3567" fmla="*/ 1710535 h 6380470"/>
              <a:gd name="connsiteX3568" fmla="*/ 7585995 w 11625583"/>
              <a:gd name="connsiteY3568" fmla="*/ 1775201 h 6380470"/>
              <a:gd name="connsiteX3569" fmla="*/ 7521329 w 11625583"/>
              <a:gd name="connsiteY3569" fmla="*/ 1839865 h 6380470"/>
              <a:gd name="connsiteX3570" fmla="*/ 7456663 w 11625583"/>
              <a:gd name="connsiteY3570" fmla="*/ 1775201 h 6380470"/>
              <a:gd name="connsiteX3571" fmla="*/ 7521329 w 11625583"/>
              <a:gd name="connsiteY3571" fmla="*/ 1710535 h 6380470"/>
              <a:gd name="connsiteX3572" fmla="*/ 7368669 w 11625583"/>
              <a:gd name="connsiteY3572" fmla="*/ 1710535 h 6380470"/>
              <a:gd name="connsiteX3573" fmla="*/ 7433335 w 11625583"/>
              <a:gd name="connsiteY3573" fmla="*/ 1775201 h 6380470"/>
              <a:gd name="connsiteX3574" fmla="*/ 7368669 w 11625583"/>
              <a:gd name="connsiteY3574" fmla="*/ 1839865 h 6380470"/>
              <a:gd name="connsiteX3575" fmla="*/ 7304003 w 11625583"/>
              <a:gd name="connsiteY3575" fmla="*/ 1775201 h 6380470"/>
              <a:gd name="connsiteX3576" fmla="*/ 7368669 w 11625583"/>
              <a:gd name="connsiteY3576" fmla="*/ 1710535 h 6380470"/>
              <a:gd name="connsiteX3577" fmla="*/ 7212096 w 11625583"/>
              <a:gd name="connsiteY3577" fmla="*/ 1710535 h 6380470"/>
              <a:gd name="connsiteX3578" fmla="*/ 7276762 w 11625583"/>
              <a:gd name="connsiteY3578" fmla="*/ 1775201 h 6380470"/>
              <a:gd name="connsiteX3579" fmla="*/ 7212096 w 11625583"/>
              <a:gd name="connsiteY3579" fmla="*/ 1839865 h 6380470"/>
              <a:gd name="connsiteX3580" fmla="*/ 7147430 w 11625583"/>
              <a:gd name="connsiteY3580" fmla="*/ 1775201 h 6380470"/>
              <a:gd name="connsiteX3581" fmla="*/ 7212096 w 11625583"/>
              <a:gd name="connsiteY3581" fmla="*/ 1710535 h 6380470"/>
              <a:gd name="connsiteX3582" fmla="*/ 7055523 w 11625583"/>
              <a:gd name="connsiteY3582" fmla="*/ 1710535 h 6380470"/>
              <a:gd name="connsiteX3583" fmla="*/ 7120189 w 11625583"/>
              <a:gd name="connsiteY3583" fmla="*/ 1775201 h 6380470"/>
              <a:gd name="connsiteX3584" fmla="*/ 7055523 w 11625583"/>
              <a:gd name="connsiteY3584" fmla="*/ 1839865 h 6380470"/>
              <a:gd name="connsiteX3585" fmla="*/ 6990857 w 11625583"/>
              <a:gd name="connsiteY3585" fmla="*/ 1775201 h 6380470"/>
              <a:gd name="connsiteX3586" fmla="*/ 7055523 w 11625583"/>
              <a:gd name="connsiteY3586" fmla="*/ 1710535 h 6380470"/>
              <a:gd name="connsiteX3587" fmla="*/ 6895037 w 11625583"/>
              <a:gd name="connsiteY3587" fmla="*/ 1710535 h 6380470"/>
              <a:gd name="connsiteX3588" fmla="*/ 6959703 w 11625583"/>
              <a:gd name="connsiteY3588" fmla="*/ 1775201 h 6380470"/>
              <a:gd name="connsiteX3589" fmla="*/ 6895037 w 11625583"/>
              <a:gd name="connsiteY3589" fmla="*/ 1839865 h 6380470"/>
              <a:gd name="connsiteX3590" fmla="*/ 6830371 w 11625583"/>
              <a:gd name="connsiteY3590" fmla="*/ 1775201 h 6380470"/>
              <a:gd name="connsiteX3591" fmla="*/ 6895037 w 11625583"/>
              <a:gd name="connsiteY3591" fmla="*/ 1710535 h 6380470"/>
              <a:gd name="connsiteX3592" fmla="*/ 6742375 w 11625583"/>
              <a:gd name="connsiteY3592" fmla="*/ 1710535 h 6380470"/>
              <a:gd name="connsiteX3593" fmla="*/ 6807041 w 11625583"/>
              <a:gd name="connsiteY3593" fmla="*/ 1775201 h 6380470"/>
              <a:gd name="connsiteX3594" fmla="*/ 6742375 w 11625583"/>
              <a:gd name="connsiteY3594" fmla="*/ 1839865 h 6380470"/>
              <a:gd name="connsiteX3595" fmla="*/ 6677709 w 11625583"/>
              <a:gd name="connsiteY3595" fmla="*/ 1775201 h 6380470"/>
              <a:gd name="connsiteX3596" fmla="*/ 6742375 w 11625583"/>
              <a:gd name="connsiteY3596" fmla="*/ 1710535 h 6380470"/>
              <a:gd name="connsiteX3597" fmla="*/ 6585802 w 11625583"/>
              <a:gd name="connsiteY3597" fmla="*/ 1710535 h 6380470"/>
              <a:gd name="connsiteX3598" fmla="*/ 6650468 w 11625583"/>
              <a:gd name="connsiteY3598" fmla="*/ 1775201 h 6380470"/>
              <a:gd name="connsiteX3599" fmla="*/ 6585802 w 11625583"/>
              <a:gd name="connsiteY3599" fmla="*/ 1839865 h 6380470"/>
              <a:gd name="connsiteX3600" fmla="*/ 6521136 w 11625583"/>
              <a:gd name="connsiteY3600" fmla="*/ 1775201 h 6380470"/>
              <a:gd name="connsiteX3601" fmla="*/ 6585802 w 11625583"/>
              <a:gd name="connsiteY3601" fmla="*/ 1710535 h 6380470"/>
              <a:gd name="connsiteX3602" fmla="*/ 6429229 w 11625583"/>
              <a:gd name="connsiteY3602" fmla="*/ 1710535 h 6380470"/>
              <a:gd name="connsiteX3603" fmla="*/ 6493895 w 11625583"/>
              <a:gd name="connsiteY3603" fmla="*/ 1775201 h 6380470"/>
              <a:gd name="connsiteX3604" fmla="*/ 6429229 w 11625583"/>
              <a:gd name="connsiteY3604" fmla="*/ 1839865 h 6380470"/>
              <a:gd name="connsiteX3605" fmla="*/ 6364563 w 11625583"/>
              <a:gd name="connsiteY3605" fmla="*/ 1775201 h 6380470"/>
              <a:gd name="connsiteX3606" fmla="*/ 6429229 w 11625583"/>
              <a:gd name="connsiteY3606" fmla="*/ 1710535 h 6380470"/>
              <a:gd name="connsiteX3607" fmla="*/ 6276571 w 11625583"/>
              <a:gd name="connsiteY3607" fmla="*/ 1710535 h 6380470"/>
              <a:gd name="connsiteX3608" fmla="*/ 6341237 w 11625583"/>
              <a:gd name="connsiteY3608" fmla="*/ 1775201 h 6380470"/>
              <a:gd name="connsiteX3609" fmla="*/ 6276571 w 11625583"/>
              <a:gd name="connsiteY3609" fmla="*/ 1839865 h 6380470"/>
              <a:gd name="connsiteX3610" fmla="*/ 6211905 w 11625583"/>
              <a:gd name="connsiteY3610" fmla="*/ 1775201 h 6380470"/>
              <a:gd name="connsiteX3611" fmla="*/ 6276571 w 11625583"/>
              <a:gd name="connsiteY3611" fmla="*/ 1710535 h 6380470"/>
              <a:gd name="connsiteX3612" fmla="*/ 6119999 w 11625583"/>
              <a:gd name="connsiteY3612" fmla="*/ 1710535 h 6380470"/>
              <a:gd name="connsiteX3613" fmla="*/ 6184665 w 11625583"/>
              <a:gd name="connsiteY3613" fmla="*/ 1775201 h 6380470"/>
              <a:gd name="connsiteX3614" fmla="*/ 6119999 w 11625583"/>
              <a:gd name="connsiteY3614" fmla="*/ 1839865 h 6380470"/>
              <a:gd name="connsiteX3615" fmla="*/ 6055333 w 11625583"/>
              <a:gd name="connsiteY3615" fmla="*/ 1775201 h 6380470"/>
              <a:gd name="connsiteX3616" fmla="*/ 6119999 w 11625583"/>
              <a:gd name="connsiteY3616" fmla="*/ 1710535 h 6380470"/>
              <a:gd name="connsiteX3617" fmla="*/ 5967338 w 11625583"/>
              <a:gd name="connsiteY3617" fmla="*/ 1710535 h 6380470"/>
              <a:gd name="connsiteX3618" fmla="*/ 6032004 w 11625583"/>
              <a:gd name="connsiteY3618" fmla="*/ 1775201 h 6380470"/>
              <a:gd name="connsiteX3619" fmla="*/ 5967338 w 11625583"/>
              <a:gd name="connsiteY3619" fmla="*/ 1839865 h 6380470"/>
              <a:gd name="connsiteX3620" fmla="*/ 5902672 w 11625583"/>
              <a:gd name="connsiteY3620" fmla="*/ 1775201 h 6380470"/>
              <a:gd name="connsiteX3621" fmla="*/ 5967338 w 11625583"/>
              <a:gd name="connsiteY3621" fmla="*/ 1710535 h 6380470"/>
              <a:gd name="connsiteX3622" fmla="*/ 5810800 w 11625583"/>
              <a:gd name="connsiteY3622" fmla="*/ 1710535 h 6380470"/>
              <a:gd name="connsiteX3623" fmla="*/ 5875431 w 11625583"/>
              <a:gd name="connsiteY3623" fmla="*/ 1775201 h 6380470"/>
              <a:gd name="connsiteX3624" fmla="*/ 5810800 w 11625583"/>
              <a:gd name="connsiteY3624" fmla="*/ 1839865 h 6380470"/>
              <a:gd name="connsiteX3625" fmla="*/ 5746117 w 11625583"/>
              <a:gd name="connsiteY3625" fmla="*/ 1775201 h 6380470"/>
              <a:gd name="connsiteX3626" fmla="*/ 5810800 w 11625583"/>
              <a:gd name="connsiteY3626" fmla="*/ 1710535 h 6380470"/>
              <a:gd name="connsiteX3627" fmla="*/ 5658108 w 11625583"/>
              <a:gd name="connsiteY3627" fmla="*/ 1710535 h 6380470"/>
              <a:gd name="connsiteX3628" fmla="*/ 5722783 w 11625583"/>
              <a:gd name="connsiteY3628" fmla="*/ 1775201 h 6380470"/>
              <a:gd name="connsiteX3629" fmla="*/ 5658108 w 11625583"/>
              <a:gd name="connsiteY3629" fmla="*/ 1839865 h 6380470"/>
              <a:gd name="connsiteX3630" fmla="*/ 5593441 w 11625583"/>
              <a:gd name="connsiteY3630" fmla="*/ 1775201 h 6380470"/>
              <a:gd name="connsiteX3631" fmla="*/ 5658108 w 11625583"/>
              <a:gd name="connsiteY3631" fmla="*/ 1710535 h 6380470"/>
              <a:gd name="connsiteX3632" fmla="*/ 5501543 w 11625583"/>
              <a:gd name="connsiteY3632" fmla="*/ 1710535 h 6380470"/>
              <a:gd name="connsiteX3633" fmla="*/ 5566205 w 11625583"/>
              <a:gd name="connsiteY3633" fmla="*/ 1775201 h 6380470"/>
              <a:gd name="connsiteX3634" fmla="*/ 5501543 w 11625583"/>
              <a:gd name="connsiteY3634" fmla="*/ 1839865 h 6380470"/>
              <a:gd name="connsiteX3635" fmla="*/ 5436886 w 11625583"/>
              <a:gd name="connsiteY3635" fmla="*/ 1775201 h 6380470"/>
              <a:gd name="connsiteX3636" fmla="*/ 5501543 w 11625583"/>
              <a:gd name="connsiteY3636" fmla="*/ 1710535 h 6380470"/>
              <a:gd name="connsiteX3637" fmla="*/ 5348888 w 11625583"/>
              <a:gd name="connsiteY3637" fmla="*/ 1710535 h 6380470"/>
              <a:gd name="connsiteX3638" fmla="*/ 5413554 w 11625583"/>
              <a:gd name="connsiteY3638" fmla="*/ 1775201 h 6380470"/>
              <a:gd name="connsiteX3639" fmla="*/ 5348888 w 11625583"/>
              <a:gd name="connsiteY3639" fmla="*/ 1839865 h 6380470"/>
              <a:gd name="connsiteX3640" fmla="*/ 5284230 w 11625583"/>
              <a:gd name="connsiteY3640" fmla="*/ 1775201 h 6380470"/>
              <a:gd name="connsiteX3641" fmla="*/ 5348888 w 11625583"/>
              <a:gd name="connsiteY3641" fmla="*/ 1710535 h 6380470"/>
              <a:gd name="connsiteX3642" fmla="*/ 5192321 w 11625583"/>
              <a:gd name="connsiteY3642" fmla="*/ 1710535 h 6380470"/>
              <a:gd name="connsiteX3643" fmla="*/ 5256982 w 11625583"/>
              <a:gd name="connsiteY3643" fmla="*/ 1775201 h 6380470"/>
              <a:gd name="connsiteX3644" fmla="*/ 5192321 w 11625583"/>
              <a:gd name="connsiteY3644" fmla="*/ 1839865 h 6380470"/>
              <a:gd name="connsiteX3645" fmla="*/ 5127656 w 11625583"/>
              <a:gd name="connsiteY3645" fmla="*/ 1775201 h 6380470"/>
              <a:gd name="connsiteX3646" fmla="*/ 5192321 w 11625583"/>
              <a:gd name="connsiteY3646" fmla="*/ 1710535 h 6380470"/>
              <a:gd name="connsiteX3647" fmla="*/ 3630603 w 11625583"/>
              <a:gd name="connsiteY3647" fmla="*/ 1710535 h 6380470"/>
              <a:gd name="connsiteX3648" fmla="*/ 3695268 w 11625583"/>
              <a:gd name="connsiteY3648" fmla="*/ 1775201 h 6380470"/>
              <a:gd name="connsiteX3649" fmla="*/ 3630603 w 11625583"/>
              <a:gd name="connsiteY3649" fmla="*/ 1839865 h 6380470"/>
              <a:gd name="connsiteX3650" fmla="*/ 3565924 w 11625583"/>
              <a:gd name="connsiteY3650" fmla="*/ 1775201 h 6380470"/>
              <a:gd name="connsiteX3651" fmla="*/ 3630603 w 11625583"/>
              <a:gd name="connsiteY3651" fmla="*/ 1710535 h 6380470"/>
              <a:gd name="connsiteX3652" fmla="*/ 3481848 w 11625583"/>
              <a:gd name="connsiteY3652" fmla="*/ 1710535 h 6380470"/>
              <a:gd name="connsiteX3653" fmla="*/ 3546518 w 11625583"/>
              <a:gd name="connsiteY3653" fmla="*/ 1775201 h 6380470"/>
              <a:gd name="connsiteX3654" fmla="*/ 3481848 w 11625583"/>
              <a:gd name="connsiteY3654" fmla="*/ 1839865 h 6380470"/>
              <a:gd name="connsiteX3655" fmla="*/ 3417193 w 11625583"/>
              <a:gd name="connsiteY3655" fmla="*/ 1775201 h 6380470"/>
              <a:gd name="connsiteX3656" fmla="*/ 3481848 w 11625583"/>
              <a:gd name="connsiteY3656" fmla="*/ 1710535 h 6380470"/>
              <a:gd name="connsiteX3657" fmla="*/ 3321383 w 11625583"/>
              <a:gd name="connsiteY3657" fmla="*/ 1710535 h 6380470"/>
              <a:gd name="connsiteX3658" fmla="*/ 3386026 w 11625583"/>
              <a:gd name="connsiteY3658" fmla="*/ 1775201 h 6380470"/>
              <a:gd name="connsiteX3659" fmla="*/ 3321383 w 11625583"/>
              <a:gd name="connsiteY3659" fmla="*/ 1839865 h 6380470"/>
              <a:gd name="connsiteX3660" fmla="*/ 3256721 w 11625583"/>
              <a:gd name="connsiteY3660" fmla="*/ 1775201 h 6380470"/>
              <a:gd name="connsiteX3661" fmla="*/ 3321383 w 11625583"/>
              <a:gd name="connsiteY3661" fmla="*/ 1710535 h 6380470"/>
              <a:gd name="connsiteX3662" fmla="*/ 3172630 w 11625583"/>
              <a:gd name="connsiteY3662" fmla="*/ 1710535 h 6380470"/>
              <a:gd name="connsiteX3663" fmla="*/ 3237304 w 11625583"/>
              <a:gd name="connsiteY3663" fmla="*/ 1775201 h 6380470"/>
              <a:gd name="connsiteX3664" fmla="*/ 3172630 w 11625583"/>
              <a:gd name="connsiteY3664" fmla="*/ 1839865 h 6380470"/>
              <a:gd name="connsiteX3665" fmla="*/ 3107947 w 11625583"/>
              <a:gd name="connsiteY3665" fmla="*/ 1775201 h 6380470"/>
              <a:gd name="connsiteX3666" fmla="*/ 3172630 w 11625583"/>
              <a:gd name="connsiteY3666" fmla="*/ 1710535 h 6380470"/>
              <a:gd name="connsiteX3667" fmla="*/ 3012113 w 11625583"/>
              <a:gd name="connsiteY3667" fmla="*/ 1710535 h 6380470"/>
              <a:gd name="connsiteX3668" fmla="*/ 3076783 w 11625583"/>
              <a:gd name="connsiteY3668" fmla="*/ 1775201 h 6380470"/>
              <a:gd name="connsiteX3669" fmla="*/ 3012113 w 11625583"/>
              <a:gd name="connsiteY3669" fmla="*/ 1839865 h 6380470"/>
              <a:gd name="connsiteX3670" fmla="*/ 2947457 w 11625583"/>
              <a:gd name="connsiteY3670" fmla="*/ 1775201 h 6380470"/>
              <a:gd name="connsiteX3671" fmla="*/ 3012113 w 11625583"/>
              <a:gd name="connsiteY3671" fmla="*/ 1710535 h 6380470"/>
              <a:gd name="connsiteX3672" fmla="*/ 2855561 w 11625583"/>
              <a:gd name="connsiteY3672" fmla="*/ 1710535 h 6380470"/>
              <a:gd name="connsiteX3673" fmla="*/ 2920218 w 11625583"/>
              <a:gd name="connsiteY3673" fmla="*/ 1775201 h 6380470"/>
              <a:gd name="connsiteX3674" fmla="*/ 2855561 w 11625583"/>
              <a:gd name="connsiteY3674" fmla="*/ 1839865 h 6380470"/>
              <a:gd name="connsiteX3675" fmla="*/ 2790904 w 11625583"/>
              <a:gd name="connsiteY3675" fmla="*/ 1775201 h 6380470"/>
              <a:gd name="connsiteX3676" fmla="*/ 2855561 w 11625583"/>
              <a:gd name="connsiteY3676" fmla="*/ 1710535 h 6380470"/>
              <a:gd name="connsiteX3677" fmla="*/ 2699010 w 11625583"/>
              <a:gd name="connsiteY3677" fmla="*/ 1710535 h 6380470"/>
              <a:gd name="connsiteX3678" fmla="*/ 2763667 w 11625583"/>
              <a:gd name="connsiteY3678" fmla="*/ 1775201 h 6380470"/>
              <a:gd name="connsiteX3679" fmla="*/ 2699010 w 11625583"/>
              <a:gd name="connsiteY3679" fmla="*/ 1839865 h 6380470"/>
              <a:gd name="connsiteX3680" fmla="*/ 2634353 w 11625583"/>
              <a:gd name="connsiteY3680" fmla="*/ 1775201 h 6380470"/>
              <a:gd name="connsiteX3681" fmla="*/ 2699010 w 11625583"/>
              <a:gd name="connsiteY3681" fmla="*/ 1710535 h 6380470"/>
              <a:gd name="connsiteX3682" fmla="*/ 2546372 w 11625583"/>
              <a:gd name="connsiteY3682" fmla="*/ 1710535 h 6380470"/>
              <a:gd name="connsiteX3683" fmla="*/ 2611030 w 11625583"/>
              <a:gd name="connsiteY3683" fmla="*/ 1775201 h 6380470"/>
              <a:gd name="connsiteX3684" fmla="*/ 2546372 w 11625583"/>
              <a:gd name="connsiteY3684" fmla="*/ 1839865 h 6380470"/>
              <a:gd name="connsiteX3685" fmla="*/ 2481712 w 11625583"/>
              <a:gd name="connsiteY3685" fmla="*/ 1775201 h 6380470"/>
              <a:gd name="connsiteX3686" fmla="*/ 2546372 w 11625583"/>
              <a:gd name="connsiteY3686" fmla="*/ 1710535 h 6380470"/>
              <a:gd name="connsiteX3687" fmla="*/ 2389782 w 11625583"/>
              <a:gd name="connsiteY3687" fmla="*/ 1710535 h 6380470"/>
              <a:gd name="connsiteX3688" fmla="*/ 2454476 w 11625583"/>
              <a:gd name="connsiteY3688" fmla="*/ 1775201 h 6380470"/>
              <a:gd name="connsiteX3689" fmla="*/ 2389782 w 11625583"/>
              <a:gd name="connsiteY3689" fmla="*/ 1839865 h 6380470"/>
              <a:gd name="connsiteX3690" fmla="*/ 2325139 w 11625583"/>
              <a:gd name="connsiteY3690" fmla="*/ 1775201 h 6380470"/>
              <a:gd name="connsiteX3691" fmla="*/ 2389782 w 11625583"/>
              <a:gd name="connsiteY3691" fmla="*/ 1710535 h 6380470"/>
              <a:gd name="connsiteX3692" fmla="*/ 2237121 w 11625583"/>
              <a:gd name="connsiteY3692" fmla="*/ 1710535 h 6380470"/>
              <a:gd name="connsiteX3693" fmla="*/ 2301804 w 11625583"/>
              <a:gd name="connsiteY3693" fmla="*/ 1775201 h 6380470"/>
              <a:gd name="connsiteX3694" fmla="*/ 2237121 w 11625583"/>
              <a:gd name="connsiteY3694" fmla="*/ 1839865 h 6380470"/>
              <a:gd name="connsiteX3695" fmla="*/ 2172438 w 11625583"/>
              <a:gd name="connsiteY3695" fmla="*/ 1775201 h 6380470"/>
              <a:gd name="connsiteX3696" fmla="*/ 2237121 w 11625583"/>
              <a:gd name="connsiteY3696" fmla="*/ 1710535 h 6380470"/>
              <a:gd name="connsiteX3697" fmla="*/ 2084441 w 11625583"/>
              <a:gd name="connsiteY3697" fmla="*/ 1710535 h 6380470"/>
              <a:gd name="connsiteX3698" fmla="*/ 2149104 w 11625583"/>
              <a:gd name="connsiteY3698" fmla="*/ 1775201 h 6380470"/>
              <a:gd name="connsiteX3699" fmla="*/ 2084441 w 11625583"/>
              <a:gd name="connsiteY3699" fmla="*/ 1839865 h 6380470"/>
              <a:gd name="connsiteX3700" fmla="*/ 2019794 w 11625583"/>
              <a:gd name="connsiteY3700" fmla="*/ 1775201 h 6380470"/>
              <a:gd name="connsiteX3701" fmla="*/ 2084441 w 11625583"/>
              <a:gd name="connsiteY3701" fmla="*/ 1710535 h 6380470"/>
              <a:gd name="connsiteX3702" fmla="*/ 1927857 w 11625583"/>
              <a:gd name="connsiteY3702" fmla="*/ 1710535 h 6380470"/>
              <a:gd name="connsiteX3703" fmla="*/ 1992543 w 11625583"/>
              <a:gd name="connsiteY3703" fmla="*/ 1775201 h 6380470"/>
              <a:gd name="connsiteX3704" fmla="*/ 1927857 w 11625583"/>
              <a:gd name="connsiteY3704" fmla="*/ 1839865 h 6380470"/>
              <a:gd name="connsiteX3705" fmla="*/ 1863219 w 11625583"/>
              <a:gd name="connsiteY3705" fmla="*/ 1775201 h 6380470"/>
              <a:gd name="connsiteX3706" fmla="*/ 1927857 w 11625583"/>
              <a:gd name="connsiteY3706" fmla="*/ 1710535 h 6380470"/>
              <a:gd name="connsiteX3707" fmla="*/ 1775206 w 11625583"/>
              <a:gd name="connsiteY3707" fmla="*/ 1710535 h 6380470"/>
              <a:gd name="connsiteX3708" fmla="*/ 1839889 w 11625583"/>
              <a:gd name="connsiteY3708" fmla="*/ 1775201 h 6380470"/>
              <a:gd name="connsiteX3709" fmla="*/ 1775206 w 11625583"/>
              <a:gd name="connsiteY3709" fmla="*/ 1839865 h 6380470"/>
              <a:gd name="connsiteX3710" fmla="*/ 1710535 w 11625583"/>
              <a:gd name="connsiteY3710" fmla="*/ 1775201 h 6380470"/>
              <a:gd name="connsiteX3711" fmla="*/ 1775206 w 11625583"/>
              <a:gd name="connsiteY3711" fmla="*/ 1710535 h 6380470"/>
              <a:gd name="connsiteX3712" fmla="*/ 1618624 w 11625583"/>
              <a:gd name="connsiteY3712" fmla="*/ 1710535 h 6380470"/>
              <a:gd name="connsiteX3713" fmla="*/ 1683293 w 11625583"/>
              <a:gd name="connsiteY3713" fmla="*/ 1775201 h 6380470"/>
              <a:gd name="connsiteX3714" fmla="*/ 1618624 w 11625583"/>
              <a:gd name="connsiteY3714" fmla="*/ 1839865 h 6380470"/>
              <a:gd name="connsiteX3715" fmla="*/ 1553961 w 11625583"/>
              <a:gd name="connsiteY3715" fmla="*/ 1775201 h 6380470"/>
              <a:gd name="connsiteX3716" fmla="*/ 1618624 w 11625583"/>
              <a:gd name="connsiteY3716" fmla="*/ 1710535 h 6380470"/>
              <a:gd name="connsiteX3717" fmla="*/ 1465967 w 11625583"/>
              <a:gd name="connsiteY3717" fmla="*/ 1710535 h 6380470"/>
              <a:gd name="connsiteX3718" fmla="*/ 1530634 w 11625583"/>
              <a:gd name="connsiteY3718" fmla="*/ 1775201 h 6380470"/>
              <a:gd name="connsiteX3719" fmla="*/ 1465967 w 11625583"/>
              <a:gd name="connsiteY3719" fmla="*/ 1839865 h 6380470"/>
              <a:gd name="connsiteX3720" fmla="*/ 1401304 w 11625583"/>
              <a:gd name="connsiteY3720" fmla="*/ 1775201 h 6380470"/>
              <a:gd name="connsiteX3721" fmla="*/ 1465967 w 11625583"/>
              <a:gd name="connsiteY3721" fmla="*/ 1710535 h 6380470"/>
              <a:gd name="connsiteX3722" fmla="*/ 1309394 w 11625583"/>
              <a:gd name="connsiteY3722" fmla="*/ 1710535 h 6380470"/>
              <a:gd name="connsiteX3723" fmla="*/ 1374060 w 11625583"/>
              <a:gd name="connsiteY3723" fmla="*/ 1775201 h 6380470"/>
              <a:gd name="connsiteX3724" fmla="*/ 1309394 w 11625583"/>
              <a:gd name="connsiteY3724" fmla="*/ 1839865 h 6380470"/>
              <a:gd name="connsiteX3725" fmla="*/ 1244728 w 11625583"/>
              <a:gd name="connsiteY3725" fmla="*/ 1775201 h 6380470"/>
              <a:gd name="connsiteX3726" fmla="*/ 1309394 w 11625583"/>
              <a:gd name="connsiteY3726" fmla="*/ 1710535 h 6380470"/>
              <a:gd name="connsiteX3727" fmla="*/ 1148909 w 11625583"/>
              <a:gd name="connsiteY3727" fmla="*/ 1710535 h 6380470"/>
              <a:gd name="connsiteX3728" fmla="*/ 1213575 w 11625583"/>
              <a:gd name="connsiteY3728" fmla="*/ 1775201 h 6380470"/>
              <a:gd name="connsiteX3729" fmla="*/ 1148909 w 11625583"/>
              <a:gd name="connsiteY3729" fmla="*/ 1839865 h 6380470"/>
              <a:gd name="connsiteX3730" fmla="*/ 1084244 w 11625583"/>
              <a:gd name="connsiteY3730" fmla="*/ 1775201 h 6380470"/>
              <a:gd name="connsiteX3731" fmla="*/ 1148909 w 11625583"/>
              <a:gd name="connsiteY3731" fmla="*/ 1710535 h 6380470"/>
              <a:gd name="connsiteX3732" fmla="*/ 8914829 w 11625583"/>
              <a:gd name="connsiteY3732" fmla="*/ 1565709 h 6380470"/>
              <a:gd name="connsiteX3733" fmla="*/ 8979495 w 11625583"/>
              <a:gd name="connsiteY3733" fmla="*/ 1630374 h 6380470"/>
              <a:gd name="connsiteX3734" fmla="*/ 8914829 w 11625583"/>
              <a:gd name="connsiteY3734" fmla="*/ 1695039 h 6380470"/>
              <a:gd name="connsiteX3735" fmla="*/ 8850163 w 11625583"/>
              <a:gd name="connsiteY3735" fmla="*/ 1630374 h 6380470"/>
              <a:gd name="connsiteX3736" fmla="*/ 8914829 w 11625583"/>
              <a:gd name="connsiteY3736" fmla="*/ 1565709 h 6380470"/>
              <a:gd name="connsiteX3737" fmla="*/ 8766086 w 11625583"/>
              <a:gd name="connsiteY3737" fmla="*/ 1565709 h 6380470"/>
              <a:gd name="connsiteX3738" fmla="*/ 8830752 w 11625583"/>
              <a:gd name="connsiteY3738" fmla="*/ 1630374 h 6380470"/>
              <a:gd name="connsiteX3739" fmla="*/ 8766086 w 11625583"/>
              <a:gd name="connsiteY3739" fmla="*/ 1695039 h 6380470"/>
              <a:gd name="connsiteX3740" fmla="*/ 8701420 w 11625583"/>
              <a:gd name="connsiteY3740" fmla="*/ 1630374 h 6380470"/>
              <a:gd name="connsiteX3741" fmla="*/ 8766086 w 11625583"/>
              <a:gd name="connsiteY3741" fmla="*/ 1565709 h 6380470"/>
              <a:gd name="connsiteX3742" fmla="*/ 8601683 w 11625583"/>
              <a:gd name="connsiteY3742" fmla="*/ 1565709 h 6380470"/>
              <a:gd name="connsiteX3743" fmla="*/ 8666349 w 11625583"/>
              <a:gd name="connsiteY3743" fmla="*/ 1630374 h 6380470"/>
              <a:gd name="connsiteX3744" fmla="*/ 8601683 w 11625583"/>
              <a:gd name="connsiteY3744" fmla="*/ 1695039 h 6380470"/>
              <a:gd name="connsiteX3745" fmla="*/ 8537017 w 11625583"/>
              <a:gd name="connsiteY3745" fmla="*/ 1630374 h 6380470"/>
              <a:gd name="connsiteX3746" fmla="*/ 8601683 w 11625583"/>
              <a:gd name="connsiteY3746" fmla="*/ 1565709 h 6380470"/>
              <a:gd name="connsiteX3747" fmla="*/ 8449025 w 11625583"/>
              <a:gd name="connsiteY3747" fmla="*/ 1565709 h 6380470"/>
              <a:gd name="connsiteX3748" fmla="*/ 8513691 w 11625583"/>
              <a:gd name="connsiteY3748" fmla="*/ 1630374 h 6380470"/>
              <a:gd name="connsiteX3749" fmla="*/ 8449025 w 11625583"/>
              <a:gd name="connsiteY3749" fmla="*/ 1695039 h 6380470"/>
              <a:gd name="connsiteX3750" fmla="*/ 8384359 w 11625583"/>
              <a:gd name="connsiteY3750" fmla="*/ 1630374 h 6380470"/>
              <a:gd name="connsiteX3751" fmla="*/ 8449025 w 11625583"/>
              <a:gd name="connsiteY3751" fmla="*/ 1565709 h 6380470"/>
              <a:gd name="connsiteX3752" fmla="*/ 8296367 w 11625583"/>
              <a:gd name="connsiteY3752" fmla="*/ 1565709 h 6380470"/>
              <a:gd name="connsiteX3753" fmla="*/ 8361033 w 11625583"/>
              <a:gd name="connsiteY3753" fmla="*/ 1630374 h 6380470"/>
              <a:gd name="connsiteX3754" fmla="*/ 8296367 w 11625583"/>
              <a:gd name="connsiteY3754" fmla="*/ 1695039 h 6380470"/>
              <a:gd name="connsiteX3755" fmla="*/ 8231701 w 11625583"/>
              <a:gd name="connsiteY3755" fmla="*/ 1630374 h 6380470"/>
              <a:gd name="connsiteX3756" fmla="*/ 8296367 w 11625583"/>
              <a:gd name="connsiteY3756" fmla="*/ 1565709 h 6380470"/>
              <a:gd name="connsiteX3757" fmla="*/ 8139792 w 11625583"/>
              <a:gd name="connsiteY3757" fmla="*/ 1565709 h 6380470"/>
              <a:gd name="connsiteX3758" fmla="*/ 8204458 w 11625583"/>
              <a:gd name="connsiteY3758" fmla="*/ 1630374 h 6380470"/>
              <a:gd name="connsiteX3759" fmla="*/ 8139792 w 11625583"/>
              <a:gd name="connsiteY3759" fmla="*/ 1695039 h 6380470"/>
              <a:gd name="connsiteX3760" fmla="*/ 8075126 w 11625583"/>
              <a:gd name="connsiteY3760" fmla="*/ 1630374 h 6380470"/>
              <a:gd name="connsiteX3761" fmla="*/ 8139792 w 11625583"/>
              <a:gd name="connsiteY3761" fmla="*/ 1565709 h 6380470"/>
              <a:gd name="connsiteX3762" fmla="*/ 7987133 w 11625583"/>
              <a:gd name="connsiteY3762" fmla="*/ 1565709 h 6380470"/>
              <a:gd name="connsiteX3763" fmla="*/ 8051799 w 11625583"/>
              <a:gd name="connsiteY3763" fmla="*/ 1630374 h 6380470"/>
              <a:gd name="connsiteX3764" fmla="*/ 7987133 w 11625583"/>
              <a:gd name="connsiteY3764" fmla="*/ 1695039 h 6380470"/>
              <a:gd name="connsiteX3765" fmla="*/ 7922467 w 11625583"/>
              <a:gd name="connsiteY3765" fmla="*/ 1630374 h 6380470"/>
              <a:gd name="connsiteX3766" fmla="*/ 7987133 w 11625583"/>
              <a:gd name="connsiteY3766" fmla="*/ 1565709 h 6380470"/>
              <a:gd name="connsiteX3767" fmla="*/ 7830562 w 11625583"/>
              <a:gd name="connsiteY3767" fmla="*/ 1565709 h 6380470"/>
              <a:gd name="connsiteX3768" fmla="*/ 7895228 w 11625583"/>
              <a:gd name="connsiteY3768" fmla="*/ 1630374 h 6380470"/>
              <a:gd name="connsiteX3769" fmla="*/ 7830562 w 11625583"/>
              <a:gd name="connsiteY3769" fmla="*/ 1695039 h 6380470"/>
              <a:gd name="connsiteX3770" fmla="*/ 7765896 w 11625583"/>
              <a:gd name="connsiteY3770" fmla="*/ 1630374 h 6380470"/>
              <a:gd name="connsiteX3771" fmla="*/ 7830562 w 11625583"/>
              <a:gd name="connsiteY3771" fmla="*/ 1565709 h 6380470"/>
              <a:gd name="connsiteX3772" fmla="*/ 7677902 w 11625583"/>
              <a:gd name="connsiteY3772" fmla="*/ 1565709 h 6380470"/>
              <a:gd name="connsiteX3773" fmla="*/ 7742568 w 11625583"/>
              <a:gd name="connsiteY3773" fmla="*/ 1630374 h 6380470"/>
              <a:gd name="connsiteX3774" fmla="*/ 7677902 w 11625583"/>
              <a:gd name="connsiteY3774" fmla="*/ 1695039 h 6380470"/>
              <a:gd name="connsiteX3775" fmla="*/ 7613236 w 11625583"/>
              <a:gd name="connsiteY3775" fmla="*/ 1630374 h 6380470"/>
              <a:gd name="connsiteX3776" fmla="*/ 7677902 w 11625583"/>
              <a:gd name="connsiteY3776" fmla="*/ 1565709 h 6380470"/>
              <a:gd name="connsiteX3777" fmla="*/ 7521329 w 11625583"/>
              <a:gd name="connsiteY3777" fmla="*/ 1565709 h 6380470"/>
              <a:gd name="connsiteX3778" fmla="*/ 7585995 w 11625583"/>
              <a:gd name="connsiteY3778" fmla="*/ 1630374 h 6380470"/>
              <a:gd name="connsiteX3779" fmla="*/ 7521329 w 11625583"/>
              <a:gd name="connsiteY3779" fmla="*/ 1695039 h 6380470"/>
              <a:gd name="connsiteX3780" fmla="*/ 7456663 w 11625583"/>
              <a:gd name="connsiteY3780" fmla="*/ 1630374 h 6380470"/>
              <a:gd name="connsiteX3781" fmla="*/ 7521329 w 11625583"/>
              <a:gd name="connsiteY3781" fmla="*/ 1565709 h 6380470"/>
              <a:gd name="connsiteX3782" fmla="*/ 7368669 w 11625583"/>
              <a:gd name="connsiteY3782" fmla="*/ 1565709 h 6380470"/>
              <a:gd name="connsiteX3783" fmla="*/ 7433335 w 11625583"/>
              <a:gd name="connsiteY3783" fmla="*/ 1630374 h 6380470"/>
              <a:gd name="connsiteX3784" fmla="*/ 7368669 w 11625583"/>
              <a:gd name="connsiteY3784" fmla="*/ 1695039 h 6380470"/>
              <a:gd name="connsiteX3785" fmla="*/ 7304003 w 11625583"/>
              <a:gd name="connsiteY3785" fmla="*/ 1630374 h 6380470"/>
              <a:gd name="connsiteX3786" fmla="*/ 7368669 w 11625583"/>
              <a:gd name="connsiteY3786" fmla="*/ 1565709 h 6380470"/>
              <a:gd name="connsiteX3787" fmla="*/ 7212096 w 11625583"/>
              <a:gd name="connsiteY3787" fmla="*/ 1565709 h 6380470"/>
              <a:gd name="connsiteX3788" fmla="*/ 7276762 w 11625583"/>
              <a:gd name="connsiteY3788" fmla="*/ 1630374 h 6380470"/>
              <a:gd name="connsiteX3789" fmla="*/ 7212096 w 11625583"/>
              <a:gd name="connsiteY3789" fmla="*/ 1695039 h 6380470"/>
              <a:gd name="connsiteX3790" fmla="*/ 7147430 w 11625583"/>
              <a:gd name="connsiteY3790" fmla="*/ 1630374 h 6380470"/>
              <a:gd name="connsiteX3791" fmla="*/ 7212096 w 11625583"/>
              <a:gd name="connsiteY3791" fmla="*/ 1565709 h 6380470"/>
              <a:gd name="connsiteX3792" fmla="*/ 7055523 w 11625583"/>
              <a:gd name="connsiteY3792" fmla="*/ 1565709 h 6380470"/>
              <a:gd name="connsiteX3793" fmla="*/ 7120189 w 11625583"/>
              <a:gd name="connsiteY3793" fmla="*/ 1630374 h 6380470"/>
              <a:gd name="connsiteX3794" fmla="*/ 7055523 w 11625583"/>
              <a:gd name="connsiteY3794" fmla="*/ 1695039 h 6380470"/>
              <a:gd name="connsiteX3795" fmla="*/ 6990857 w 11625583"/>
              <a:gd name="connsiteY3795" fmla="*/ 1630374 h 6380470"/>
              <a:gd name="connsiteX3796" fmla="*/ 7055523 w 11625583"/>
              <a:gd name="connsiteY3796" fmla="*/ 1565709 h 6380470"/>
              <a:gd name="connsiteX3797" fmla="*/ 6895037 w 11625583"/>
              <a:gd name="connsiteY3797" fmla="*/ 1565709 h 6380470"/>
              <a:gd name="connsiteX3798" fmla="*/ 6959703 w 11625583"/>
              <a:gd name="connsiteY3798" fmla="*/ 1630374 h 6380470"/>
              <a:gd name="connsiteX3799" fmla="*/ 6895037 w 11625583"/>
              <a:gd name="connsiteY3799" fmla="*/ 1695039 h 6380470"/>
              <a:gd name="connsiteX3800" fmla="*/ 6830371 w 11625583"/>
              <a:gd name="connsiteY3800" fmla="*/ 1630374 h 6380470"/>
              <a:gd name="connsiteX3801" fmla="*/ 6895037 w 11625583"/>
              <a:gd name="connsiteY3801" fmla="*/ 1565709 h 6380470"/>
              <a:gd name="connsiteX3802" fmla="*/ 6742375 w 11625583"/>
              <a:gd name="connsiteY3802" fmla="*/ 1565709 h 6380470"/>
              <a:gd name="connsiteX3803" fmla="*/ 6807041 w 11625583"/>
              <a:gd name="connsiteY3803" fmla="*/ 1630374 h 6380470"/>
              <a:gd name="connsiteX3804" fmla="*/ 6742375 w 11625583"/>
              <a:gd name="connsiteY3804" fmla="*/ 1695039 h 6380470"/>
              <a:gd name="connsiteX3805" fmla="*/ 6677709 w 11625583"/>
              <a:gd name="connsiteY3805" fmla="*/ 1630374 h 6380470"/>
              <a:gd name="connsiteX3806" fmla="*/ 6742375 w 11625583"/>
              <a:gd name="connsiteY3806" fmla="*/ 1565709 h 6380470"/>
              <a:gd name="connsiteX3807" fmla="*/ 6585802 w 11625583"/>
              <a:gd name="connsiteY3807" fmla="*/ 1565709 h 6380470"/>
              <a:gd name="connsiteX3808" fmla="*/ 6650468 w 11625583"/>
              <a:gd name="connsiteY3808" fmla="*/ 1630374 h 6380470"/>
              <a:gd name="connsiteX3809" fmla="*/ 6585802 w 11625583"/>
              <a:gd name="connsiteY3809" fmla="*/ 1695039 h 6380470"/>
              <a:gd name="connsiteX3810" fmla="*/ 6521136 w 11625583"/>
              <a:gd name="connsiteY3810" fmla="*/ 1630374 h 6380470"/>
              <a:gd name="connsiteX3811" fmla="*/ 6585802 w 11625583"/>
              <a:gd name="connsiteY3811" fmla="*/ 1565709 h 6380470"/>
              <a:gd name="connsiteX3812" fmla="*/ 6429229 w 11625583"/>
              <a:gd name="connsiteY3812" fmla="*/ 1565709 h 6380470"/>
              <a:gd name="connsiteX3813" fmla="*/ 6493895 w 11625583"/>
              <a:gd name="connsiteY3813" fmla="*/ 1630374 h 6380470"/>
              <a:gd name="connsiteX3814" fmla="*/ 6429229 w 11625583"/>
              <a:gd name="connsiteY3814" fmla="*/ 1695039 h 6380470"/>
              <a:gd name="connsiteX3815" fmla="*/ 6364563 w 11625583"/>
              <a:gd name="connsiteY3815" fmla="*/ 1630374 h 6380470"/>
              <a:gd name="connsiteX3816" fmla="*/ 6429229 w 11625583"/>
              <a:gd name="connsiteY3816" fmla="*/ 1565709 h 6380470"/>
              <a:gd name="connsiteX3817" fmla="*/ 6276571 w 11625583"/>
              <a:gd name="connsiteY3817" fmla="*/ 1565709 h 6380470"/>
              <a:gd name="connsiteX3818" fmla="*/ 6341237 w 11625583"/>
              <a:gd name="connsiteY3818" fmla="*/ 1630374 h 6380470"/>
              <a:gd name="connsiteX3819" fmla="*/ 6276571 w 11625583"/>
              <a:gd name="connsiteY3819" fmla="*/ 1695039 h 6380470"/>
              <a:gd name="connsiteX3820" fmla="*/ 6211905 w 11625583"/>
              <a:gd name="connsiteY3820" fmla="*/ 1630374 h 6380470"/>
              <a:gd name="connsiteX3821" fmla="*/ 6276571 w 11625583"/>
              <a:gd name="connsiteY3821" fmla="*/ 1565709 h 6380470"/>
              <a:gd name="connsiteX3822" fmla="*/ 5810802 w 11625583"/>
              <a:gd name="connsiteY3822" fmla="*/ 1565709 h 6380470"/>
              <a:gd name="connsiteX3823" fmla="*/ 5875431 w 11625583"/>
              <a:gd name="connsiteY3823" fmla="*/ 1630374 h 6380470"/>
              <a:gd name="connsiteX3824" fmla="*/ 5810802 w 11625583"/>
              <a:gd name="connsiteY3824" fmla="*/ 1695039 h 6380470"/>
              <a:gd name="connsiteX3825" fmla="*/ 5746117 w 11625583"/>
              <a:gd name="connsiteY3825" fmla="*/ 1630374 h 6380470"/>
              <a:gd name="connsiteX3826" fmla="*/ 5810802 w 11625583"/>
              <a:gd name="connsiteY3826" fmla="*/ 1565709 h 6380470"/>
              <a:gd name="connsiteX3827" fmla="*/ 5348888 w 11625583"/>
              <a:gd name="connsiteY3827" fmla="*/ 1565709 h 6380470"/>
              <a:gd name="connsiteX3828" fmla="*/ 5413556 w 11625583"/>
              <a:gd name="connsiteY3828" fmla="*/ 1630374 h 6380470"/>
              <a:gd name="connsiteX3829" fmla="*/ 5348888 w 11625583"/>
              <a:gd name="connsiteY3829" fmla="*/ 1695039 h 6380470"/>
              <a:gd name="connsiteX3830" fmla="*/ 5284232 w 11625583"/>
              <a:gd name="connsiteY3830" fmla="*/ 1630374 h 6380470"/>
              <a:gd name="connsiteX3831" fmla="*/ 5348888 w 11625583"/>
              <a:gd name="connsiteY3831" fmla="*/ 1565709 h 6380470"/>
              <a:gd name="connsiteX3832" fmla="*/ 3481855 w 11625583"/>
              <a:gd name="connsiteY3832" fmla="*/ 1565709 h 6380470"/>
              <a:gd name="connsiteX3833" fmla="*/ 3546525 w 11625583"/>
              <a:gd name="connsiteY3833" fmla="*/ 1630374 h 6380470"/>
              <a:gd name="connsiteX3834" fmla="*/ 3481855 w 11625583"/>
              <a:gd name="connsiteY3834" fmla="*/ 1695039 h 6380470"/>
              <a:gd name="connsiteX3835" fmla="*/ 3417201 w 11625583"/>
              <a:gd name="connsiteY3835" fmla="*/ 1630374 h 6380470"/>
              <a:gd name="connsiteX3836" fmla="*/ 3481855 w 11625583"/>
              <a:gd name="connsiteY3836" fmla="*/ 1565709 h 6380470"/>
              <a:gd name="connsiteX3837" fmla="*/ 3321390 w 11625583"/>
              <a:gd name="connsiteY3837" fmla="*/ 1565709 h 6380470"/>
              <a:gd name="connsiteX3838" fmla="*/ 3386032 w 11625583"/>
              <a:gd name="connsiteY3838" fmla="*/ 1630374 h 6380470"/>
              <a:gd name="connsiteX3839" fmla="*/ 3321390 w 11625583"/>
              <a:gd name="connsiteY3839" fmla="*/ 1695039 h 6380470"/>
              <a:gd name="connsiteX3840" fmla="*/ 3256727 w 11625583"/>
              <a:gd name="connsiteY3840" fmla="*/ 1630374 h 6380470"/>
              <a:gd name="connsiteX3841" fmla="*/ 3321390 w 11625583"/>
              <a:gd name="connsiteY3841" fmla="*/ 1565709 h 6380470"/>
              <a:gd name="connsiteX3842" fmla="*/ 3172637 w 11625583"/>
              <a:gd name="connsiteY3842" fmla="*/ 1565709 h 6380470"/>
              <a:gd name="connsiteX3843" fmla="*/ 3237310 w 11625583"/>
              <a:gd name="connsiteY3843" fmla="*/ 1630374 h 6380470"/>
              <a:gd name="connsiteX3844" fmla="*/ 3172637 w 11625583"/>
              <a:gd name="connsiteY3844" fmla="*/ 1695039 h 6380470"/>
              <a:gd name="connsiteX3845" fmla="*/ 3107954 w 11625583"/>
              <a:gd name="connsiteY3845" fmla="*/ 1630374 h 6380470"/>
              <a:gd name="connsiteX3846" fmla="*/ 3172637 w 11625583"/>
              <a:gd name="connsiteY3846" fmla="*/ 1565709 h 6380470"/>
              <a:gd name="connsiteX3847" fmla="*/ 3012119 w 11625583"/>
              <a:gd name="connsiteY3847" fmla="*/ 1565709 h 6380470"/>
              <a:gd name="connsiteX3848" fmla="*/ 3076788 w 11625583"/>
              <a:gd name="connsiteY3848" fmla="*/ 1630374 h 6380470"/>
              <a:gd name="connsiteX3849" fmla="*/ 3012119 w 11625583"/>
              <a:gd name="connsiteY3849" fmla="*/ 1695039 h 6380470"/>
              <a:gd name="connsiteX3850" fmla="*/ 2947463 w 11625583"/>
              <a:gd name="connsiteY3850" fmla="*/ 1630374 h 6380470"/>
              <a:gd name="connsiteX3851" fmla="*/ 3012119 w 11625583"/>
              <a:gd name="connsiteY3851" fmla="*/ 1565709 h 6380470"/>
              <a:gd name="connsiteX3852" fmla="*/ 2546380 w 11625583"/>
              <a:gd name="connsiteY3852" fmla="*/ 1565709 h 6380470"/>
              <a:gd name="connsiteX3853" fmla="*/ 2611038 w 11625583"/>
              <a:gd name="connsiteY3853" fmla="*/ 1630374 h 6380470"/>
              <a:gd name="connsiteX3854" fmla="*/ 2546380 w 11625583"/>
              <a:gd name="connsiteY3854" fmla="*/ 1695039 h 6380470"/>
              <a:gd name="connsiteX3855" fmla="*/ 2481723 w 11625583"/>
              <a:gd name="connsiteY3855" fmla="*/ 1630374 h 6380470"/>
              <a:gd name="connsiteX3856" fmla="*/ 2546380 w 11625583"/>
              <a:gd name="connsiteY3856" fmla="*/ 1565709 h 6380470"/>
              <a:gd name="connsiteX3857" fmla="*/ 2389803 w 11625583"/>
              <a:gd name="connsiteY3857" fmla="*/ 1565709 h 6380470"/>
              <a:gd name="connsiteX3858" fmla="*/ 2454486 w 11625583"/>
              <a:gd name="connsiteY3858" fmla="*/ 1630374 h 6380470"/>
              <a:gd name="connsiteX3859" fmla="*/ 2389803 w 11625583"/>
              <a:gd name="connsiteY3859" fmla="*/ 1695039 h 6380470"/>
              <a:gd name="connsiteX3860" fmla="*/ 2325148 w 11625583"/>
              <a:gd name="connsiteY3860" fmla="*/ 1630374 h 6380470"/>
              <a:gd name="connsiteX3861" fmla="*/ 2389803 w 11625583"/>
              <a:gd name="connsiteY3861" fmla="*/ 1565709 h 6380470"/>
              <a:gd name="connsiteX3862" fmla="*/ 2237130 w 11625583"/>
              <a:gd name="connsiteY3862" fmla="*/ 1565709 h 6380470"/>
              <a:gd name="connsiteX3863" fmla="*/ 2301814 w 11625583"/>
              <a:gd name="connsiteY3863" fmla="*/ 1630374 h 6380470"/>
              <a:gd name="connsiteX3864" fmla="*/ 2237130 w 11625583"/>
              <a:gd name="connsiteY3864" fmla="*/ 1695039 h 6380470"/>
              <a:gd name="connsiteX3865" fmla="*/ 2172445 w 11625583"/>
              <a:gd name="connsiteY3865" fmla="*/ 1630374 h 6380470"/>
              <a:gd name="connsiteX3866" fmla="*/ 2237130 w 11625583"/>
              <a:gd name="connsiteY3866" fmla="*/ 1565709 h 6380470"/>
              <a:gd name="connsiteX3867" fmla="*/ 2084449 w 11625583"/>
              <a:gd name="connsiteY3867" fmla="*/ 1565709 h 6380470"/>
              <a:gd name="connsiteX3868" fmla="*/ 2149111 w 11625583"/>
              <a:gd name="connsiteY3868" fmla="*/ 1630374 h 6380470"/>
              <a:gd name="connsiteX3869" fmla="*/ 2084449 w 11625583"/>
              <a:gd name="connsiteY3869" fmla="*/ 1695039 h 6380470"/>
              <a:gd name="connsiteX3870" fmla="*/ 2019802 w 11625583"/>
              <a:gd name="connsiteY3870" fmla="*/ 1630374 h 6380470"/>
              <a:gd name="connsiteX3871" fmla="*/ 2084449 w 11625583"/>
              <a:gd name="connsiteY3871" fmla="*/ 1565709 h 6380470"/>
              <a:gd name="connsiteX3872" fmla="*/ 1927857 w 11625583"/>
              <a:gd name="connsiteY3872" fmla="*/ 1565709 h 6380470"/>
              <a:gd name="connsiteX3873" fmla="*/ 1992550 w 11625583"/>
              <a:gd name="connsiteY3873" fmla="*/ 1630374 h 6380470"/>
              <a:gd name="connsiteX3874" fmla="*/ 1927857 w 11625583"/>
              <a:gd name="connsiteY3874" fmla="*/ 1695039 h 6380470"/>
              <a:gd name="connsiteX3875" fmla="*/ 1863227 w 11625583"/>
              <a:gd name="connsiteY3875" fmla="*/ 1630374 h 6380470"/>
              <a:gd name="connsiteX3876" fmla="*/ 1927857 w 11625583"/>
              <a:gd name="connsiteY3876" fmla="*/ 1565709 h 6380470"/>
              <a:gd name="connsiteX3877" fmla="*/ 1775214 w 11625583"/>
              <a:gd name="connsiteY3877" fmla="*/ 1565709 h 6380470"/>
              <a:gd name="connsiteX3878" fmla="*/ 1839897 w 11625583"/>
              <a:gd name="connsiteY3878" fmla="*/ 1630374 h 6380470"/>
              <a:gd name="connsiteX3879" fmla="*/ 1775214 w 11625583"/>
              <a:gd name="connsiteY3879" fmla="*/ 1695039 h 6380470"/>
              <a:gd name="connsiteX3880" fmla="*/ 1710542 w 11625583"/>
              <a:gd name="connsiteY3880" fmla="*/ 1630374 h 6380470"/>
              <a:gd name="connsiteX3881" fmla="*/ 1775214 w 11625583"/>
              <a:gd name="connsiteY3881" fmla="*/ 1565709 h 6380470"/>
              <a:gd name="connsiteX3882" fmla="*/ 1618630 w 11625583"/>
              <a:gd name="connsiteY3882" fmla="*/ 1565709 h 6380470"/>
              <a:gd name="connsiteX3883" fmla="*/ 1683301 w 11625583"/>
              <a:gd name="connsiteY3883" fmla="*/ 1630374 h 6380470"/>
              <a:gd name="connsiteX3884" fmla="*/ 1618630 w 11625583"/>
              <a:gd name="connsiteY3884" fmla="*/ 1695039 h 6380470"/>
              <a:gd name="connsiteX3885" fmla="*/ 1553968 w 11625583"/>
              <a:gd name="connsiteY3885" fmla="*/ 1630374 h 6380470"/>
              <a:gd name="connsiteX3886" fmla="*/ 1618630 w 11625583"/>
              <a:gd name="connsiteY3886" fmla="*/ 1565709 h 6380470"/>
              <a:gd name="connsiteX3887" fmla="*/ 1465974 w 11625583"/>
              <a:gd name="connsiteY3887" fmla="*/ 1565709 h 6380470"/>
              <a:gd name="connsiteX3888" fmla="*/ 1530639 w 11625583"/>
              <a:gd name="connsiteY3888" fmla="*/ 1630374 h 6380470"/>
              <a:gd name="connsiteX3889" fmla="*/ 1465974 w 11625583"/>
              <a:gd name="connsiteY3889" fmla="*/ 1695039 h 6380470"/>
              <a:gd name="connsiteX3890" fmla="*/ 1401310 w 11625583"/>
              <a:gd name="connsiteY3890" fmla="*/ 1630374 h 6380470"/>
              <a:gd name="connsiteX3891" fmla="*/ 1465974 w 11625583"/>
              <a:gd name="connsiteY3891" fmla="*/ 1565709 h 6380470"/>
              <a:gd name="connsiteX3892" fmla="*/ 1309401 w 11625583"/>
              <a:gd name="connsiteY3892" fmla="*/ 1565709 h 6380470"/>
              <a:gd name="connsiteX3893" fmla="*/ 1374066 w 11625583"/>
              <a:gd name="connsiteY3893" fmla="*/ 1630374 h 6380470"/>
              <a:gd name="connsiteX3894" fmla="*/ 1309401 w 11625583"/>
              <a:gd name="connsiteY3894" fmla="*/ 1695039 h 6380470"/>
              <a:gd name="connsiteX3895" fmla="*/ 1244735 w 11625583"/>
              <a:gd name="connsiteY3895" fmla="*/ 1630374 h 6380470"/>
              <a:gd name="connsiteX3896" fmla="*/ 1309401 w 11625583"/>
              <a:gd name="connsiteY3896" fmla="*/ 1565709 h 6380470"/>
              <a:gd name="connsiteX3897" fmla="*/ 1148916 w 11625583"/>
              <a:gd name="connsiteY3897" fmla="*/ 1565709 h 6380470"/>
              <a:gd name="connsiteX3898" fmla="*/ 1213581 w 11625583"/>
              <a:gd name="connsiteY3898" fmla="*/ 1630374 h 6380470"/>
              <a:gd name="connsiteX3899" fmla="*/ 1148916 w 11625583"/>
              <a:gd name="connsiteY3899" fmla="*/ 1695039 h 6380470"/>
              <a:gd name="connsiteX3900" fmla="*/ 1084251 w 11625583"/>
              <a:gd name="connsiteY3900" fmla="*/ 1630374 h 6380470"/>
              <a:gd name="connsiteX3901" fmla="*/ 1148916 w 11625583"/>
              <a:gd name="connsiteY3901" fmla="*/ 1565709 h 6380470"/>
              <a:gd name="connsiteX3902" fmla="*/ 10778052 w 11625583"/>
              <a:gd name="connsiteY3902" fmla="*/ 1565707 h 6380470"/>
              <a:gd name="connsiteX3903" fmla="*/ 10842718 w 11625583"/>
              <a:gd name="connsiteY3903" fmla="*/ 1630373 h 6380470"/>
              <a:gd name="connsiteX3904" fmla="*/ 10778052 w 11625583"/>
              <a:gd name="connsiteY3904" fmla="*/ 1695039 h 6380470"/>
              <a:gd name="connsiteX3905" fmla="*/ 10713386 w 11625583"/>
              <a:gd name="connsiteY3905" fmla="*/ 1630373 h 6380470"/>
              <a:gd name="connsiteX3906" fmla="*/ 10778052 w 11625583"/>
              <a:gd name="connsiteY3906" fmla="*/ 1565707 h 6380470"/>
              <a:gd name="connsiteX3907" fmla="*/ 10625394 w 11625583"/>
              <a:gd name="connsiteY3907" fmla="*/ 1565707 h 6380470"/>
              <a:gd name="connsiteX3908" fmla="*/ 10690060 w 11625583"/>
              <a:gd name="connsiteY3908" fmla="*/ 1630373 h 6380470"/>
              <a:gd name="connsiteX3909" fmla="*/ 10625394 w 11625583"/>
              <a:gd name="connsiteY3909" fmla="*/ 1695039 h 6380470"/>
              <a:gd name="connsiteX3910" fmla="*/ 10560728 w 11625583"/>
              <a:gd name="connsiteY3910" fmla="*/ 1630373 h 6380470"/>
              <a:gd name="connsiteX3911" fmla="*/ 10625394 w 11625583"/>
              <a:gd name="connsiteY3911" fmla="*/ 1565707 h 6380470"/>
              <a:gd name="connsiteX3912" fmla="*/ 9850356 w 11625583"/>
              <a:gd name="connsiteY3912" fmla="*/ 1565707 h 6380470"/>
              <a:gd name="connsiteX3913" fmla="*/ 9915022 w 11625583"/>
              <a:gd name="connsiteY3913" fmla="*/ 1630373 h 6380470"/>
              <a:gd name="connsiteX3914" fmla="*/ 9850356 w 11625583"/>
              <a:gd name="connsiteY3914" fmla="*/ 1695039 h 6380470"/>
              <a:gd name="connsiteX3915" fmla="*/ 9785690 w 11625583"/>
              <a:gd name="connsiteY3915" fmla="*/ 1630373 h 6380470"/>
              <a:gd name="connsiteX3916" fmla="*/ 9850356 w 11625583"/>
              <a:gd name="connsiteY3916" fmla="*/ 1565707 h 6380470"/>
              <a:gd name="connsiteX3917" fmla="*/ 9693782 w 11625583"/>
              <a:gd name="connsiteY3917" fmla="*/ 1565707 h 6380470"/>
              <a:gd name="connsiteX3918" fmla="*/ 9758448 w 11625583"/>
              <a:gd name="connsiteY3918" fmla="*/ 1630373 h 6380470"/>
              <a:gd name="connsiteX3919" fmla="*/ 9693782 w 11625583"/>
              <a:gd name="connsiteY3919" fmla="*/ 1695039 h 6380470"/>
              <a:gd name="connsiteX3920" fmla="*/ 9629116 w 11625583"/>
              <a:gd name="connsiteY3920" fmla="*/ 1630373 h 6380470"/>
              <a:gd name="connsiteX3921" fmla="*/ 9693782 w 11625583"/>
              <a:gd name="connsiteY3921" fmla="*/ 1565707 h 6380470"/>
              <a:gd name="connsiteX3922" fmla="*/ 9541123 w 11625583"/>
              <a:gd name="connsiteY3922" fmla="*/ 1565707 h 6380470"/>
              <a:gd name="connsiteX3923" fmla="*/ 9605789 w 11625583"/>
              <a:gd name="connsiteY3923" fmla="*/ 1630373 h 6380470"/>
              <a:gd name="connsiteX3924" fmla="*/ 9541123 w 11625583"/>
              <a:gd name="connsiteY3924" fmla="*/ 1695039 h 6380470"/>
              <a:gd name="connsiteX3925" fmla="*/ 9476457 w 11625583"/>
              <a:gd name="connsiteY3925" fmla="*/ 1630373 h 6380470"/>
              <a:gd name="connsiteX3926" fmla="*/ 9541123 w 11625583"/>
              <a:gd name="connsiteY3926" fmla="*/ 1565707 h 6380470"/>
              <a:gd name="connsiteX3927" fmla="*/ 9384550 w 11625583"/>
              <a:gd name="connsiteY3927" fmla="*/ 1565707 h 6380470"/>
              <a:gd name="connsiteX3928" fmla="*/ 9449216 w 11625583"/>
              <a:gd name="connsiteY3928" fmla="*/ 1630373 h 6380470"/>
              <a:gd name="connsiteX3929" fmla="*/ 9384550 w 11625583"/>
              <a:gd name="connsiteY3929" fmla="*/ 1695039 h 6380470"/>
              <a:gd name="connsiteX3930" fmla="*/ 9319884 w 11625583"/>
              <a:gd name="connsiteY3930" fmla="*/ 1630373 h 6380470"/>
              <a:gd name="connsiteX3931" fmla="*/ 9384550 w 11625583"/>
              <a:gd name="connsiteY3931" fmla="*/ 1565707 h 6380470"/>
              <a:gd name="connsiteX3932" fmla="*/ 9227977 w 11625583"/>
              <a:gd name="connsiteY3932" fmla="*/ 1565707 h 6380470"/>
              <a:gd name="connsiteX3933" fmla="*/ 9292643 w 11625583"/>
              <a:gd name="connsiteY3933" fmla="*/ 1630373 h 6380470"/>
              <a:gd name="connsiteX3934" fmla="*/ 9227977 w 11625583"/>
              <a:gd name="connsiteY3934" fmla="*/ 1695039 h 6380470"/>
              <a:gd name="connsiteX3935" fmla="*/ 9163311 w 11625583"/>
              <a:gd name="connsiteY3935" fmla="*/ 1630373 h 6380470"/>
              <a:gd name="connsiteX3936" fmla="*/ 9227977 w 11625583"/>
              <a:gd name="connsiteY3936" fmla="*/ 1565707 h 6380470"/>
              <a:gd name="connsiteX3937" fmla="*/ 9075317 w 11625583"/>
              <a:gd name="connsiteY3937" fmla="*/ 1565707 h 6380470"/>
              <a:gd name="connsiteX3938" fmla="*/ 9139983 w 11625583"/>
              <a:gd name="connsiteY3938" fmla="*/ 1630373 h 6380470"/>
              <a:gd name="connsiteX3939" fmla="*/ 9075317 w 11625583"/>
              <a:gd name="connsiteY3939" fmla="*/ 1695039 h 6380470"/>
              <a:gd name="connsiteX3940" fmla="*/ 9010651 w 11625583"/>
              <a:gd name="connsiteY3940" fmla="*/ 1630373 h 6380470"/>
              <a:gd name="connsiteX3941" fmla="*/ 9075317 w 11625583"/>
              <a:gd name="connsiteY3941" fmla="*/ 1565707 h 6380470"/>
              <a:gd name="connsiteX3942" fmla="*/ 217310 w 11625583"/>
              <a:gd name="connsiteY3942" fmla="*/ 1565707 h 6380470"/>
              <a:gd name="connsiteX3943" fmla="*/ 281975 w 11625583"/>
              <a:gd name="connsiteY3943" fmla="*/ 1630373 h 6380470"/>
              <a:gd name="connsiteX3944" fmla="*/ 217310 w 11625583"/>
              <a:gd name="connsiteY3944" fmla="*/ 1695039 h 6380470"/>
              <a:gd name="connsiteX3945" fmla="*/ 152644 w 11625583"/>
              <a:gd name="connsiteY3945" fmla="*/ 1630373 h 6380470"/>
              <a:gd name="connsiteX3946" fmla="*/ 217310 w 11625583"/>
              <a:gd name="connsiteY3946" fmla="*/ 1565707 h 6380470"/>
              <a:gd name="connsiteX3947" fmla="*/ 10778052 w 11625583"/>
              <a:gd name="connsiteY3947" fmla="*/ 1428710 h 6380470"/>
              <a:gd name="connsiteX3948" fmla="*/ 10842718 w 11625583"/>
              <a:gd name="connsiteY3948" fmla="*/ 1493374 h 6380470"/>
              <a:gd name="connsiteX3949" fmla="*/ 10778052 w 11625583"/>
              <a:gd name="connsiteY3949" fmla="*/ 1558040 h 6380470"/>
              <a:gd name="connsiteX3950" fmla="*/ 10713386 w 11625583"/>
              <a:gd name="connsiteY3950" fmla="*/ 1493374 h 6380470"/>
              <a:gd name="connsiteX3951" fmla="*/ 10778052 w 11625583"/>
              <a:gd name="connsiteY3951" fmla="*/ 1428710 h 6380470"/>
              <a:gd name="connsiteX3952" fmla="*/ 10625394 w 11625583"/>
              <a:gd name="connsiteY3952" fmla="*/ 1428710 h 6380470"/>
              <a:gd name="connsiteX3953" fmla="*/ 10690060 w 11625583"/>
              <a:gd name="connsiteY3953" fmla="*/ 1493374 h 6380470"/>
              <a:gd name="connsiteX3954" fmla="*/ 10625394 w 11625583"/>
              <a:gd name="connsiteY3954" fmla="*/ 1558040 h 6380470"/>
              <a:gd name="connsiteX3955" fmla="*/ 10560728 w 11625583"/>
              <a:gd name="connsiteY3955" fmla="*/ 1493374 h 6380470"/>
              <a:gd name="connsiteX3956" fmla="*/ 10625394 w 11625583"/>
              <a:gd name="connsiteY3956" fmla="*/ 1428710 h 6380470"/>
              <a:gd name="connsiteX3957" fmla="*/ 10003016 w 11625583"/>
              <a:gd name="connsiteY3957" fmla="*/ 1428710 h 6380470"/>
              <a:gd name="connsiteX3958" fmla="*/ 10067682 w 11625583"/>
              <a:gd name="connsiteY3958" fmla="*/ 1493374 h 6380470"/>
              <a:gd name="connsiteX3959" fmla="*/ 10003016 w 11625583"/>
              <a:gd name="connsiteY3959" fmla="*/ 1558040 h 6380470"/>
              <a:gd name="connsiteX3960" fmla="*/ 9938350 w 11625583"/>
              <a:gd name="connsiteY3960" fmla="*/ 1493374 h 6380470"/>
              <a:gd name="connsiteX3961" fmla="*/ 10003016 w 11625583"/>
              <a:gd name="connsiteY3961" fmla="*/ 1428710 h 6380470"/>
              <a:gd name="connsiteX3962" fmla="*/ 9850356 w 11625583"/>
              <a:gd name="connsiteY3962" fmla="*/ 1428710 h 6380470"/>
              <a:gd name="connsiteX3963" fmla="*/ 9915022 w 11625583"/>
              <a:gd name="connsiteY3963" fmla="*/ 1493374 h 6380470"/>
              <a:gd name="connsiteX3964" fmla="*/ 9850356 w 11625583"/>
              <a:gd name="connsiteY3964" fmla="*/ 1558040 h 6380470"/>
              <a:gd name="connsiteX3965" fmla="*/ 9785690 w 11625583"/>
              <a:gd name="connsiteY3965" fmla="*/ 1493374 h 6380470"/>
              <a:gd name="connsiteX3966" fmla="*/ 9850356 w 11625583"/>
              <a:gd name="connsiteY3966" fmla="*/ 1428710 h 6380470"/>
              <a:gd name="connsiteX3967" fmla="*/ 9693782 w 11625583"/>
              <a:gd name="connsiteY3967" fmla="*/ 1428710 h 6380470"/>
              <a:gd name="connsiteX3968" fmla="*/ 9758448 w 11625583"/>
              <a:gd name="connsiteY3968" fmla="*/ 1493374 h 6380470"/>
              <a:gd name="connsiteX3969" fmla="*/ 9693782 w 11625583"/>
              <a:gd name="connsiteY3969" fmla="*/ 1558040 h 6380470"/>
              <a:gd name="connsiteX3970" fmla="*/ 9629116 w 11625583"/>
              <a:gd name="connsiteY3970" fmla="*/ 1493374 h 6380470"/>
              <a:gd name="connsiteX3971" fmla="*/ 9693782 w 11625583"/>
              <a:gd name="connsiteY3971" fmla="*/ 1428710 h 6380470"/>
              <a:gd name="connsiteX3972" fmla="*/ 9541123 w 11625583"/>
              <a:gd name="connsiteY3972" fmla="*/ 1428710 h 6380470"/>
              <a:gd name="connsiteX3973" fmla="*/ 9605789 w 11625583"/>
              <a:gd name="connsiteY3973" fmla="*/ 1493374 h 6380470"/>
              <a:gd name="connsiteX3974" fmla="*/ 9541123 w 11625583"/>
              <a:gd name="connsiteY3974" fmla="*/ 1558040 h 6380470"/>
              <a:gd name="connsiteX3975" fmla="*/ 9476457 w 11625583"/>
              <a:gd name="connsiteY3975" fmla="*/ 1493374 h 6380470"/>
              <a:gd name="connsiteX3976" fmla="*/ 9541123 w 11625583"/>
              <a:gd name="connsiteY3976" fmla="*/ 1428710 h 6380470"/>
              <a:gd name="connsiteX3977" fmla="*/ 9384550 w 11625583"/>
              <a:gd name="connsiteY3977" fmla="*/ 1428710 h 6380470"/>
              <a:gd name="connsiteX3978" fmla="*/ 9449216 w 11625583"/>
              <a:gd name="connsiteY3978" fmla="*/ 1493374 h 6380470"/>
              <a:gd name="connsiteX3979" fmla="*/ 9384550 w 11625583"/>
              <a:gd name="connsiteY3979" fmla="*/ 1558040 h 6380470"/>
              <a:gd name="connsiteX3980" fmla="*/ 9319884 w 11625583"/>
              <a:gd name="connsiteY3980" fmla="*/ 1493374 h 6380470"/>
              <a:gd name="connsiteX3981" fmla="*/ 9384550 w 11625583"/>
              <a:gd name="connsiteY3981" fmla="*/ 1428710 h 6380470"/>
              <a:gd name="connsiteX3982" fmla="*/ 9227977 w 11625583"/>
              <a:gd name="connsiteY3982" fmla="*/ 1428710 h 6380470"/>
              <a:gd name="connsiteX3983" fmla="*/ 9292643 w 11625583"/>
              <a:gd name="connsiteY3983" fmla="*/ 1493374 h 6380470"/>
              <a:gd name="connsiteX3984" fmla="*/ 9227977 w 11625583"/>
              <a:gd name="connsiteY3984" fmla="*/ 1558040 h 6380470"/>
              <a:gd name="connsiteX3985" fmla="*/ 9163311 w 11625583"/>
              <a:gd name="connsiteY3985" fmla="*/ 1493374 h 6380470"/>
              <a:gd name="connsiteX3986" fmla="*/ 9227977 w 11625583"/>
              <a:gd name="connsiteY3986" fmla="*/ 1428710 h 6380470"/>
              <a:gd name="connsiteX3987" fmla="*/ 9075317 w 11625583"/>
              <a:gd name="connsiteY3987" fmla="*/ 1428710 h 6380470"/>
              <a:gd name="connsiteX3988" fmla="*/ 9139983 w 11625583"/>
              <a:gd name="connsiteY3988" fmla="*/ 1493374 h 6380470"/>
              <a:gd name="connsiteX3989" fmla="*/ 9075317 w 11625583"/>
              <a:gd name="connsiteY3989" fmla="*/ 1558040 h 6380470"/>
              <a:gd name="connsiteX3990" fmla="*/ 9010651 w 11625583"/>
              <a:gd name="connsiteY3990" fmla="*/ 1493374 h 6380470"/>
              <a:gd name="connsiteX3991" fmla="*/ 9075317 w 11625583"/>
              <a:gd name="connsiteY3991" fmla="*/ 1428710 h 6380470"/>
              <a:gd name="connsiteX3992" fmla="*/ 8914829 w 11625583"/>
              <a:gd name="connsiteY3992" fmla="*/ 1428710 h 6380470"/>
              <a:gd name="connsiteX3993" fmla="*/ 8979495 w 11625583"/>
              <a:gd name="connsiteY3993" fmla="*/ 1493374 h 6380470"/>
              <a:gd name="connsiteX3994" fmla="*/ 8914829 w 11625583"/>
              <a:gd name="connsiteY3994" fmla="*/ 1558040 h 6380470"/>
              <a:gd name="connsiteX3995" fmla="*/ 8850163 w 11625583"/>
              <a:gd name="connsiteY3995" fmla="*/ 1493374 h 6380470"/>
              <a:gd name="connsiteX3996" fmla="*/ 8914829 w 11625583"/>
              <a:gd name="connsiteY3996" fmla="*/ 1428710 h 6380470"/>
              <a:gd name="connsiteX3997" fmla="*/ 8766086 w 11625583"/>
              <a:gd name="connsiteY3997" fmla="*/ 1428710 h 6380470"/>
              <a:gd name="connsiteX3998" fmla="*/ 8830752 w 11625583"/>
              <a:gd name="connsiteY3998" fmla="*/ 1493374 h 6380470"/>
              <a:gd name="connsiteX3999" fmla="*/ 8766086 w 11625583"/>
              <a:gd name="connsiteY3999" fmla="*/ 1558040 h 6380470"/>
              <a:gd name="connsiteX4000" fmla="*/ 8701420 w 11625583"/>
              <a:gd name="connsiteY4000" fmla="*/ 1493374 h 6380470"/>
              <a:gd name="connsiteX4001" fmla="*/ 8766086 w 11625583"/>
              <a:gd name="connsiteY4001" fmla="*/ 1428710 h 6380470"/>
              <a:gd name="connsiteX4002" fmla="*/ 8601683 w 11625583"/>
              <a:gd name="connsiteY4002" fmla="*/ 1428710 h 6380470"/>
              <a:gd name="connsiteX4003" fmla="*/ 8666349 w 11625583"/>
              <a:gd name="connsiteY4003" fmla="*/ 1493374 h 6380470"/>
              <a:gd name="connsiteX4004" fmla="*/ 8601683 w 11625583"/>
              <a:gd name="connsiteY4004" fmla="*/ 1558040 h 6380470"/>
              <a:gd name="connsiteX4005" fmla="*/ 8537017 w 11625583"/>
              <a:gd name="connsiteY4005" fmla="*/ 1493374 h 6380470"/>
              <a:gd name="connsiteX4006" fmla="*/ 8601683 w 11625583"/>
              <a:gd name="connsiteY4006" fmla="*/ 1428710 h 6380470"/>
              <a:gd name="connsiteX4007" fmla="*/ 8449025 w 11625583"/>
              <a:gd name="connsiteY4007" fmla="*/ 1428710 h 6380470"/>
              <a:gd name="connsiteX4008" fmla="*/ 8513691 w 11625583"/>
              <a:gd name="connsiteY4008" fmla="*/ 1493374 h 6380470"/>
              <a:gd name="connsiteX4009" fmla="*/ 8449025 w 11625583"/>
              <a:gd name="connsiteY4009" fmla="*/ 1558040 h 6380470"/>
              <a:gd name="connsiteX4010" fmla="*/ 8384359 w 11625583"/>
              <a:gd name="connsiteY4010" fmla="*/ 1493374 h 6380470"/>
              <a:gd name="connsiteX4011" fmla="*/ 8449025 w 11625583"/>
              <a:gd name="connsiteY4011" fmla="*/ 1428710 h 6380470"/>
              <a:gd name="connsiteX4012" fmla="*/ 8296367 w 11625583"/>
              <a:gd name="connsiteY4012" fmla="*/ 1428710 h 6380470"/>
              <a:gd name="connsiteX4013" fmla="*/ 8361033 w 11625583"/>
              <a:gd name="connsiteY4013" fmla="*/ 1493374 h 6380470"/>
              <a:gd name="connsiteX4014" fmla="*/ 8296367 w 11625583"/>
              <a:gd name="connsiteY4014" fmla="*/ 1558040 h 6380470"/>
              <a:gd name="connsiteX4015" fmla="*/ 8231701 w 11625583"/>
              <a:gd name="connsiteY4015" fmla="*/ 1493374 h 6380470"/>
              <a:gd name="connsiteX4016" fmla="*/ 8296367 w 11625583"/>
              <a:gd name="connsiteY4016" fmla="*/ 1428710 h 6380470"/>
              <a:gd name="connsiteX4017" fmla="*/ 8139792 w 11625583"/>
              <a:gd name="connsiteY4017" fmla="*/ 1428710 h 6380470"/>
              <a:gd name="connsiteX4018" fmla="*/ 8204458 w 11625583"/>
              <a:gd name="connsiteY4018" fmla="*/ 1493374 h 6380470"/>
              <a:gd name="connsiteX4019" fmla="*/ 8139792 w 11625583"/>
              <a:gd name="connsiteY4019" fmla="*/ 1558040 h 6380470"/>
              <a:gd name="connsiteX4020" fmla="*/ 8075126 w 11625583"/>
              <a:gd name="connsiteY4020" fmla="*/ 1493374 h 6380470"/>
              <a:gd name="connsiteX4021" fmla="*/ 8139792 w 11625583"/>
              <a:gd name="connsiteY4021" fmla="*/ 1428710 h 6380470"/>
              <a:gd name="connsiteX4022" fmla="*/ 7987133 w 11625583"/>
              <a:gd name="connsiteY4022" fmla="*/ 1428710 h 6380470"/>
              <a:gd name="connsiteX4023" fmla="*/ 8051799 w 11625583"/>
              <a:gd name="connsiteY4023" fmla="*/ 1493374 h 6380470"/>
              <a:gd name="connsiteX4024" fmla="*/ 7987133 w 11625583"/>
              <a:gd name="connsiteY4024" fmla="*/ 1558040 h 6380470"/>
              <a:gd name="connsiteX4025" fmla="*/ 7922467 w 11625583"/>
              <a:gd name="connsiteY4025" fmla="*/ 1493374 h 6380470"/>
              <a:gd name="connsiteX4026" fmla="*/ 7987133 w 11625583"/>
              <a:gd name="connsiteY4026" fmla="*/ 1428710 h 6380470"/>
              <a:gd name="connsiteX4027" fmla="*/ 7830562 w 11625583"/>
              <a:gd name="connsiteY4027" fmla="*/ 1428710 h 6380470"/>
              <a:gd name="connsiteX4028" fmla="*/ 7895228 w 11625583"/>
              <a:gd name="connsiteY4028" fmla="*/ 1493374 h 6380470"/>
              <a:gd name="connsiteX4029" fmla="*/ 7830562 w 11625583"/>
              <a:gd name="connsiteY4029" fmla="*/ 1558040 h 6380470"/>
              <a:gd name="connsiteX4030" fmla="*/ 7765896 w 11625583"/>
              <a:gd name="connsiteY4030" fmla="*/ 1493374 h 6380470"/>
              <a:gd name="connsiteX4031" fmla="*/ 7830562 w 11625583"/>
              <a:gd name="connsiteY4031" fmla="*/ 1428710 h 6380470"/>
              <a:gd name="connsiteX4032" fmla="*/ 7677902 w 11625583"/>
              <a:gd name="connsiteY4032" fmla="*/ 1428710 h 6380470"/>
              <a:gd name="connsiteX4033" fmla="*/ 7742568 w 11625583"/>
              <a:gd name="connsiteY4033" fmla="*/ 1493374 h 6380470"/>
              <a:gd name="connsiteX4034" fmla="*/ 7677902 w 11625583"/>
              <a:gd name="connsiteY4034" fmla="*/ 1558040 h 6380470"/>
              <a:gd name="connsiteX4035" fmla="*/ 7613236 w 11625583"/>
              <a:gd name="connsiteY4035" fmla="*/ 1493374 h 6380470"/>
              <a:gd name="connsiteX4036" fmla="*/ 7677902 w 11625583"/>
              <a:gd name="connsiteY4036" fmla="*/ 1428710 h 6380470"/>
              <a:gd name="connsiteX4037" fmla="*/ 7521329 w 11625583"/>
              <a:gd name="connsiteY4037" fmla="*/ 1428710 h 6380470"/>
              <a:gd name="connsiteX4038" fmla="*/ 7585995 w 11625583"/>
              <a:gd name="connsiteY4038" fmla="*/ 1493374 h 6380470"/>
              <a:gd name="connsiteX4039" fmla="*/ 7521329 w 11625583"/>
              <a:gd name="connsiteY4039" fmla="*/ 1558040 h 6380470"/>
              <a:gd name="connsiteX4040" fmla="*/ 7456663 w 11625583"/>
              <a:gd name="connsiteY4040" fmla="*/ 1493374 h 6380470"/>
              <a:gd name="connsiteX4041" fmla="*/ 7521329 w 11625583"/>
              <a:gd name="connsiteY4041" fmla="*/ 1428710 h 6380470"/>
              <a:gd name="connsiteX4042" fmla="*/ 7368669 w 11625583"/>
              <a:gd name="connsiteY4042" fmla="*/ 1428710 h 6380470"/>
              <a:gd name="connsiteX4043" fmla="*/ 7433335 w 11625583"/>
              <a:gd name="connsiteY4043" fmla="*/ 1493374 h 6380470"/>
              <a:gd name="connsiteX4044" fmla="*/ 7368669 w 11625583"/>
              <a:gd name="connsiteY4044" fmla="*/ 1558040 h 6380470"/>
              <a:gd name="connsiteX4045" fmla="*/ 7304003 w 11625583"/>
              <a:gd name="connsiteY4045" fmla="*/ 1493374 h 6380470"/>
              <a:gd name="connsiteX4046" fmla="*/ 7368669 w 11625583"/>
              <a:gd name="connsiteY4046" fmla="*/ 1428710 h 6380470"/>
              <a:gd name="connsiteX4047" fmla="*/ 7212096 w 11625583"/>
              <a:gd name="connsiteY4047" fmla="*/ 1428710 h 6380470"/>
              <a:gd name="connsiteX4048" fmla="*/ 7276762 w 11625583"/>
              <a:gd name="connsiteY4048" fmla="*/ 1493374 h 6380470"/>
              <a:gd name="connsiteX4049" fmla="*/ 7212096 w 11625583"/>
              <a:gd name="connsiteY4049" fmla="*/ 1558040 h 6380470"/>
              <a:gd name="connsiteX4050" fmla="*/ 7147430 w 11625583"/>
              <a:gd name="connsiteY4050" fmla="*/ 1493374 h 6380470"/>
              <a:gd name="connsiteX4051" fmla="*/ 7212096 w 11625583"/>
              <a:gd name="connsiteY4051" fmla="*/ 1428710 h 6380470"/>
              <a:gd name="connsiteX4052" fmla="*/ 7055523 w 11625583"/>
              <a:gd name="connsiteY4052" fmla="*/ 1428710 h 6380470"/>
              <a:gd name="connsiteX4053" fmla="*/ 7120189 w 11625583"/>
              <a:gd name="connsiteY4053" fmla="*/ 1493374 h 6380470"/>
              <a:gd name="connsiteX4054" fmla="*/ 7055523 w 11625583"/>
              <a:gd name="connsiteY4054" fmla="*/ 1558040 h 6380470"/>
              <a:gd name="connsiteX4055" fmla="*/ 6990857 w 11625583"/>
              <a:gd name="connsiteY4055" fmla="*/ 1493374 h 6380470"/>
              <a:gd name="connsiteX4056" fmla="*/ 7055523 w 11625583"/>
              <a:gd name="connsiteY4056" fmla="*/ 1428710 h 6380470"/>
              <a:gd name="connsiteX4057" fmla="*/ 6895037 w 11625583"/>
              <a:gd name="connsiteY4057" fmla="*/ 1428710 h 6380470"/>
              <a:gd name="connsiteX4058" fmla="*/ 6959703 w 11625583"/>
              <a:gd name="connsiteY4058" fmla="*/ 1493374 h 6380470"/>
              <a:gd name="connsiteX4059" fmla="*/ 6895037 w 11625583"/>
              <a:gd name="connsiteY4059" fmla="*/ 1558040 h 6380470"/>
              <a:gd name="connsiteX4060" fmla="*/ 6830371 w 11625583"/>
              <a:gd name="connsiteY4060" fmla="*/ 1493374 h 6380470"/>
              <a:gd name="connsiteX4061" fmla="*/ 6895037 w 11625583"/>
              <a:gd name="connsiteY4061" fmla="*/ 1428710 h 6380470"/>
              <a:gd name="connsiteX4062" fmla="*/ 6742375 w 11625583"/>
              <a:gd name="connsiteY4062" fmla="*/ 1428710 h 6380470"/>
              <a:gd name="connsiteX4063" fmla="*/ 6807041 w 11625583"/>
              <a:gd name="connsiteY4063" fmla="*/ 1493374 h 6380470"/>
              <a:gd name="connsiteX4064" fmla="*/ 6742375 w 11625583"/>
              <a:gd name="connsiteY4064" fmla="*/ 1558040 h 6380470"/>
              <a:gd name="connsiteX4065" fmla="*/ 6677709 w 11625583"/>
              <a:gd name="connsiteY4065" fmla="*/ 1493374 h 6380470"/>
              <a:gd name="connsiteX4066" fmla="*/ 6742375 w 11625583"/>
              <a:gd name="connsiteY4066" fmla="*/ 1428710 h 6380470"/>
              <a:gd name="connsiteX4067" fmla="*/ 6585802 w 11625583"/>
              <a:gd name="connsiteY4067" fmla="*/ 1428710 h 6380470"/>
              <a:gd name="connsiteX4068" fmla="*/ 6650468 w 11625583"/>
              <a:gd name="connsiteY4068" fmla="*/ 1493374 h 6380470"/>
              <a:gd name="connsiteX4069" fmla="*/ 6585802 w 11625583"/>
              <a:gd name="connsiteY4069" fmla="*/ 1558040 h 6380470"/>
              <a:gd name="connsiteX4070" fmla="*/ 6521136 w 11625583"/>
              <a:gd name="connsiteY4070" fmla="*/ 1493374 h 6380470"/>
              <a:gd name="connsiteX4071" fmla="*/ 6585802 w 11625583"/>
              <a:gd name="connsiteY4071" fmla="*/ 1428710 h 6380470"/>
              <a:gd name="connsiteX4072" fmla="*/ 6429229 w 11625583"/>
              <a:gd name="connsiteY4072" fmla="*/ 1428710 h 6380470"/>
              <a:gd name="connsiteX4073" fmla="*/ 6493895 w 11625583"/>
              <a:gd name="connsiteY4073" fmla="*/ 1493374 h 6380470"/>
              <a:gd name="connsiteX4074" fmla="*/ 6429229 w 11625583"/>
              <a:gd name="connsiteY4074" fmla="*/ 1558040 h 6380470"/>
              <a:gd name="connsiteX4075" fmla="*/ 6364563 w 11625583"/>
              <a:gd name="connsiteY4075" fmla="*/ 1493374 h 6380470"/>
              <a:gd name="connsiteX4076" fmla="*/ 6429229 w 11625583"/>
              <a:gd name="connsiteY4076" fmla="*/ 1428710 h 6380470"/>
              <a:gd name="connsiteX4077" fmla="*/ 6276571 w 11625583"/>
              <a:gd name="connsiteY4077" fmla="*/ 1428710 h 6380470"/>
              <a:gd name="connsiteX4078" fmla="*/ 6341237 w 11625583"/>
              <a:gd name="connsiteY4078" fmla="*/ 1493374 h 6380470"/>
              <a:gd name="connsiteX4079" fmla="*/ 6276571 w 11625583"/>
              <a:gd name="connsiteY4079" fmla="*/ 1558040 h 6380470"/>
              <a:gd name="connsiteX4080" fmla="*/ 6211905 w 11625583"/>
              <a:gd name="connsiteY4080" fmla="*/ 1493374 h 6380470"/>
              <a:gd name="connsiteX4081" fmla="*/ 6276571 w 11625583"/>
              <a:gd name="connsiteY4081" fmla="*/ 1428710 h 6380470"/>
              <a:gd name="connsiteX4082" fmla="*/ 5967338 w 11625583"/>
              <a:gd name="connsiteY4082" fmla="*/ 1428710 h 6380470"/>
              <a:gd name="connsiteX4083" fmla="*/ 6032004 w 11625583"/>
              <a:gd name="connsiteY4083" fmla="*/ 1493374 h 6380470"/>
              <a:gd name="connsiteX4084" fmla="*/ 5967338 w 11625583"/>
              <a:gd name="connsiteY4084" fmla="*/ 1558040 h 6380470"/>
              <a:gd name="connsiteX4085" fmla="*/ 5902672 w 11625583"/>
              <a:gd name="connsiteY4085" fmla="*/ 1493374 h 6380470"/>
              <a:gd name="connsiteX4086" fmla="*/ 5967338 w 11625583"/>
              <a:gd name="connsiteY4086" fmla="*/ 1428710 h 6380470"/>
              <a:gd name="connsiteX4087" fmla="*/ 5810805 w 11625583"/>
              <a:gd name="connsiteY4087" fmla="*/ 1428710 h 6380470"/>
              <a:gd name="connsiteX4088" fmla="*/ 5875431 w 11625583"/>
              <a:gd name="connsiteY4088" fmla="*/ 1493374 h 6380470"/>
              <a:gd name="connsiteX4089" fmla="*/ 5810805 w 11625583"/>
              <a:gd name="connsiteY4089" fmla="*/ 1558040 h 6380470"/>
              <a:gd name="connsiteX4090" fmla="*/ 5746119 w 11625583"/>
              <a:gd name="connsiteY4090" fmla="*/ 1493374 h 6380470"/>
              <a:gd name="connsiteX4091" fmla="*/ 5810805 w 11625583"/>
              <a:gd name="connsiteY4091" fmla="*/ 1428710 h 6380470"/>
              <a:gd name="connsiteX4092" fmla="*/ 5658108 w 11625583"/>
              <a:gd name="connsiteY4092" fmla="*/ 1428710 h 6380470"/>
              <a:gd name="connsiteX4093" fmla="*/ 5722785 w 11625583"/>
              <a:gd name="connsiteY4093" fmla="*/ 1493374 h 6380470"/>
              <a:gd name="connsiteX4094" fmla="*/ 5658108 w 11625583"/>
              <a:gd name="connsiteY4094" fmla="*/ 1558040 h 6380470"/>
              <a:gd name="connsiteX4095" fmla="*/ 5593443 w 11625583"/>
              <a:gd name="connsiteY4095" fmla="*/ 1493374 h 6380470"/>
              <a:gd name="connsiteX4096" fmla="*/ 5658108 w 11625583"/>
              <a:gd name="connsiteY4096" fmla="*/ 1428710 h 6380470"/>
              <a:gd name="connsiteX4097" fmla="*/ 526542 w 11625583"/>
              <a:gd name="connsiteY4097" fmla="*/ 1428710 h 6380470"/>
              <a:gd name="connsiteX4098" fmla="*/ 591208 w 11625583"/>
              <a:gd name="connsiteY4098" fmla="*/ 1493374 h 6380470"/>
              <a:gd name="connsiteX4099" fmla="*/ 526542 w 11625583"/>
              <a:gd name="connsiteY4099" fmla="*/ 1558040 h 6380470"/>
              <a:gd name="connsiteX4100" fmla="*/ 461877 w 11625583"/>
              <a:gd name="connsiteY4100" fmla="*/ 1493374 h 6380470"/>
              <a:gd name="connsiteX4101" fmla="*/ 526542 w 11625583"/>
              <a:gd name="connsiteY4101" fmla="*/ 1428710 h 6380470"/>
              <a:gd name="connsiteX4102" fmla="*/ 373886 w 11625583"/>
              <a:gd name="connsiteY4102" fmla="*/ 1428710 h 6380470"/>
              <a:gd name="connsiteX4103" fmla="*/ 438551 w 11625583"/>
              <a:gd name="connsiteY4103" fmla="*/ 1493374 h 6380470"/>
              <a:gd name="connsiteX4104" fmla="*/ 373886 w 11625583"/>
              <a:gd name="connsiteY4104" fmla="*/ 1558040 h 6380470"/>
              <a:gd name="connsiteX4105" fmla="*/ 309221 w 11625583"/>
              <a:gd name="connsiteY4105" fmla="*/ 1493374 h 6380470"/>
              <a:gd name="connsiteX4106" fmla="*/ 373886 w 11625583"/>
              <a:gd name="connsiteY4106" fmla="*/ 1428710 h 6380470"/>
              <a:gd name="connsiteX4107" fmla="*/ 217317 w 11625583"/>
              <a:gd name="connsiteY4107" fmla="*/ 1428710 h 6380470"/>
              <a:gd name="connsiteX4108" fmla="*/ 281982 w 11625583"/>
              <a:gd name="connsiteY4108" fmla="*/ 1493374 h 6380470"/>
              <a:gd name="connsiteX4109" fmla="*/ 217317 w 11625583"/>
              <a:gd name="connsiteY4109" fmla="*/ 1558040 h 6380470"/>
              <a:gd name="connsiteX4110" fmla="*/ 152652 w 11625583"/>
              <a:gd name="connsiteY4110" fmla="*/ 1493374 h 6380470"/>
              <a:gd name="connsiteX4111" fmla="*/ 217317 w 11625583"/>
              <a:gd name="connsiteY4111" fmla="*/ 1428710 h 6380470"/>
              <a:gd name="connsiteX4112" fmla="*/ 5348888 w 11625583"/>
              <a:gd name="connsiteY4112" fmla="*/ 1428708 h 6380470"/>
              <a:gd name="connsiteX4113" fmla="*/ 5413557 w 11625583"/>
              <a:gd name="connsiteY4113" fmla="*/ 1493374 h 6380470"/>
              <a:gd name="connsiteX4114" fmla="*/ 5348888 w 11625583"/>
              <a:gd name="connsiteY4114" fmla="*/ 1558038 h 6380470"/>
              <a:gd name="connsiteX4115" fmla="*/ 5284237 w 11625583"/>
              <a:gd name="connsiteY4115" fmla="*/ 1493374 h 6380470"/>
              <a:gd name="connsiteX4116" fmla="*/ 5348888 w 11625583"/>
              <a:gd name="connsiteY4116" fmla="*/ 1428708 h 6380470"/>
              <a:gd name="connsiteX4117" fmla="*/ 3321398 w 11625583"/>
              <a:gd name="connsiteY4117" fmla="*/ 1428708 h 6380470"/>
              <a:gd name="connsiteX4118" fmla="*/ 3386040 w 11625583"/>
              <a:gd name="connsiteY4118" fmla="*/ 1493374 h 6380470"/>
              <a:gd name="connsiteX4119" fmla="*/ 3321398 w 11625583"/>
              <a:gd name="connsiteY4119" fmla="*/ 1558038 h 6380470"/>
              <a:gd name="connsiteX4120" fmla="*/ 3256733 w 11625583"/>
              <a:gd name="connsiteY4120" fmla="*/ 1493374 h 6380470"/>
              <a:gd name="connsiteX4121" fmla="*/ 3321398 w 11625583"/>
              <a:gd name="connsiteY4121" fmla="*/ 1428708 h 6380470"/>
              <a:gd name="connsiteX4122" fmla="*/ 3172644 w 11625583"/>
              <a:gd name="connsiteY4122" fmla="*/ 1428708 h 6380470"/>
              <a:gd name="connsiteX4123" fmla="*/ 3237318 w 11625583"/>
              <a:gd name="connsiteY4123" fmla="*/ 1493374 h 6380470"/>
              <a:gd name="connsiteX4124" fmla="*/ 3172644 w 11625583"/>
              <a:gd name="connsiteY4124" fmla="*/ 1558038 h 6380470"/>
              <a:gd name="connsiteX4125" fmla="*/ 3107959 w 11625583"/>
              <a:gd name="connsiteY4125" fmla="*/ 1493374 h 6380470"/>
              <a:gd name="connsiteX4126" fmla="*/ 3172644 w 11625583"/>
              <a:gd name="connsiteY4126" fmla="*/ 1428708 h 6380470"/>
              <a:gd name="connsiteX4127" fmla="*/ 3012125 w 11625583"/>
              <a:gd name="connsiteY4127" fmla="*/ 1428708 h 6380470"/>
              <a:gd name="connsiteX4128" fmla="*/ 3076794 w 11625583"/>
              <a:gd name="connsiteY4128" fmla="*/ 1493374 h 6380470"/>
              <a:gd name="connsiteX4129" fmla="*/ 3012125 w 11625583"/>
              <a:gd name="connsiteY4129" fmla="*/ 1558038 h 6380470"/>
              <a:gd name="connsiteX4130" fmla="*/ 2947469 w 11625583"/>
              <a:gd name="connsiteY4130" fmla="*/ 1493374 h 6380470"/>
              <a:gd name="connsiteX4131" fmla="*/ 3012125 w 11625583"/>
              <a:gd name="connsiteY4131" fmla="*/ 1428708 h 6380470"/>
              <a:gd name="connsiteX4132" fmla="*/ 2389803 w 11625583"/>
              <a:gd name="connsiteY4132" fmla="*/ 1428708 h 6380470"/>
              <a:gd name="connsiteX4133" fmla="*/ 2454493 w 11625583"/>
              <a:gd name="connsiteY4133" fmla="*/ 1493374 h 6380470"/>
              <a:gd name="connsiteX4134" fmla="*/ 2389803 w 11625583"/>
              <a:gd name="connsiteY4134" fmla="*/ 1558038 h 6380470"/>
              <a:gd name="connsiteX4135" fmla="*/ 2325157 w 11625583"/>
              <a:gd name="connsiteY4135" fmla="*/ 1493374 h 6380470"/>
              <a:gd name="connsiteX4136" fmla="*/ 2389803 w 11625583"/>
              <a:gd name="connsiteY4136" fmla="*/ 1428708 h 6380470"/>
              <a:gd name="connsiteX4137" fmla="*/ 2237136 w 11625583"/>
              <a:gd name="connsiteY4137" fmla="*/ 1428708 h 6380470"/>
              <a:gd name="connsiteX4138" fmla="*/ 2301822 w 11625583"/>
              <a:gd name="connsiteY4138" fmla="*/ 1493374 h 6380470"/>
              <a:gd name="connsiteX4139" fmla="*/ 2237136 w 11625583"/>
              <a:gd name="connsiteY4139" fmla="*/ 1558038 h 6380470"/>
              <a:gd name="connsiteX4140" fmla="*/ 2172451 w 11625583"/>
              <a:gd name="connsiteY4140" fmla="*/ 1493374 h 6380470"/>
              <a:gd name="connsiteX4141" fmla="*/ 2237136 w 11625583"/>
              <a:gd name="connsiteY4141" fmla="*/ 1428708 h 6380470"/>
              <a:gd name="connsiteX4142" fmla="*/ 2084457 w 11625583"/>
              <a:gd name="connsiteY4142" fmla="*/ 1428708 h 6380470"/>
              <a:gd name="connsiteX4143" fmla="*/ 2149118 w 11625583"/>
              <a:gd name="connsiteY4143" fmla="*/ 1493374 h 6380470"/>
              <a:gd name="connsiteX4144" fmla="*/ 2084457 w 11625583"/>
              <a:gd name="connsiteY4144" fmla="*/ 1558038 h 6380470"/>
              <a:gd name="connsiteX4145" fmla="*/ 2019816 w 11625583"/>
              <a:gd name="connsiteY4145" fmla="*/ 1493374 h 6380470"/>
              <a:gd name="connsiteX4146" fmla="*/ 2084457 w 11625583"/>
              <a:gd name="connsiteY4146" fmla="*/ 1428708 h 6380470"/>
              <a:gd name="connsiteX4147" fmla="*/ 1927872 w 11625583"/>
              <a:gd name="connsiteY4147" fmla="*/ 1428708 h 6380470"/>
              <a:gd name="connsiteX4148" fmla="*/ 1992557 w 11625583"/>
              <a:gd name="connsiteY4148" fmla="*/ 1493374 h 6380470"/>
              <a:gd name="connsiteX4149" fmla="*/ 1927872 w 11625583"/>
              <a:gd name="connsiteY4149" fmla="*/ 1558038 h 6380470"/>
              <a:gd name="connsiteX4150" fmla="*/ 1863233 w 11625583"/>
              <a:gd name="connsiteY4150" fmla="*/ 1493374 h 6380470"/>
              <a:gd name="connsiteX4151" fmla="*/ 1927872 w 11625583"/>
              <a:gd name="connsiteY4151" fmla="*/ 1428708 h 6380470"/>
              <a:gd name="connsiteX4152" fmla="*/ 1775219 w 11625583"/>
              <a:gd name="connsiteY4152" fmla="*/ 1428708 h 6380470"/>
              <a:gd name="connsiteX4153" fmla="*/ 1839905 w 11625583"/>
              <a:gd name="connsiteY4153" fmla="*/ 1493374 h 6380470"/>
              <a:gd name="connsiteX4154" fmla="*/ 1775219 w 11625583"/>
              <a:gd name="connsiteY4154" fmla="*/ 1558038 h 6380470"/>
              <a:gd name="connsiteX4155" fmla="*/ 1710549 w 11625583"/>
              <a:gd name="connsiteY4155" fmla="*/ 1493374 h 6380470"/>
              <a:gd name="connsiteX4156" fmla="*/ 1775219 w 11625583"/>
              <a:gd name="connsiteY4156" fmla="*/ 1428708 h 6380470"/>
              <a:gd name="connsiteX4157" fmla="*/ 1618636 w 11625583"/>
              <a:gd name="connsiteY4157" fmla="*/ 1428708 h 6380470"/>
              <a:gd name="connsiteX4158" fmla="*/ 1683307 w 11625583"/>
              <a:gd name="connsiteY4158" fmla="*/ 1493374 h 6380470"/>
              <a:gd name="connsiteX4159" fmla="*/ 1618636 w 11625583"/>
              <a:gd name="connsiteY4159" fmla="*/ 1558038 h 6380470"/>
              <a:gd name="connsiteX4160" fmla="*/ 1553973 w 11625583"/>
              <a:gd name="connsiteY4160" fmla="*/ 1493374 h 6380470"/>
              <a:gd name="connsiteX4161" fmla="*/ 1618636 w 11625583"/>
              <a:gd name="connsiteY4161" fmla="*/ 1428708 h 6380470"/>
              <a:gd name="connsiteX4162" fmla="*/ 1465980 w 11625583"/>
              <a:gd name="connsiteY4162" fmla="*/ 1428708 h 6380470"/>
              <a:gd name="connsiteX4163" fmla="*/ 1530647 w 11625583"/>
              <a:gd name="connsiteY4163" fmla="*/ 1493374 h 6380470"/>
              <a:gd name="connsiteX4164" fmla="*/ 1465980 w 11625583"/>
              <a:gd name="connsiteY4164" fmla="*/ 1558038 h 6380470"/>
              <a:gd name="connsiteX4165" fmla="*/ 1401318 w 11625583"/>
              <a:gd name="connsiteY4165" fmla="*/ 1493374 h 6380470"/>
              <a:gd name="connsiteX4166" fmla="*/ 1465980 w 11625583"/>
              <a:gd name="connsiteY4166" fmla="*/ 1428708 h 6380470"/>
              <a:gd name="connsiteX4167" fmla="*/ 1309407 w 11625583"/>
              <a:gd name="connsiteY4167" fmla="*/ 1428708 h 6380470"/>
              <a:gd name="connsiteX4168" fmla="*/ 1374073 w 11625583"/>
              <a:gd name="connsiteY4168" fmla="*/ 1493374 h 6380470"/>
              <a:gd name="connsiteX4169" fmla="*/ 1309407 w 11625583"/>
              <a:gd name="connsiteY4169" fmla="*/ 1558038 h 6380470"/>
              <a:gd name="connsiteX4170" fmla="*/ 1244742 w 11625583"/>
              <a:gd name="connsiteY4170" fmla="*/ 1493374 h 6380470"/>
              <a:gd name="connsiteX4171" fmla="*/ 1309407 w 11625583"/>
              <a:gd name="connsiteY4171" fmla="*/ 1428708 h 6380470"/>
              <a:gd name="connsiteX4172" fmla="*/ 1148923 w 11625583"/>
              <a:gd name="connsiteY4172" fmla="*/ 1428708 h 6380470"/>
              <a:gd name="connsiteX4173" fmla="*/ 1213588 w 11625583"/>
              <a:gd name="connsiteY4173" fmla="*/ 1493374 h 6380470"/>
              <a:gd name="connsiteX4174" fmla="*/ 1148923 w 11625583"/>
              <a:gd name="connsiteY4174" fmla="*/ 1558038 h 6380470"/>
              <a:gd name="connsiteX4175" fmla="*/ 1084258 w 11625583"/>
              <a:gd name="connsiteY4175" fmla="*/ 1493374 h 6380470"/>
              <a:gd name="connsiteX4176" fmla="*/ 1148923 w 11625583"/>
              <a:gd name="connsiteY4176" fmla="*/ 1428708 h 6380470"/>
              <a:gd name="connsiteX4177" fmla="*/ 11095111 w 11625583"/>
              <a:gd name="connsiteY4177" fmla="*/ 1287791 h 6380470"/>
              <a:gd name="connsiteX4178" fmla="*/ 11159777 w 11625583"/>
              <a:gd name="connsiteY4178" fmla="*/ 1352456 h 6380470"/>
              <a:gd name="connsiteX4179" fmla="*/ 11095111 w 11625583"/>
              <a:gd name="connsiteY4179" fmla="*/ 1417123 h 6380470"/>
              <a:gd name="connsiteX4180" fmla="*/ 11030445 w 11625583"/>
              <a:gd name="connsiteY4180" fmla="*/ 1352456 h 6380470"/>
              <a:gd name="connsiteX4181" fmla="*/ 11095111 w 11625583"/>
              <a:gd name="connsiteY4181" fmla="*/ 1287791 h 6380470"/>
              <a:gd name="connsiteX4182" fmla="*/ 10938538 w 11625583"/>
              <a:gd name="connsiteY4182" fmla="*/ 1287791 h 6380470"/>
              <a:gd name="connsiteX4183" fmla="*/ 11003204 w 11625583"/>
              <a:gd name="connsiteY4183" fmla="*/ 1352456 h 6380470"/>
              <a:gd name="connsiteX4184" fmla="*/ 10938538 w 11625583"/>
              <a:gd name="connsiteY4184" fmla="*/ 1417123 h 6380470"/>
              <a:gd name="connsiteX4185" fmla="*/ 10873872 w 11625583"/>
              <a:gd name="connsiteY4185" fmla="*/ 1352456 h 6380470"/>
              <a:gd name="connsiteX4186" fmla="*/ 10938538 w 11625583"/>
              <a:gd name="connsiteY4186" fmla="*/ 1287791 h 6380470"/>
              <a:gd name="connsiteX4187" fmla="*/ 10778051 w 11625583"/>
              <a:gd name="connsiteY4187" fmla="*/ 1287791 h 6380470"/>
              <a:gd name="connsiteX4188" fmla="*/ 10842717 w 11625583"/>
              <a:gd name="connsiteY4188" fmla="*/ 1352456 h 6380470"/>
              <a:gd name="connsiteX4189" fmla="*/ 10778051 w 11625583"/>
              <a:gd name="connsiteY4189" fmla="*/ 1417123 h 6380470"/>
              <a:gd name="connsiteX4190" fmla="*/ 10713385 w 11625583"/>
              <a:gd name="connsiteY4190" fmla="*/ 1352456 h 6380470"/>
              <a:gd name="connsiteX4191" fmla="*/ 10778051 w 11625583"/>
              <a:gd name="connsiteY4191" fmla="*/ 1287791 h 6380470"/>
              <a:gd name="connsiteX4192" fmla="*/ 10625391 w 11625583"/>
              <a:gd name="connsiteY4192" fmla="*/ 1287791 h 6380470"/>
              <a:gd name="connsiteX4193" fmla="*/ 10690057 w 11625583"/>
              <a:gd name="connsiteY4193" fmla="*/ 1352456 h 6380470"/>
              <a:gd name="connsiteX4194" fmla="*/ 10625391 w 11625583"/>
              <a:gd name="connsiteY4194" fmla="*/ 1417123 h 6380470"/>
              <a:gd name="connsiteX4195" fmla="*/ 10560725 w 11625583"/>
              <a:gd name="connsiteY4195" fmla="*/ 1352456 h 6380470"/>
              <a:gd name="connsiteX4196" fmla="*/ 10625391 w 11625583"/>
              <a:gd name="connsiteY4196" fmla="*/ 1287791 h 6380470"/>
              <a:gd name="connsiteX4197" fmla="*/ 10468818 w 11625583"/>
              <a:gd name="connsiteY4197" fmla="*/ 1287791 h 6380470"/>
              <a:gd name="connsiteX4198" fmla="*/ 10533484 w 11625583"/>
              <a:gd name="connsiteY4198" fmla="*/ 1352456 h 6380470"/>
              <a:gd name="connsiteX4199" fmla="*/ 10468818 w 11625583"/>
              <a:gd name="connsiteY4199" fmla="*/ 1417123 h 6380470"/>
              <a:gd name="connsiteX4200" fmla="*/ 10404152 w 11625583"/>
              <a:gd name="connsiteY4200" fmla="*/ 1352456 h 6380470"/>
              <a:gd name="connsiteX4201" fmla="*/ 10468818 w 11625583"/>
              <a:gd name="connsiteY4201" fmla="*/ 1287791 h 6380470"/>
              <a:gd name="connsiteX4202" fmla="*/ 10312244 w 11625583"/>
              <a:gd name="connsiteY4202" fmla="*/ 1287791 h 6380470"/>
              <a:gd name="connsiteX4203" fmla="*/ 10376910 w 11625583"/>
              <a:gd name="connsiteY4203" fmla="*/ 1352456 h 6380470"/>
              <a:gd name="connsiteX4204" fmla="*/ 10312244 w 11625583"/>
              <a:gd name="connsiteY4204" fmla="*/ 1417123 h 6380470"/>
              <a:gd name="connsiteX4205" fmla="*/ 10247578 w 11625583"/>
              <a:gd name="connsiteY4205" fmla="*/ 1352456 h 6380470"/>
              <a:gd name="connsiteX4206" fmla="*/ 10312244 w 11625583"/>
              <a:gd name="connsiteY4206" fmla="*/ 1287791 h 6380470"/>
              <a:gd name="connsiteX4207" fmla="*/ 10159586 w 11625583"/>
              <a:gd name="connsiteY4207" fmla="*/ 1287791 h 6380470"/>
              <a:gd name="connsiteX4208" fmla="*/ 10224252 w 11625583"/>
              <a:gd name="connsiteY4208" fmla="*/ 1352456 h 6380470"/>
              <a:gd name="connsiteX4209" fmla="*/ 10159586 w 11625583"/>
              <a:gd name="connsiteY4209" fmla="*/ 1417123 h 6380470"/>
              <a:gd name="connsiteX4210" fmla="*/ 10094920 w 11625583"/>
              <a:gd name="connsiteY4210" fmla="*/ 1352456 h 6380470"/>
              <a:gd name="connsiteX4211" fmla="*/ 10159586 w 11625583"/>
              <a:gd name="connsiteY4211" fmla="*/ 1287791 h 6380470"/>
              <a:gd name="connsiteX4212" fmla="*/ 10003015 w 11625583"/>
              <a:gd name="connsiteY4212" fmla="*/ 1287791 h 6380470"/>
              <a:gd name="connsiteX4213" fmla="*/ 10067681 w 11625583"/>
              <a:gd name="connsiteY4213" fmla="*/ 1352456 h 6380470"/>
              <a:gd name="connsiteX4214" fmla="*/ 10003015 w 11625583"/>
              <a:gd name="connsiteY4214" fmla="*/ 1417123 h 6380470"/>
              <a:gd name="connsiteX4215" fmla="*/ 9938349 w 11625583"/>
              <a:gd name="connsiteY4215" fmla="*/ 1352456 h 6380470"/>
              <a:gd name="connsiteX4216" fmla="*/ 10003015 w 11625583"/>
              <a:gd name="connsiteY4216" fmla="*/ 1287791 h 6380470"/>
              <a:gd name="connsiteX4217" fmla="*/ 9850355 w 11625583"/>
              <a:gd name="connsiteY4217" fmla="*/ 1287791 h 6380470"/>
              <a:gd name="connsiteX4218" fmla="*/ 9915021 w 11625583"/>
              <a:gd name="connsiteY4218" fmla="*/ 1352456 h 6380470"/>
              <a:gd name="connsiteX4219" fmla="*/ 9850355 w 11625583"/>
              <a:gd name="connsiteY4219" fmla="*/ 1417123 h 6380470"/>
              <a:gd name="connsiteX4220" fmla="*/ 9785689 w 11625583"/>
              <a:gd name="connsiteY4220" fmla="*/ 1352456 h 6380470"/>
              <a:gd name="connsiteX4221" fmla="*/ 9850355 w 11625583"/>
              <a:gd name="connsiteY4221" fmla="*/ 1287791 h 6380470"/>
              <a:gd name="connsiteX4222" fmla="*/ 9693780 w 11625583"/>
              <a:gd name="connsiteY4222" fmla="*/ 1287791 h 6380470"/>
              <a:gd name="connsiteX4223" fmla="*/ 9758446 w 11625583"/>
              <a:gd name="connsiteY4223" fmla="*/ 1352456 h 6380470"/>
              <a:gd name="connsiteX4224" fmla="*/ 9693780 w 11625583"/>
              <a:gd name="connsiteY4224" fmla="*/ 1417123 h 6380470"/>
              <a:gd name="connsiteX4225" fmla="*/ 9629114 w 11625583"/>
              <a:gd name="connsiteY4225" fmla="*/ 1352456 h 6380470"/>
              <a:gd name="connsiteX4226" fmla="*/ 9693780 w 11625583"/>
              <a:gd name="connsiteY4226" fmla="*/ 1287791 h 6380470"/>
              <a:gd name="connsiteX4227" fmla="*/ 9541122 w 11625583"/>
              <a:gd name="connsiteY4227" fmla="*/ 1287791 h 6380470"/>
              <a:gd name="connsiteX4228" fmla="*/ 9605788 w 11625583"/>
              <a:gd name="connsiteY4228" fmla="*/ 1352456 h 6380470"/>
              <a:gd name="connsiteX4229" fmla="*/ 9541122 w 11625583"/>
              <a:gd name="connsiteY4229" fmla="*/ 1417123 h 6380470"/>
              <a:gd name="connsiteX4230" fmla="*/ 9476456 w 11625583"/>
              <a:gd name="connsiteY4230" fmla="*/ 1352456 h 6380470"/>
              <a:gd name="connsiteX4231" fmla="*/ 9541122 w 11625583"/>
              <a:gd name="connsiteY4231" fmla="*/ 1287791 h 6380470"/>
              <a:gd name="connsiteX4232" fmla="*/ 9384549 w 11625583"/>
              <a:gd name="connsiteY4232" fmla="*/ 1287791 h 6380470"/>
              <a:gd name="connsiteX4233" fmla="*/ 9449215 w 11625583"/>
              <a:gd name="connsiteY4233" fmla="*/ 1352456 h 6380470"/>
              <a:gd name="connsiteX4234" fmla="*/ 9384549 w 11625583"/>
              <a:gd name="connsiteY4234" fmla="*/ 1417123 h 6380470"/>
              <a:gd name="connsiteX4235" fmla="*/ 9319883 w 11625583"/>
              <a:gd name="connsiteY4235" fmla="*/ 1352456 h 6380470"/>
              <a:gd name="connsiteX4236" fmla="*/ 9384549 w 11625583"/>
              <a:gd name="connsiteY4236" fmla="*/ 1287791 h 6380470"/>
              <a:gd name="connsiteX4237" fmla="*/ 9227976 w 11625583"/>
              <a:gd name="connsiteY4237" fmla="*/ 1287791 h 6380470"/>
              <a:gd name="connsiteX4238" fmla="*/ 9292642 w 11625583"/>
              <a:gd name="connsiteY4238" fmla="*/ 1352456 h 6380470"/>
              <a:gd name="connsiteX4239" fmla="*/ 9227976 w 11625583"/>
              <a:gd name="connsiteY4239" fmla="*/ 1417123 h 6380470"/>
              <a:gd name="connsiteX4240" fmla="*/ 9163310 w 11625583"/>
              <a:gd name="connsiteY4240" fmla="*/ 1352456 h 6380470"/>
              <a:gd name="connsiteX4241" fmla="*/ 9227976 w 11625583"/>
              <a:gd name="connsiteY4241" fmla="*/ 1287791 h 6380470"/>
              <a:gd name="connsiteX4242" fmla="*/ 9075316 w 11625583"/>
              <a:gd name="connsiteY4242" fmla="*/ 1287791 h 6380470"/>
              <a:gd name="connsiteX4243" fmla="*/ 9139982 w 11625583"/>
              <a:gd name="connsiteY4243" fmla="*/ 1352456 h 6380470"/>
              <a:gd name="connsiteX4244" fmla="*/ 9075316 w 11625583"/>
              <a:gd name="connsiteY4244" fmla="*/ 1417123 h 6380470"/>
              <a:gd name="connsiteX4245" fmla="*/ 9010650 w 11625583"/>
              <a:gd name="connsiteY4245" fmla="*/ 1352456 h 6380470"/>
              <a:gd name="connsiteX4246" fmla="*/ 9075316 w 11625583"/>
              <a:gd name="connsiteY4246" fmla="*/ 1287791 h 6380470"/>
              <a:gd name="connsiteX4247" fmla="*/ 8914828 w 11625583"/>
              <a:gd name="connsiteY4247" fmla="*/ 1287791 h 6380470"/>
              <a:gd name="connsiteX4248" fmla="*/ 8979494 w 11625583"/>
              <a:gd name="connsiteY4248" fmla="*/ 1352456 h 6380470"/>
              <a:gd name="connsiteX4249" fmla="*/ 8914828 w 11625583"/>
              <a:gd name="connsiteY4249" fmla="*/ 1417123 h 6380470"/>
              <a:gd name="connsiteX4250" fmla="*/ 8850162 w 11625583"/>
              <a:gd name="connsiteY4250" fmla="*/ 1352456 h 6380470"/>
              <a:gd name="connsiteX4251" fmla="*/ 8914828 w 11625583"/>
              <a:gd name="connsiteY4251" fmla="*/ 1287791 h 6380470"/>
              <a:gd name="connsiteX4252" fmla="*/ 8766084 w 11625583"/>
              <a:gd name="connsiteY4252" fmla="*/ 1287791 h 6380470"/>
              <a:gd name="connsiteX4253" fmla="*/ 8830750 w 11625583"/>
              <a:gd name="connsiteY4253" fmla="*/ 1352456 h 6380470"/>
              <a:gd name="connsiteX4254" fmla="*/ 8766084 w 11625583"/>
              <a:gd name="connsiteY4254" fmla="*/ 1417123 h 6380470"/>
              <a:gd name="connsiteX4255" fmla="*/ 8701418 w 11625583"/>
              <a:gd name="connsiteY4255" fmla="*/ 1352456 h 6380470"/>
              <a:gd name="connsiteX4256" fmla="*/ 8766084 w 11625583"/>
              <a:gd name="connsiteY4256" fmla="*/ 1287791 h 6380470"/>
              <a:gd name="connsiteX4257" fmla="*/ 8601682 w 11625583"/>
              <a:gd name="connsiteY4257" fmla="*/ 1287791 h 6380470"/>
              <a:gd name="connsiteX4258" fmla="*/ 8666348 w 11625583"/>
              <a:gd name="connsiteY4258" fmla="*/ 1352456 h 6380470"/>
              <a:gd name="connsiteX4259" fmla="*/ 8601682 w 11625583"/>
              <a:gd name="connsiteY4259" fmla="*/ 1417123 h 6380470"/>
              <a:gd name="connsiteX4260" fmla="*/ 8537016 w 11625583"/>
              <a:gd name="connsiteY4260" fmla="*/ 1352456 h 6380470"/>
              <a:gd name="connsiteX4261" fmla="*/ 8601682 w 11625583"/>
              <a:gd name="connsiteY4261" fmla="*/ 1287791 h 6380470"/>
              <a:gd name="connsiteX4262" fmla="*/ 8449023 w 11625583"/>
              <a:gd name="connsiteY4262" fmla="*/ 1287791 h 6380470"/>
              <a:gd name="connsiteX4263" fmla="*/ 8513689 w 11625583"/>
              <a:gd name="connsiteY4263" fmla="*/ 1352456 h 6380470"/>
              <a:gd name="connsiteX4264" fmla="*/ 8449023 w 11625583"/>
              <a:gd name="connsiteY4264" fmla="*/ 1417123 h 6380470"/>
              <a:gd name="connsiteX4265" fmla="*/ 8384357 w 11625583"/>
              <a:gd name="connsiteY4265" fmla="*/ 1352456 h 6380470"/>
              <a:gd name="connsiteX4266" fmla="*/ 8449023 w 11625583"/>
              <a:gd name="connsiteY4266" fmla="*/ 1287791 h 6380470"/>
              <a:gd name="connsiteX4267" fmla="*/ 8296365 w 11625583"/>
              <a:gd name="connsiteY4267" fmla="*/ 1287791 h 6380470"/>
              <a:gd name="connsiteX4268" fmla="*/ 8361031 w 11625583"/>
              <a:gd name="connsiteY4268" fmla="*/ 1352456 h 6380470"/>
              <a:gd name="connsiteX4269" fmla="*/ 8296365 w 11625583"/>
              <a:gd name="connsiteY4269" fmla="*/ 1417123 h 6380470"/>
              <a:gd name="connsiteX4270" fmla="*/ 8231699 w 11625583"/>
              <a:gd name="connsiteY4270" fmla="*/ 1352456 h 6380470"/>
              <a:gd name="connsiteX4271" fmla="*/ 8296365 w 11625583"/>
              <a:gd name="connsiteY4271" fmla="*/ 1287791 h 6380470"/>
              <a:gd name="connsiteX4272" fmla="*/ 8139790 w 11625583"/>
              <a:gd name="connsiteY4272" fmla="*/ 1287791 h 6380470"/>
              <a:gd name="connsiteX4273" fmla="*/ 8204456 w 11625583"/>
              <a:gd name="connsiteY4273" fmla="*/ 1352456 h 6380470"/>
              <a:gd name="connsiteX4274" fmla="*/ 8139790 w 11625583"/>
              <a:gd name="connsiteY4274" fmla="*/ 1417123 h 6380470"/>
              <a:gd name="connsiteX4275" fmla="*/ 8075124 w 11625583"/>
              <a:gd name="connsiteY4275" fmla="*/ 1352456 h 6380470"/>
              <a:gd name="connsiteX4276" fmla="*/ 8139790 w 11625583"/>
              <a:gd name="connsiteY4276" fmla="*/ 1287791 h 6380470"/>
              <a:gd name="connsiteX4277" fmla="*/ 7987132 w 11625583"/>
              <a:gd name="connsiteY4277" fmla="*/ 1287791 h 6380470"/>
              <a:gd name="connsiteX4278" fmla="*/ 8051798 w 11625583"/>
              <a:gd name="connsiteY4278" fmla="*/ 1352456 h 6380470"/>
              <a:gd name="connsiteX4279" fmla="*/ 7987132 w 11625583"/>
              <a:gd name="connsiteY4279" fmla="*/ 1417123 h 6380470"/>
              <a:gd name="connsiteX4280" fmla="*/ 7922466 w 11625583"/>
              <a:gd name="connsiteY4280" fmla="*/ 1352456 h 6380470"/>
              <a:gd name="connsiteX4281" fmla="*/ 7987132 w 11625583"/>
              <a:gd name="connsiteY4281" fmla="*/ 1287791 h 6380470"/>
              <a:gd name="connsiteX4282" fmla="*/ 7830560 w 11625583"/>
              <a:gd name="connsiteY4282" fmla="*/ 1287791 h 6380470"/>
              <a:gd name="connsiteX4283" fmla="*/ 7895226 w 11625583"/>
              <a:gd name="connsiteY4283" fmla="*/ 1352456 h 6380470"/>
              <a:gd name="connsiteX4284" fmla="*/ 7830560 w 11625583"/>
              <a:gd name="connsiteY4284" fmla="*/ 1417123 h 6380470"/>
              <a:gd name="connsiteX4285" fmla="*/ 7765894 w 11625583"/>
              <a:gd name="connsiteY4285" fmla="*/ 1352456 h 6380470"/>
              <a:gd name="connsiteX4286" fmla="*/ 7830560 w 11625583"/>
              <a:gd name="connsiteY4286" fmla="*/ 1287791 h 6380470"/>
              <a:gd name="connsiteX4287" fmla="*/ 7677900 w 11625583"/>
              <a:gd name="connsiteY4287" fmla="*/ 1287791 h 6380470"/>
              <a:gd name="connsiteX4288" fmla="*/ 7742566 w 11625583"/>
              <a:gd name="connsiteY4288" fmla="*/ 1352456 h 6380470"/>
              <a:gd name="connsiteX4289" fmla="*/ 7677900 w 11625583"/>
              <a:gd name="connsiteY4289" fmla="*/ 1417123 h 6380470"/>
              <a:gd name="connsiteX4290" fmla="*/ 7613234 w 11625583"/>
              <a:gd name="connsiteY4290" fmla="*/ 1352456 h 6380470"/>
              <a:gd name="connsiteX4291" fmla="*/ 7677900 w 11625583"/>
              <a:gd name="connsiteY4291" fmla="*/ 1287791 h 6380470"/>
              <a:gd name="connsiteX4292" fmla="*/ 7521327 w 11625583"/>
              <a:gd name="connsiteY4292" fmla="*/ 1287791 h 6380470"/>
              <a:gd name="connsiteX4293" fmla="*/ 7585993 w 11625583"/>
              <a:gd name="connsiteY4293" fmla="*/ 1352456 h 6380470"/>
              <a:gd name="connsiteX4294" fmla="*/ 7521327 w 11625583"/>
              <a:gd name="connsiteY4294" fmla="*/ 1417123 h 6380470"/>
              <a:gd name="connsiteX4295" fmla="*/ 7456661 w 11625583"/>
              <a:gd name="connsiteY4295" fmla="*/ 1352456 h 6380470"/>
              <a:gd name="connsiteX4296" fmla="*/ 7521327 w 11625583"/>
              <a:gd name="connsiteY4296" fmla="*/ 1287791 h 6380470"/>
              <a:gd name="connsiteX4297" fmla="*/ 7368667 w 11625583"/>
              <a:gd name="connsiteY4297" fmla="*/ 1287791 h 6380470"/>
              <a:gd name="connsiteX4298" fmla="*/ 7433333 w 11625583"/>
              <a:gd name="connsiteY4298" fmla="*/ 1352456 h 6380470"/>
              <a:gd name="connsiteX4299" fmla="*/ 7368667 w 11625583"/>
              <a:gd name="connsiteY4299" fmla="*/ 1417123 h 6380470"/>
              <a:gd name="connsiteX4300" fmla="*/ 7304001 w 11625583"/>
              <a:gd name="connsiteY4300" fmla="*/ 1352456 h 6380470"/>
              <a:gd name="connsiteX4301" fmla="*/ 7368667 w 11625583"/>
              <a:gd name="connsiteY4301" fmla="*/ 1287791 h 6380470"/>
              <a:gd name="connsiteX4302" fmla="*/ 7212094 w 11625583"/>
              <a:gd name="connsiteY4302" fmla="*/ 1287791 h 6380470"/>
              <a:gd name="connsiteX4303" fmla="*/ 7276760 w 11625583"/>
              <a:gd name="connsiteY4303" fmla="*/ 1352456 h 6380470"/>
              <a:gd name="connsiteX4304" fmla="*/ 7212094 w 11625583"/>
              <a:gd name="connsiteY4304" fmla="*/ 1417123 h 6380470"/>
              <a:gd name="connsiteX4305" fmla="*/ 7147428 w 11625583"/>
              <a:gd name="connsiteY4305" fmla="*/ 1352456 h 6380470"/>
              <a:gd name="connsiteX4306" fmla="*/ 7212094 w 11625583"/>
              <a:gd name="connsiteY4306" fmla="*/ 1287791 h 6380470"/>
              <a:gd name="connsiteX4307" fmla="*/ 7055521 w 11625583"/>
              <a:gd name="connsiteY4307" fmla="*/ 1287791 h 6380470"/>
              <a:gd name="connsiteX4308" fmla="*/ 7120187 w 11625583"/>
              <a:gd name="connsiteY4308" fmla="*/ 1352456 h 6380470"/>
              <a:gd name="connsiteX4309" fmla="*/ 7055521 w 11625583"/>
              <a:gd name="connsiteY4309" fmla="*/ 1417123 h 6380470"/>
              <a:gd name="connsiteX4310" fmla="*/ 6990855 w 11625583"/>
              <a:gd name="connsiteY4310" fmla="*/ 1352456 h 6380470"/>
              <a:gd name="connsiteX4311" fmla="*/ 7055521 w 11625583"/>
              <a:gd name="connsiteY4311" fmla="*/ 1287791 h 6380470"/>
              <a:gd name="connsiteX4312" fmla="*/ 6895035 w 11625583"/>
              <a:gd name="connsiteY4312" fmla="*/ 1287791 h 6380470"/>
              <a:gd name="connsiteX4313" fmla="*/ 6959701 w 11625583"/>
              <a:gd name="connsiteY4313" fmla="*/ 1352456 h 6380470"/>
              <a:gd name="connsiteX4314" fmla="*/ 6895035 w 11625583"/>
              <a:gd name="connsiteY4314" fmla="*/ 1417123 h 6380470"/>
              <a:gd name="connsiteX4315" fmla="*/ 6830369 w 11625583"/>
              <a:gd name="connsiteY4315" fmla="*/ 1352456 h 6380470"/>
              <a:gd name="connsiteX4316" fmla="*/ 6895035 w 11625583"/>
              <a:gd name="connsiteY4316" fmla="*/ 1287791 h 6380470"/>
              <a:gd name="connsiteX4317" fmla="*/ 6742375 w 11625583"/>
              <a:gd name="connsiteY4317" fmla="*/ 1287791 h 6380470"/>
              <a:gd name="connsiteX4318" fmla="*/ 6807041 w 11625583"/>
              <a:gd name="connsiteY4318" fmla="*/ 1352456 h 6380470"/>
              <a:gd name="connsiteX4319" fmla="*/ 6742375 w 11625583"/>
              <a:gd name="connsiteY4319" fmla="*/ 1417123 h 6380470"/>
              <a:gd name="connsiteX4320" fmla="*/ 6677709 w 11625583"/>
              <a:gd name="connsiteY4320" fmla="*/ 1352456 h 6380470"/>
              <a:gd name="connsiteX4321" fmla="*/ 6742375 w 11625583"/>
              <a:gd name="connsiteY4321" fmla="*/ 1287791 h 6380470"/>
              <a:gd name="connsiteX4322" fmla="*/ 6585801 w 11625583"/>
              <a:gd name="connsiteY4322" fmla="*/ 1287791 h 6380470"/>
              <a:gd name="connsiteX4323" fmla="*/ 6650467 w 11625583"/>
              <a:gd name="connsiteY4323" fmla="*/ 1352456 h 6380470"/>
              <a:gd name="connsiteX4324" fmla="*/ 6585801 w 11625583"/>
              <a:gd name="connsiteY4324" fmla="*/ 1417123 h 6380470"/>
              <a:gd name="connsiteX4325" fmla="*/ 6521135 w 11625583"/>
              <a:gd name="connsiteY4325" fmla="*/ 1352456 h 6380470"/>
              <a:gd name="connsiteX4326" fmla="*/ 6585801 w 11625583"/>
              <a:gd name="connsiteY4326" fmla="*/ 1287791 h 6380470"/>
              <a:gd name="connsiteX4327" fmla="*/ 6429228 w 11625583"/>
              <a:gd name="connsiteY4327" fmla="*/ 1287791 h 6380470"/>
              <a:gd name="connsiteX4328" fmla="*/ 6493894 w 11625583"/>
              <a:gd name="connsiteY4328" fmla="*/ 1352456 h 6380470"/>
              <a:gd name="connsiteX4329" fmla="*/ 6429228 w 11625583"/>
              <a:gd name="connsiteY4329" fmla="*/ 1417123 h 6380470"/>
              <a:gd name="connsiteX4330" fmla="*/ 6364562 w 11625583"/>
              <a:gd name="connsiteY4330" fmla="*/ 1352456 h 6380470"/>
              <a:gd name="connsiteX4331" fmla="*/ 6429228 w 11625583"/>
              <a:gd name="connsiteY4331" fmla="*/ 1287791 h 6380470"/>
              <a:gd name="connsiteX4332" fmla="*/ 6276569 w 11625583"/>
              <a:gd name="connsiteY4332" fmla="*/ 1287791 h 6380470"/>
              <a:gd name="connsiteX4333" fmla="*/ 6341235 w 11625583"/>
              <a:gd name="connsiteY4333" fmla="*/ 1352456 h 6380470"/>
              <a:gd name="connsiteX4334" fmla="*/ 6276569 w 11625583"/>
              <a:gd name="connsiteY4334" fmla="*/ 1417123 h 6380470"/>
              <a:gd name="connsiteX4335" fmla="*/ 6211903 w 11625583"/>
              <a:gd name="connsiteY4335" fmla="*/ 1352456 h 6380470"/>
              <a:gd name="connsiteX4336" fmla="*/ 6276569 w 11625583"/>
              <a:gd name="connsiteY4336" fmla="*/ 1287791 h 6380470"/>
              <a:gd name="connsiteX4337" fmla="*/ 5967336 w 11625583"/>
              <a:gd name="connsiteY4337" fmla="*/ 1287791 h 6380470"/>
              <a:gd name="connsiteX4338" fmla="*/ 6032002 w 11625583"/>
              <a:gd name="connsiteY4338" fmla="*/ 1352456 h 6380470"/>
              <a:gd name="connsiteX4339" fmla="*/ 5967336 w 11625583"/>
              <a:gd name="connsiteY4339" fmla="*/ 1417123 h 6380470"/>
              <a:gd name="connsiteX4340" fmla="*/ 5902670 w 11625583"/>
              <a:gd name="connsiteY4340" fmla="*/ 1352456 h 6380470"/>
              <a:gd name="connsiteX4341" fmla="*/ 5967336 w 11625583"/>
              <a:gd name="connsiteY4341" fmla="*/ 1287791 h 6380470"/>
              <a:gd name="connsiteX4342" fmla="*/ 5810805 w 11625583"/>
              <a:gd name="connsiteY4342" fmla="*/ 1287791 h 6380470"/>
              <a:gd name="connsiteX4343" fmla="*/ 5875429 w 11625583"/>
              <a:gd name="connsiteY4343" fmla="*/ 1352456 h 6380470"/>
              <a:gd name="connsiteX4344" fmla="*/ 5810805 w 11625583"/>
              <a:gd name="connsiteY4344" fmla="*/ 1417123 h 6380470"/>
              <a:gd name="connsiteX4345" fmla="*/ 5746117 w 11625583"/>
              <a:gd name="connsiteY4345" fmla="*/ 1352456 h 6380470"/>
              <a:gd name="connsiteX4346" fmla="*/ 5810805 w 11625583"/>
              <a:gd name="connsiteY4346" fmla="*/ 1287791 h 6380470"/>
              <a:gd name="connsiteX4347" fmla="*/ 5658107 w 11625583"/>
              <a:gd name="connsiteY4347" fmla="*/ 1287791 h 6380470"/>
              <a:gd name="connsiteX4348" fmla="*/ 5722783 w 11625583"/>
              <a:gd name="connsiteY4348" fmla="*/ 1352456 h 6380470"/>
              <a:gd name="connsiteX4349" fmla="*/ 5658107 w 11625583"/>
              <a:gd name="connsiteY4349" fmla="*/ 1417123 h 6380470"/>
              <a:gd name="connsiteX4350" fmla="*/ 5593441 w 11625583"/>
              <a:gd name="connsiteY4350" fmla="*/ 1352456 h 6380470"/>
              <a:gd name="connsiteX4351" fmla="*/ 5658107 w 11625583"/>
              <a:gd name="connsiteY4351" fmla="*/ 1287791 h 6380470"/>
              <a:gd name="connsiteX4352" fmla="*/ 4100247 w 11625583"/>
              <a:gd name="connsiteY4352" fmla="*/ 1287791 h 6380470"/>
              <a:gd name="connsiteX4353" fmla="*/ 4164920 w 11625583"/>
              <a:gd name="connsiteY4353" fmla="*/ 1352456 h 6380470"/>
              <a:gd name="connsiteX4354" fmla="*/ 4100247 w 11625583"/>
              <a:gd name="connsiteY4354" fmla="*/ 1417123 h 6380470"/>
              <a:gd name="connsiteX4355" fmla="*/ 4035590 w 11625583"/>
              <a:gd name="connsiteY4355" fmla="*/ 1352456 h 6380470"/>
              <a:gd name="connsiteX4356" fmla="*/ 4100247 w 11625583"/>
              <a:gd name="connsiteY4356" fmla="*/ 1287791 h 6380470"/>
              <a:gd name="connsiteX4357" fmla="*/ 3012132 w 11625583"/>
              <a:gd name="connsiteY4357" fmla="*/ 1287791 h 6380470"/>
              <a:gd name="connsiteX4358" fmla="*/ 3076802 w 11625583"/>
              <a:gd name="connsiteY4358" fmla="*/ 1352456 h 6380470"/>
              <a:gd name="connsiteX4359" fmla="*/ 3012132 w 11625583"/>
              <a:gd name="connsiteY4359" fmla="*/ 1417123 h 6380470"/>
              <a:gd name="connsiteX4360" fmla="*/ 2947475 w 11625583"/>
              <a:gd name="connsiteY4360" fmla="*/ 1352456 h 6380470"/>
              <a:gd name="connsiteX4361" fmla="*/ 3012132 w 11625583"/>
              <a:gd name="connsiteY4361" fmla="*/ 1287791 h 6380470"/>
              <a:gd name="connsiteX4362" fmla="*/ 2389823 w 11625583"/>
              <a:gd name="connsiteY4362" fmla="*/ 1287791 h 6380470"/>
              <a:gd name="connsiteX4363" fmla="*/ 2454505 w 11625583"/>
              <a:gd name="connsiteY4363" fmla="*/ 1352456 h 6380470"/>
              <a:gd name="connsiteX4364" fmla="*/ 2389823 w 11625583"/>
              <a:gd name="connsiteY4364" fmla="*/ 1417123 h 6380470"/>
              <a:gd name="connsiteX4365" fmla="*/ 2325168 w 11625583"/>
              <a:gd name="connsiteY4365" fmla="*/ 1352456 h 6380470"/>
              <a:gd name="connsiteX4366" fmla="*/ 2389823 w 11625583"/>
              <a:gd name="connsiteY4366" fmla="*/ 1287791 h 6380470"/>
              <a:gd name="connsiteX4367" fmla="*/ 2237146 w 11625583"/>
              <a:gd name="connsiteY4367" fmla="*/ 1287791 h 6380470"/>
              <a:gd name="connsiteX4368" fmla="*/ 2301833 w 11625583"/>
              <a:gd name="connsiteY4368" fmla="*/ 1352456 h 6380470"/>
              <a:gd name="connsiteX4369" fmla="*/ 2237146 w 11625583"/>
              <a:gd name="connsiteY4369" fmla="*/ 1417123 h 6380470"/>
              <a:gd name="connsiteX4370" fmla="*/ 2172460 w 11625583"/>
              <a:gd name="connsiteY4370" fmla="*/ 1352456 h 6380470"/>
              <a:gd name="connsiteX4371" fmla="*/ 2237146 w 11625583"/>
              <a:gd name="connsiteY4371" fmla="*/ 1287791 h 6380470"/>
              <a:gd name="connsiteX4372" fmla="*/ 2084466 w 11625583"/>
              <a:gd name="connsiteY4372" fmla="*/ 1287791 h 6380470"/>
              <a:gd name="connsiteX4373" fmla="*/ 2149126 w 11625583"/>
              <a:gd name="connsiteY4373" fmla="*/ 1352456 h 6380470"/>
              <a:gd name="connsiteX4374" fmla="*/ 2084466 w 11625583"/>
              <a:gd name="connsiteY4374" fmla="*/ 1417123 h 6380470"/>
              <a:gd name="connsiteX4375" fmla="*/ 2019823 w 11625583"/>
              <a:gd name="connsiteY4375" fmla="*/ 1352456 h 6380470"/>
              <a:gd name="connsiteX4376" fmla="*/ 2084466 w 11625583"/>
              <a:gd name="connsiteY4376" fmla="*/ 1287791 h 6380470"/>
              <a:gd name="connsiteX4377" fmla="*/ 1927872 w 11625583"/>
              <a:gd name="connsiteY4377" fmla="*/ 1287791 h 6380470"/>
              <a:gd name="connsiteX4378" fmla="*/ 1992567 w 11625583"/>
              <a:gd name="connsiteY4378" fmla="*/ 1352456 h 6380470"/>
              <a:gd name="connsiteX4379" fmla="*/ 1927872 w 11625583"/>
              <a:gd name="connsiteY4379" fmla="*/ 1417123 h 6380470"/>
              <a:gd name="connsiteX4380" fmla="*/ 1863242 w 11625583"/>
              <a:gd name="connsiteY4380" fmla="*/ 1352456 h 6380470"/>
              <a:gd name="connsiteX4381" fmla="*/ 1927872 w 11625583"/>
              <a:gd name="connsiteY4381" fmla="*/ 1287791 h 6380470"/>
              <a:gd name="connsiteX4382" fmla="*/ 1775228 w 11625583"/>
              <a:gd name="connsiteY4382" fmla="*/ 1287791 h 6380470"/>
              <a:gd name="connsiteX4383" fmla="*/ 1839912 w 11625583"/>
              <a:gd name="connsiteY4383" fmla="*/ 1352456 h 6380470"/>
              <a:gd name="connsiteX4384" fmla="*/ 1775228 w 11625583"/>
              <a:gd name="connsiteY4384" fmla="*/ 1417123 h 6380470"/>
              <a:gd name="connsiteX4385" fmla="*/ 1710556 w 11625583"/>
              <a:gd name="connsiteY4385" fmla="*/ 1352456 h 6380470"/>
              <a:gd name="connsiteX4386" fmla="*/ 1775228 w 11625583"/>
              <a:gd name="connsiteY4386" fmla="*/ 1287791 h 6380470"/>
              <a:gd name="connsiteX4387" fmla="*/ 1618644 w 11625583"/>
              <a:gd name="connsiteY4387" fmla="*/ 1287791 h 6380470"/>
              <a:gd name="connsiteX4388" fmla="*/ 1683314 w 11625583"/>
              <a:gd name="connsiteY4388" fmla="*/ 1352456 h 6380470"/>
              <a:gd name="connsiteX4389" fmla="*/ 1618644 w 11625583"/>
              <a:gd name="connsiteY4389" fmla="*/ 1417123 h 6380470"/>
              <a:gd name="connsiteX4390" fmla="*/ 1553981 w 11625583"/>
              <a:gd name="connsiteY4390" fmla="*/ 1352456 h 6380470"/>
              <a:gd name="connsiteX4391" fmla="*/ 1618644 w 11625583"/>
              <a:gd name="connsiteY4391" fmla="*/ 1287791 h 6380470"/>
              <a:gd name="connsiteX4392" fmla="*/ 1465988 w 11625583"/>
              <a:gd name="connsiteY4392" fmla="*/ 1287791 h 6380470"/>
              <a:gd name="connsiteX4393" fmla="*/ 1530654 w 11625583"/>
              <a:gd name="connsiteY4393" fmla="*/ 1352456 h 6380470"/>
              <a:gd name="connsiteX4394" fmla="*/ 1465988 w 11625583"/>
              <a:gd name="connsiteY4394" fmla="*/ 1417123 h 6380470"/>
              <a:gd name="connsiteX4395" fmla="*/ 1401325 w 11625583"/>
              <a:gd name="connsiteY4395" fmla="*/ 1352456 h 6380470"/>
              <a:gd name="connsiteX4396" fmla="*/ 1465988 w 11625583"/>
              <a:gd name="connsiteY4396" fmla="*/ 1287791 h 6380470"/>
              <a:gd name="connsiteX4397" fmla="*/ 1309415 w 11625583"/>
              <a:gd name="connsiteY4397" fmla="*/ 1287791 h 6380470"/>
              <a:gd name="connsiteX4398" fmla="*/ 1374081 w 11625583"/>
              <a:gd name="connsiteY4398" fmla="*/ 1352456 h 6380470"/>
              <a:gd name="connsiteX4399" fmla="*/ 1309415 w 11625583"/>
              <a:gd name="connsiteY4399" fmla="*/ 1417123 h 6380470"/>
              <a:gd name="connsiteX4400" fmla="*/ 1244749 w 11625583"/>
              <a:gd name="connsiteY4400" fmla="*/ 1352456 h 6380470"/>
              <a:gd name="connsiteX4401" fmla="*/ 1309415 w 11625583"/>
              <a:gd name="connsiteY4401" fmla="*/ 1287791 h 6380470"/>
              <a:gd name="connsiteX4402" fmla="*/ 1148931 w 11625583"/>
              <a:gd name="connsiteY4402" fmla="*/ 1287791 h 6380470"/>
              <a:gd name="connsiteX4403" fmla="*/ 1213596 w 11625583"/>
              <a:gd name="connsiteY4403" fmla="*/ 1352456 h 6380470"/>
              <a:gd name="connsiteX4404" fmla="*/ 1148931 w 11625583"/>
              <a:gd name="connsiteY4404" fmla="*/ 1417123 h 6380470"/>
              <a:gd name="connsiteX4405" fmla="*/ 1084266 w 11625583"/>
              <a:gd name="connsiteY4405" fmla="*/ 1352456 h 6380470"/>
              <a:gd name="connsiteX4406" fmla="*/ 1148931 w 11625583"/>
              <a:gd name="connsiteY4406" fmla="*/ 1287791 h 6380470"/>
              <a:gd name="connsiteX4407" fmla="*/ 992358 w 11625583"/>
              <a:gd name="connsiteY4407" fmla="*/ 1287791 h 6380470"/>
              <a:gd name="connsiteX4408" fmla="*/ 1057023 w 11625583"/>
              <a:gd name="connsiteY4408" fmla="*/ 1352456 h 6380470"/>
              <a:gd name="connsiteX4409" fmla="*/ 992358 w 11625583"/>
              <a:gd name="connsiteY4409" fmla="*/ 1417123 h 6380470"/>
              <a:gd name="connsiteX4410" fmla="*/ 927693 w 11625583"/>
              <a:gd name="connsiteY4410" fmla="*/ 1352456 h 6380470"/>
              <a:gd name="connsiteX4411" fmla="*/ 992358 w 11625583"/>
              <a:gd name="connsiteY4411" fmla="*/ 1287791 h 6380470"/>
              <a:gd name="connsiteX4412" fmla="*/ 839701 w 11625583"/>
              <a:gd name="connsiteY4412" fmla="*/ 1287791 h 6380470"/>
              <a:gd name="connsiteX4413" fmla="*/ 904366 w 11625583"/>
              <a:gd name="connsiteY4413" fmla="*/ 1352456 h 6380470"/>
              <a:gd name="connsiteX4414" fmla="*/ 839701 w 11625583"/>
              <a:gd name="connsiteY4414" fmla="*/ 1417123 h 6380470"/>
              <a:gd name="connsiteX4415" fmla="*/ 775036 w 11625583"/>
              <a:gd name="connsiteY4415" fmla="*/ 1352456 h 6380470"/>
              <a:gd name="connsiteX4416" fmla="*/ 839701 w 11625583"/>
              <a:gd name="connsiteY4416" fmla="*/ 1287791 h 6380470"/>
              <a:gd name="connsiteX4417" fmla="*/ 683129 w 11625583"/>
              <a:gd name="connsiteY4417" fmla="*/ 1287791 h 6380470"/>
              <a:gd name="connsiteX4418" fmla="*/ 747795 w 11625583"/>
              <a:gd name="connsiteY4418" fmla="*/ 1352456 h 6380470"/>
              <a:gd name="connsiteX4419" fmla="*/ 683129 w 11625583"/>
              <a:gd name="connsiteY4419" fmla="*/ 1417123 h 6380470"/>
              <a:gd name="connsiteX4420" fmla="*/ 618464 w 11625583"/>
              <a:gd name="connsiteY4420" fmla="*/ 1352456 h 6380470"/>
              <a:gd name="connsiteX4421" fmla="*/ 683129 w 11625583"/>
              <a:gd name="connsiteY4421" fmla="*/ 1287791 h 6380470"/>
              <a:gd name="connsiteX4422" fmla="*/ 526550 w 11625583"/>
              <a:gd name="connsiteY4422" fmla="*/ 1287791 h 6380470"/>
              <a:gd name="connsiteX4423" fmla="*/ 591215 w 11625583"/>
              <a:gd name="connsiteY4423" fmla="*/ 1352456 h 6380470"/>
              <a:gd name="connsiteX4424" fmla="*/ 526550 w 11625583"/>
              <a:gd name="connsiteY4424" fmla="*/ 1417123 h 6380470"/>
              <a:gd name="connsiteX4425" fmla="*/ 461884 w 11625583"/>
              <a:gd name="connsiteY4425" fmla="*/ 1352456 h 6380470"/>
              <a:gd name="connsiteX4426" fmla="*/ 526550 w 11625583"/>
              <a:gd name="connsiteY4426" fmla="*/ 1287791 h 6380470"/>
              <a:gd name="connsiteX4427" fmla="*/ 373894 w 11625583"/>
              <a:gd name="connsiteY4427" fmla="*/ 1287791 h 6380470"/>
              <a:gd name="connsiteX4428" fmla="*/ 438559 w 11625583"/>
              <a:gd name="connsiteY4428" fmla="*/ 1352456 h 6380470"/>
              <a:gd name="connsiteX4429" fmla="*/ 373894 w 11625583"/>
              <a:gd name="connsiteY4429" fmla="*/ 1417123 h 6380470"/>
              <a:gd name="connsiteX4430" fmla="*/ 309228 w 11625583"/>
              <a:gd name="connsiteY4430" fmla="*/ 1352456 h 6380470"/>
              <a:gd name="connsiteX4431" fmla="*/ 373894 w 11625583"/>
              <a:gd name="connsiteY4431" fmla="*/ 1287791 h 6380470"/>
              <a:gd name="connsiteX4432" fmla="*/ 217323 w 11625583"/>
              <a:gd name="connsiteY4432" fmla="*/ 1287791 h 6380470"/>
              <a:gd name="connsiteX4433" fmla="*/ 281988 w 11625583"/>
              <a:gd name="connsiteY4433" fmla="*/ 1352456 h 6380470"/>
              <a:gd name="connsiteX4434" fmla="*/ 217323 w 11625583"/>
              <a:gd name="connsiteY4434" fmla="*/ 1417123 h 6380470"/>
              <a:gd name="connsiteX4435" fmla="*/ 152658 w 11625583"/>
              <a:gd name="connsiteY4435" fmla="*/ 1352456 h 6380470"/>
              <a:gd name="connsiteX4436" fmla="*/ 217323 w 11625583"/>
              <a:gd name="connsiteY4436" fmla="*/ 1287791 h 6380470"/>
              <a:gd name="connsiteX4437" fmla="*/ 64665 w 11625583"/>
              <a:gd name="connsiteY4437" fmla="*/ 1287791 h 6380470"/>
              <a:gd name="connsiteX4438" fmla="*/ 129330 w 11625583"/>
              <a:gd name="connsiteY4438" fmla="*/ 1352456 h 6380470"/>
              <a:gd name="connsiteX4439" fmla="*/ 64665 w 11625583"/>
              <a:gd name="connsiteY4439" fmla="*/ 1417123 h 6380470"/>
              <a:gd name="connsiteX4440" fmla="*/ 0 w 11625583"/>
              <a:gd name="connsiteY4440" fmla="*/ 1352456 h 6380470"/>
              <a:gd name="connsiteX4441" fmla="*/ 64665 w 11625583"/>
              <a:gd name="connsiteY4441" fmla="*/ 1287791 h 6380470"/>
              <a:gd name="connsiteX4442" fmla="*/ 11251683 w 11625583"/>
              <a:gd name="connsiteY4442" fmla="*/ 1142959 h 6380470"/>
              <a:gd name="connsiteX4443" fmla="*/ 11316349 w 11625583"/>
              <a:gd name="connsiteY4443" fmla="*/ 1207625 h 6380470"/>
              <a:gd name="connsiteX4444" fmla="*/ 11251683 w 11625583"/>
              <a:gd name="connsiteY4444" fmla="*/ 1272290 h 6380470"/>
              <a:gd name="connsiteX4445" fmla="*/ 11187017 w 11625583"/>
              <a:gd name="connsiteY4445" fmla="*/ 1207625 h 6380470"/>
              <a:gd name="connsiteX4446" fmla="*/ 11251683 w 11625583"/>
              <a:gd name="connsiteY4446" fmla="*/ 1142959 h 6380470"/>
              <a:gd name="connsiteX4447" fmla="*/ 11095110 w 11625583"/>
              <a:gd name="connsiteY4447" fmla="*/ 1142959 h 6380470"/>
              <a:gd name="connsiteX4448" fmla="*/ 11159776 w 11625583"/>
              <a:gd name="connsiteY4448" fmla="*/ 1207625 h 6380470"/>
              <a:gd name="connsiteX4449" fmla="*/ 11095110 w 11625583"/>
              <a:gd name="connsiteY4449" fmla="*/ 1272290 h 6380470"/>
              <a:gd name="connsiteX4450" fmla="*/ 11030444 w 11625583"/>
              <a:gd name="connsiteY4450" fmla="*/ 1207625 h 6380470"/>
              <a:gd name="connsiteX4451" fmla="*/ 11095110 w 11625583"/>
              <a:gd name="connsiteY4451" fmla="*/ 1142959 h 6380470"/>
              <a:gd name="connsiteX4452" fmla="*/ 10938537 w 11625583"/>
              <a:gd name="connsiteY4452" fmla="*/ 1142959 h 6380470"/>
              <a:gd name="connsiteX4453" fmla="*/ 11003203 w 11625583"/>
              <a:gd name="connsiteY4453" fmla="*/ 1207623 h 6380470"/>
              <a:gd name="connsiteX4454" fmla="*/ 10938537 w 11625583"/>
              <a:gd name="connsiteY4454" fmla="*/ 1272290 h 6380470"/>
              <a:gd name="connsiteX4455" fmla="*/ 10873871 w 11625583"/>
              <a:gd name="connsiteY4455" fmla="*/ 1207623 h 6380470"/>
              <a:gd name="connsiteX4456" fmla="*/ 10938537 w 11625583"/>
              <a:gd name="connsiteY4456" fmla="*/ 1142959 h 6380470"/>
              <a:gd name="connsiteX4457" fmla="*/ 10778049 w 11625583"/>
              <a:gd name="connsiteY4457" fmla="*/ 1142959 h 6380470"/>
              <a:gd name="connsiteX4458" fmla="*/ 10842715 w 11625583"/>
              <a:gd name="connsiteY4458" fmla="*/ 1207623 h 6380470"/>
              <a:gd name="connsiteX4459" fmla="*/ 10778049 w 11625583"/>
              <a:gd name="connsiteY4459" fmla="*/ 1272290 h 6380470"/>
              <a:gd name="connsiteX4460" fmla="*/ 10713383 w 11625583"/>
              <a:gd name="connsiteY4460" fmla="*/ 1207623 h 6380470"/>
              <a:gd name="connsiteX4461" fmla="*/ 10778049 w 11625583"/>
              <a:gd name="connsiteY4461" fmla="*/ 1142959 h 6380470"/>
              <a:gd name="connsiteX4462" fmla="*/ 10625391 w 11625583"/>
              <a:gd name="connsiteY4462" fmla="*/ 1142959 h 6380470"/>
              <a:gd name="connsiteX4463" fmla="*/ 10690057 w 11625583"/>
              <a:gd name="connsiteY4463" fmla="*/ 1207623 h 6380470"/>
              <a:gd name="connsiteX4464" fmla="*/ 10625391 w 11625583"/>
              <a:gd name="connsiteY4464" fmla="*/ 1272290 h 6380470"/>
              <a:gd name="connsiteX4465" fmla="*/ 10560725 w 11625583"/>
              <a:gd name="connsiteY4465" fmla="*/ 1207623 h 6380470"/>
              <a:gd name="connsiteX4466" fmla="*/ 10625391 w 11625583"/>
              <a:gd name="connsiteY4466" fmla="*/ 1142959 h 6380470"/>
              <a:gd name="connsiteX4467" fmla="*/ 10468818 w 11625583"/>
              <a:gd name="connsiteY4467" fmla="*/ 1142959 h 6380470"/>
              <a:gd name="connsiteX4468" fmla="*/ 10533484 w 11625583"/>
              <a:gd name="connsiteY4468" fmla="*/ 1207625 h 6380470"/>
              <a:gd name="connsiteX4469" fmla="*/ 10468818 w 11625583"/>
              <a:gd name="connsiteY4469" fmla="*/ 1272290 h 6380470"/>
              <a:gd name="connsiteX4470" fmla="*/ 10404152 w 11625583"/>
              <a:gd name="connsiteY4470" fmla="*/ 1207625 h 6380470"/>
              <a:gd name="connsiteX4471" fmla="*/ 10468818 w 11625583"/>
              <a:gd name="connsiteY4471" fmla="*/ 1142959 h 6380470"/>
              <a:gd name="connsiteX4472" fmla="*/ 10312244 w 11625583"/>
              <a:gd name="connsiteY4472" fmla="*/ 1142959 h 6380470"/>
              <a:gd name="connsiteX4473" fmla="*/ 10376910 w 11625583"/>
              <a:gd name="connsiteY4473" fmla="*/ 1207623 h 6380470"/>
              <a:gd name="connsiteX4474" fmla="*/ 10312244 w 11625583"/>
              <a:gd name="connsiteY4474" fmla="*/ 1272290 h 6380470"/>
              <a:gd name="connsiteX4475" fmla="*/ 10247578 w 11625583"/>
              <a:gd name="connsiteY4475" fmla="*/ 1207623 h 6380470"/>
              <a:gd name="connsiteX4476" fmla="*/ 10312244 w 11625583"/>
              <a:gd name="connsiteY4476" fmla="*/ 1142959 h 6380470"/>
              <a:gd name="connsiteX4477" fmla="*/ 10159585 w 11625583"/>
              <a:gd name="connsiteY4477" fmla="*/ 1142959 h 6380470"/>
              <a:gd name="connsiteX4478" fmla="*/ 10224251 w 11625583"/>
              <a:gd name="connsiteY4478" fmla="*/ 1207623 h 6380470"/>
              <a:gd name="connsiteX4479" fmla="*/ 10159585 w 11625583"/>
              <a:gd name="connsiteY4479" fmla="*/ 1272290 h 6380470"/>
              <a:gd name="connsiteX4480" fmla="*/ 10094919 w 11625583"/>
              <a:gd name="connsiteY4480" fmla="*/ 1207623 h 6380470"/>
              <a:gd name="connsiteX4481" fmla="*/ 10159585 w 11625583"/>
              <a:gd name="connsiteY4481" fmla="*/ 1142959 h 6380470"/>
              <a:gd name="connsiteX4482" fmla="*/ 10003013 w 11625583"/>
              <a:gd name="connsiteY4482" fmla="*/ 1142959 h 6380470"/>
              <a:gd name="connsiteX4483" fmla="*/ 10067679 w 11625583"/>
              <a:gd name="connsiteY4483" fmla="*/ 1207623 h 6380470"/>
              <a:gd name="connsiteX4484" fmla="*/ 10003013 w 11625583"/>
              <a:gd name="connsiteY4484" fmla="*/ 1272290 h 6380470"/>
              <a:gd name="connsiteX4485" fmla="*/ 9938347 w 11625583"/>
              <a:gd name="connsiteY4485" fmla="*/ 1207623 h 6380470"/>
              <a:gd name="connsiteX4486" fmla="*/ 10003013 w 11625583"/>
              <a:gd name="connsiteY4486" fmla="*/ 1142959 h 6380470"/>
              <a:gd name="connsiteX4487" fmla="*/ 9850355 w 11625583"/>
              <a:gd name="connsiteY4487" fmla="*/ 1142959 h 6380470"/>
              <a:gd name="connsiteX4488" fmla="*/ 9915021 w 11625583"/>
              <a:gd name="connsiteY4488" fmla="*/ 1207625 h 6380470"/>
              <a:gd name="connsiteX4489" fmla="*/ 9850355 w 11625583"/>
              <a:gd name="connsiteY4489" fmla="*/ 1272290 h 6380470"/>
              <a:gd name="connsiteX4490" fmla="*/ 9785689 w 11625583"/>
              <a:gd name="connsiteY4490" fmla="*/ 1207625 h 6380470"/>
              <a:gd name="connsiteX4491" fmla="*/ 9850355 w 11625583"/>
              <a:gd name="connsiteY4491" fmla="*/ 1142959 h 6380470"/>
              <a:gd name="connsiteX4492" fmla="*/ 9693780 w 11625583"/>
              <a:gd name="connsiteY4492" fmla="*/ 1142959 h 6380470"/>
              <a:gd name="connsiteX4493" fmla="*/ 9758446 w 11625583"/>
              <a:gd name="connsiteY4493" fmla="*/ 1207623 h 6380470"/>
              <a:gd name="connsiteX4494" fmla="*/ 9693780 w 11625583"/>
              <a:gd name="connsiteY4494" fmla="*/ 1272290 h 6380470"/>
              <a:gd name="connsiteX4495" fmla="*/ 9629114 w 11625583"/>
              <a:gd name="connsiteY4495" fmla="*/ 1207623 h 6380470"/>
              <a:gd name="connsiteX4496" fmla="*/ 9693780 w 11625583"/>
              <a:gd name="connsiteY4496" fmla="*/ 1142959 h 6380470"/>
              <a:gd name="connsiteX4497" fmla="*/ 9541120 w 11625583"/>
              <a:gd name="connsiteY4497" fmla="*/ 1142959 h 6380470"/>
              <a:gd name="connsiteX4498" fmla="*/ 9605786 w 11625583"/>
              <a:gd name="connsiteY4498" fmla="*/ 1207623 h 6380470"/>
              <a:gd name="connsiteX4499" fmla="*/ 9541120 w 11625583"/>
              <a:gd name="connsiteY4499" fmla="*/ 1272290 h 6380470"/>
              <a:gd name="connsiteX4500" fmla="*/ 9476454 w 11625583"/>
              <a:gd name="connsiteY4500" fmla="*/ 1207623 h 6380470"/>
              <a:gd name="connsiteX4501" fmla="*/ 9541120 w 11625583"/>
              <a:gd name="connsiteY4501" fmla="*/ 1142959 h 6380470"/>
              <a:gd name="connsiteX4502" fmla="*/ 9384547 w 11625583"/>
              <a:gd name="connsiteY4502" fmla="*/ 1142959 h 6380470"/>
              <a:gd name="connsiteX4503" fmla="*/ 9449213 w 11625583"/>
              <a:gd name="connsiteY4503" fmla="*/ 1207623 h 6380470"/>
              <a:gd name="connsiteX4504" fmla="*/ 9384547 w 11625583"/>
              <a:gd name="connsiteY4504" fmla="*/ 1272290 h 6380470"/>
              <a:gd name="connsiteX4505" fmla="*/ 9319881 w 11625583"/>
              <a:gd name="connsiteY4505" fmla="*/ 1207623 h 6380470"/>
              <a:gd name="connsiteX4506" fmla="*/ 9384547 w 11625583"/>
              <a:gd name="connsiteY4506" fmla="*/ 1142959 h 6380470"/>
              <a:gd name="connsiteX4507" fmla="*/ 9227974 w 11625583"/>
              <a:gd name="connsiteY4507" fmla="*/ 1142959 h 6380470"/>
              <a:gd name="connsiteX4508" fmla="*/ 9292640 w 11625583"/>
              <a:gd name="connsiteY4508" fmla="*/ 1207625 h 6380470"/>
              <a:gd name="connsiteX4509" fmla="*/ 9227974 w 11625583"/>
              <a:gd name="connsiteY4509" fmla="*/ 1272290 h 6380470"/>
              <a:gd name="connsiteX4510" fmla="*/ 9163308 w 11625583"/>
              <a:gd name="connsiteY4510" fmla="*/ 1207625 h 6380470"/>
              <a:gd name="connsiteX4511" fmla="*/ 9227974 w 11625583"/>
              <a:gd name="connsiteY4511" fmla="*/ 1142959 h 6380470"/>
              <a:gd name="connsiteX4512" fmla="*/ 9075316 w 11625583"/>
              <a:gd name="connsiteY4512" fmla="*/ 1142959 h 6380470"/>
              <a:gd name="connsiteX4513" fmla="*/ 9139982 w 11625583"/>
              <a:gd name="connsiteY4513" fmla="*/ 1207625 h 6380470"/>
              <a:gd name="connsiteX4514" fmla="*/ 9075316 w 11625583"/>
              <a:gd name="connsiteY4514" fmla="*/ 1272290 h 6380470"/>
              <a:gd name="connsiteX4515" fmla="*/ 9010650 w 11625583"/>
              <a:gd name="connsiteY4515" fmla="*/ 1207625 h 6380470"/>
              <a:gd name="connsiteX4516" fmla="*/ 9075316 w 11625583"/>
              <a:gd name="connsiteY4516" fmla="*/ 1142959 h 6380470"/>
              <a:gd name="connsiteX4517" fmla="*/ 8914828 w 11625583"/>
              <a:gd name="connsiteY4517" fmla="*/ 1142959 h 6380470"/>
              <a:gd name="connsiteX4518" fmla="*/ 8979494 w 11625583"/>
              <a:gd name="connsiteY4518" fmla="*/ 1207623 h 6380470"/>
              <a:gd name="connsiteX4519" fmla="*/ 8914828 w 11625583"/>
              <a:gd name="connsiteY4519" fmla="*/ 1272290 h 6380470"/>
              <a:gd name="connsiteX4520" fmla="*/ 8850162 w 11625583"/>
              <a:gd name="connsiteY4520" fmla="*/ 1207623 h 6380470"/>
              <a:gd name="connsiteX4521" fmla="*/ 8914828 w 11625583"/>
              <a:gd name="connsiteY4521" fmla="*/ 1142959 h 6380470"/>
              <a:gd name="connsiteX4522" fmla="*/ 8766083 w 11625583"/>
              <a:gd name="connsiteY4522" fmla="*/ 1142959 h 6380470"/>
              <a:gd name="connsiteX4523" fmla="*/ 8830749 w 11625583"/>
              <a:gd name="connsiteY4523" fmla="*/ 1207625 h 6380470"/>
              <a:gd name="connsiteX4524" fmla="*/ 8766083 w 11625583"/>
              <a:gd name="connsiteY4524" fmla="*/ 1272290 h 6380470"/>
              <a:gd name="connsiteX4525" fmla="*/ 8701417 w 11625583"/>
              <a:gd name="connsiteY4525" fmla="*/ 1207625 h 6380470"/>
              <a:gd name="connsiteX4526" fmla="*/ 8766083 w 11625583"/>
              <a:gd name="connsiteY4526" fmla="*/ 1142959 h 6380470"/>
              <a:gd name="connsiteX4527" fmla="*/ 8601682 w 11625583"/>
              <a:gd name="connsiteY4527" fmla="*/ 1142959 h 6380470"/>
              <a:gd name="connsiteX4528" fmla="*/ 8666348 w 11625583"/>
              <a:gd name="connsiteY4528" fmla="*/ 1207625 h 6380470"/>
              <a:gd name="connsiteX4529" fmla="*/ 8601682 w 11625583"/>
              <a:gd name="connsiteY4529" fmla="*/ 1272290 h 6380470"/>
              <a:gd name="connsiteX4530" fmla="*/ 8537016 w 11625583"/>
              <a:gd name="connsiteY4530" fmla="*/ 1207625 h 6380470"/>
              <a:gd name="connsiteX4531" fmla="*/ 8601682 w 11625583"/>
              <a:gd name="connsiteY4531" fmla="*/ 1142959 h 6380470"/>
              <a:gd name="connsiteX4532" fmla="*/ 8449022 w 11625583"/>
              <a:gd name="connsiteY4532" fmla="*/ 1142959 h 6380470"/>
              <a:gd name="connsiteX4533" fmla="*/ 8513688 w 11625583"/>
              <a:gd name="connsiteY4533" fmla="*/ 1207625 h 6380470"/>
              <a:gd name="connsiteX4534" fmla="*/ 8449022 w 11625583"/>
              <a:gd name="connsiteY4534" fmla="*/ 1272290 h 6380470"/>
              <a:gd name="connsiteX4535" fmla="*/ 8384356 w 11625583"/>
              <a:gd name="connsiteY4535" fmla="*/ 1207625 h 6380470"/>
              <a:gd name="connsiteX4536" fmla="*/ 8449022 w 11625583"/>
              <a:gd name="connsiteY4536" fmla="*/ 1142959 h 6380470"/>
              <a:gd name="connsiteX4537" fmla="*/ 8296365 w 11625583"/>
              <a:gd name="connsiteY4537" fmla="*/ 1142959 h 6380470"/>
              <a:gd name="connsiteX4538" fmla="*/ 8361031 w 11625583"/>
              <a:gd name="connsiteY4538" fmla="*/ 1207623 h 6380470"/>
              <a:gd name="connsiteX4539" fmla="*/ 8296365 w 11625583"/>
              <a:gd name="connsiteY4539" fmla="*/ 1272290 h 6380470"/>
              <a:gd name="connsiteX4540" fmla="*/ 8231699 w 11625583"/>
              <a:gd name="connsiteY4540" fmla="*/ 1207623 h 6380470"/>
              <a:gd name="connsiteX4541" fmla="*/ 8296365 w 11625583"/>
              <a:gd name="connsiteY4541" fmla="*/ 1142959 h 6380470"/>
              <a:gd name="connsiteX4542" fmla="*/ 8139790 w 11625583"/>
              <a:gd name="connsiteY4542" fmla="*/ 1142959 h 6380470"/>
              <a:gd name="connsiteX4543" fmla="*/ 8204456 w 11625583"/>
              <a:gd name="connsiteY4543" fmla="*/ 1207625 h 6380470"/>
              <a:gd name="connsiteX4544" fmla="*/ 8139790 w 11625583"/>
              <a:gd name="connsiteY4544" fmla="*/ 1272290 h 6380470"/>
              <a:gd name="connsiteX4545" fmla="*/ 8075124 w 11625583"/>
              <a:gd name="connsiteY4545" fmla="*/ 1207625 h 6380470"/>
              <a:gd name="connsiteX4546" fmla="*/ 8139790 w 11625583"/>
              <a:gd name="connsiteY4546" fmla="*/ 1142959 h 6380470"/>
              <a:gd name="connsiteX4547" fmla="*/ 7987132 w 11625583"/>
              <a:gd name="connsiteY4547" fmla="*/ 1142959 h 6380470"/>
              <a:gd name="connsiteX4548" fmla="*/ 8051798 w 11625583"/>
              <a:gd name="connsiteY4548" fmla="*/ 1207625 h 6380470"/>
              <a:gd name="connsiteX4549" fmla="*/ 7987132 w 11625583"/>
              <a:gd name="connsiteY4549" fmla="*/ 1272290 h 6380470"/>
              <a:gd name="connsiteX4550" fmla="*/ 7922466 w 11625583"/>
              <a:gd name="connsiteY4550" fmla="*/ 1207625 h 6380470"/>
              <a:gd name="connsiteX4551" fmla="*/ 7987132 w 11625583"/>
              <a:gd name="connsiteY4551" fmla="*/ 1142959 h 6380470"/>
              <a:gd name="connsiteX4552" fmla="*/ 7830560 w 11625583"/>
              <a:gd name="connsiteY4552" fmla="*/ 1142959 h 6380470"/>
              <a:gd name="connsiteX4553" fmla="*/ 7895226 w 11625583"/>
              <a:gd name="connsiteY4553" fmla="*/ 1207625 h 6380470"/>
              <a:gd name="connsiteX4554" fmla="*/ 7830560 w 11625583"/>
              <a:gd name="connsiteY4554" fmla="*/ 1272290 h 6380470"/>
              <a:gd name="connsiteX4555" fmla="*/ 7765894 w 11625583"/>
              <a:gd name="connsiteY4555" fmla="*/ 1207625 h 6380470"/>
              <a:gd name="connsiteX4556" fmla="*/ 7830560 w 11625583"/>
              <a:gd name="connsiteY4556" fmla="*/ 1142959 h 6380470"/>
              <a:gd name="connsiteX4557" fmla="*/ 7677900 w 11625583"/>
              <a:gd name="connsiteY4557" fmla="*/ 1142959 h 6380470"/>
              <a:gd name="connsiteX4558" fmla="*/ 7742566 w 11625583"/>
              <a:gd name="connsiteY4558" fmla="*/ 1207623 h 6380470"/>
              <a:gd name="connsiteX4559" fmla="*/ 7677900 w 11625583"/>
              <a:gd name="connsiteY4559" fmla="*/ 1272290 h 6380470"/>
              <a:gd name="connsiteX4560" fmla="*/ 7613234 w 11625583"/>
              <a:gd name="connsiteY4560" fmla="*/ 1207623 h 6380470"/>
              <a:gd name="connsiteX4561" fmla="*/ 7677900 w 11625583"/>
              <a:gd name="connsiteY4561" fmla="*/ 1142959 h 6380470"/>
              <a:gd name="connsiteX4562" fmla="*/ 7521327 w 11625583"/>
              <a:gd name="connsiteY4562" fmla="*/ 1142959 h 6380470"/>
              <a:gd name="connsiteX4563" fmla="*/ 7585993 w 11625583"/>
              <a:gd name="connsiteY4563" fmla="*/ 1207623 h 6380470"/>
              <a:gd name="connsiteX4564" fmla="*/ 7521327 w 11625583"/>
              <a:gd name="connsiteY4564" fmla="*/ 1272290 h 6380470"/>
              <a:gd name="connsiteX4565" fmla="*/ 7456661 w 11625583"/>
              <a:gd name="connsiteY4565" fmla="*/ 1207623 h 6380470"/>
              <a:gd name="connsiteX4566" fmla="*/ 7521327 w 11625583"/>
              <a:gd name="connsiteY4566" fmla="*/ 1142959 h 6380470"/>
              <a:gd name="connsiteX4567" fmla="*/ 7368667 w 11625583"/>
              <a:gd name="connsiteY4567" fmla="*/ 1142959 h 6380470"/>
              <a:gd name="connsiteX4568" fmla="*/ 7433333 w 11625583"/>
              <a:gd name="connsiteY4568" fmla="*/ 1207625 h 6380470"/>
              <a:gd name="connsiteX4569" fmla="*/ 7368667 w 11625583"/>
              <a:gd name="connsiteY4569" fmla="*/ 1272290 h 6380470"/>
              <a:gd name="connsiteX4570" fmla="*/ 7304001 w 11625583"/>
              <a:gd name="connsiteY4570" fmla="*/ 1207625 h 6380470"/>
              <a:gd name="connsiteX4571" fmla="*/ 7368667 w 11625583"/>
              <a:gd name="connsiteY4571" fmla="*/ 1142959 h 6380470"/>
              <a:gd name="connsiteX4572" fmla="*/ 7212094 w 11625583"/>
              <a:gd name="connsiteY4572" fmla="*/ 1142959 h 6380470"/>
              <a:gd name="connsiteX4573" fmla="*/ 7276760 w 11625583"/>
              <a:gd name="connsiteY4573" fmla="*/ 1207623 h 6380470"/>
              <a:gd name="connsiteX4574" fmla="*/ 7212094 w 11625583"/>
              <a:gd name="connsiteY4574" fmla="*/ 1272290 h 6380470"/>
              <a:gd name="connsiteX4575" fmla="*/ 7147428 w 11625583"/>
              <a:gd name="connsiteY4575" fmla="*/ 1207623 h 6380470"/>
              <a:gd name="connsiteX4576" fmla="*/ 7212094 w 11625583"/>
              <a:gd name="connsiteY4576" fmla="*/ 1142959 h 6380470"/>
              <a:gd name="connsiteX4577" fmla="*/ 7055520 w 11625583"/>
              <a:gd name="connsiteY4577" fmla="*/ 1142959 h 6380470"/>
              <a:gd name="connsiteX4578" fmla="*/ 7120186 w 11625583"/>
              <a:gd name="connsiteY4578" fmla="*/ 1207623 h 6380470"/>
              <a:gd name="connsiteX4579" fmla="*/ 7055520 w 11625583"/>
              <a:gd name="connsiteY4579" fmla="*/ 1272290 h 6380470"/>
              <a:gd name="connsiteX4580" fmla="*/ 6990854 w 11625583"/>
              <a:gd name="connsiteY4580" fmla="*/ 1207623 h 6380470"/>
              <a:gd name="connsiteX4581" fmla="*/ 7055520 w 11625583"/>
              <a:gd name="connsiteY4581" fmla="*/ 1142959 h 6380470"/>
              <a:gd name="connsiteX4582" fmla="*/ 6895035 w 11625583"/>
              <a:gd name="connsiteY4582" fmla="*/ 1142959 h 6380470"/>
              <a:gd name="connsiteX4583" fmla="*/ 6959701 w 11625583"/>
              <a:gd name="connsiteY4583" fmla="*/ 1207623 h 6380470"/>
              <a:gd name="connsiteX4584" fmla="*/ 6895035 w 11625583"/>
              <a:gd name="connsiteY4584" fmla="*/ 1272290 h 6380470"/>
              <a:gd name="connsiteX4585" fmla="*/ 6830369 w 11625583"/>
              <a:gd name="connsiteY4585" fmla="*/ 1207623 h 6380470"/>
              <a:gd name="connsiteX4586" fmla="*/ 6895035 w 11625583"/>
              <a:gd name="connsiteY4586" fmla="*/ 1142959 h 6380470"/>
              <a:gd name="connsiteX4587" fmla="*/ 6742374 w 11625583"/>
              <a:gd name="connsiteY4587" fmla="*/ 1142959 h 6380470"/>
              <a:gd name="connsiteX4588" fmla="*/ 6807040 w 11625583"/>
              <a:gd name="connsiteY4588" fmla="*/ 1207625 h 6380470"/>
              <a:gd name="connsiteX4589" fmla="*/ 6742374 w 11625583"/>
              <a:gd name="connsiteY4589" fmla="*/ 1272290 h 6380470"/>
              <a:gd name="connsiteX4590" fmla="*/ 6677708 w 11625583"/>
              <a:gd name="connsiteY4590" fmla="*/ 1207625 h 6380470"/>
              <a:gd name="connsiteX4591" fmla="*/ 6742374 w 11625583"/>
              <a:gd name="connsiteY4591" fmla="*/ 1142959 h 6380470"/>
              <a:gd name="connsiteX4592" fmla="*/ 6585801 w 11625583"/>
              <a:gd name="connsiteY4592" fmla="*/ 1142959 h 6380470"/>
              <a:gd name="connsiteX4593" fmla="*/ 6650467 w 11625583"/>
              <a:gd name="connsiteY4593" fmla="*/ 1207623 h 6380470"/>
              <a:gd name="connsiteX4594" fmla="*/ 6585801 w 11625583"/>
              <a:gd name="connsiteY4594" fmla="*/ 1272290 h 6380470"/>
              <a:gd name="connsiteX4595" fmla="*/ 6521135 w 11625583"/>
              <a:gd name="connsiteY4595" fmla="*/ 1207623 h 6380470"/>
              <a:gd name="connsiteX4596" fmla="*/ 6585801 w 11625583"/>
              <a:gd name="connsiteY4596" fmla="*/ 1142959 h 6380470"/>
              <a:gd name="connsiteX4597" fmla="*/ 6429228 w 11625583"/>
              <a:gd name="connsiteY4597" fmla="*/ 1142959 h 6380470"/>
              <a:gd name="connsiteX4598" fmla="*/ 6493894 w 11625583"/>
              <a:gd name="connsiteY4598" fmla="*/ 1207625 h 6380470"/>
              <a:gd name="connsiteX4599" fmla="*/ 6429228 w 11625583"/>
              <a:gd name="connsiteY4599" fmla="*/ 1272290 h 6380470"/>
              <a:gd name="connsiteX4600" fmla="*/ 6364562 w 11625583"/>
              <a:gd name="connsiteY4600" fmla="*/ 1207625 h 6380470"/>
              <a:gd name="connsiteX4601" fmla="*/ 6429228 w 11625583"/>
              <a:gd name="connsiteY4601" fmla="*/ 1142959 h 6380470"/>
              <a:gd name="connsiteX4602" fmla="*/ 6276569 w 11625583"/>
              <a:gd name="connsiteY4602" fmla="*/ 1142959 h 6380470"/>
              <a:gd name="connsiteX4603" fmla="*/ 6341235 w 11625583"/>
              <a:gd name="connsiteY4603" fmla="*/ 1207625 h 6380470"/>
              <a:gd name="connsiteX4604" fmla="*/ 6276569 w 11625583"/>
              <a:gd name="connsiteY4604" fmla="*/ 1272290 h 6380470"/>
              <a:gd name="connsiteX4605" fmla="*/ 6211903 w 11625583"/>
              <a:gd name="connsiteY4605" fmla="*/ 1207625 h 6380470"/>
              <a:gd name="connsiteX4606" fmla="*/ 6276569 w 11625583"/>
              <a:gd name="connsiteY4606" fmla="*/ 1142959 h 6380470"/>
              <a:gd name="connsiteX4607" fmla="*/ 6119998 w 11625583"/>
              <a:gd name="connsiteY4607" fmla="*/ 1142959 h 6380470"/>
              <a:gd name="connsiteX4608" fmla="*/ 6184664 w 11625583"/>
              <a:gd name="connsiteY4608" fmla="*/ 1207623 h 6380470"/>
              <a:gd name="connsiteX4609" fmla="*/ 6119998 w 11625583"/>
              <a:gd name="connsiteY4609" fmla="*/ 1272290 h 6380470"/>
              <a:gd name="connsiteX4610" fmla="*/ 6055332 w 11625583"/>
              <a:gd name="connsiteY4610" fmla="*/ 1207623 h 6380470"/>
              <a:gd name="connsiteX4611" fmla="*/ 6119998 w 11625583"/>
              <a:gd name="connsiteY4611" fmla="*/ 1142959 h 6380470"/>
              <a:gd name="connsiteX4612" fmla="*/ 5967336 w 11625583"/>
              <a:gd name="connsiteY4612" fmla="*/ 1142959 h 6380470"/>
              <a:gd name="connsiteX4613" fmla="*/ 6032002 w 11625583"/>
              <a:gd name="connsiteY4613" fmla="*/ 1207625 h 6380470"/>
              <a:gd name="connsiteX4614" fmla="*/ 5967336 w 11625583"/>
              <a:gd name="connsiteY4614" fmla="*/ 1272290 h 6380470"/>
              <a:gd name="connsiteX4615" fmla="*/ 5902670 w 11625583"/>
              <a:gd name="connsiteY4615" fmla="*/ 1207625 h 6380470"/>
              <a:gd name="connsiteX4616" fmla="*/ 5967336 w 11625583"/>
              <a:gd name="connsiteY4616" fmla="*/ 1142959 h 6380470"/>
              <a:gd name="connsiteX4617" fmla="*/ 5810807 w 11625583"/>
              <a:gd name="connsiteY4617" fmla="*/ 1142959 h 6380470"/>
              <a:gd name="connsiteX4618" fmla="*/ 5875431 w 11625583"/>
              <a:gd name="connsiteY4618" fmla="*/ 1207625 h 6380470"/>
              <a:gd name="connsiteX4619" fmla="*/ 5810807 w 11625583"/>
              <a:gd name="connsiteY4619" fmla="*/ 1272290 h 6380470"/>
              <a:gd name="connsiteX4620" fmla="*/ 5746117 w 11625583"/>
              <a:gd name="connsiteY4620" fmla="*/ 1207625 h 6380470"/>
              <a:gd name="connsiteX4621" fmla="*/ 5810807 w 11625583"/>
              <a:gd name="connsiteY4621" fmla="*/ 1142959 h 6380470"/>
              <a:gd name="connsiteX4622" fmla="*/ 5031849 w 11625583"/>
              <a:gd name="connsiteY4622" fmla="*/ 1142959 h 6380470"/>
              <a:gd name="connsiteX4623" fmla="*/ 5096509 w 11625583"/>
              <a:gd name="connsiteY4623" fmla="*/ 1207623 h 6380470"/>
              <a:gd name="connsiteX4624" fmla="*/ 5031849 w 11625583"/>
              <a:gd name="connsiteY4624" fmla="*/ 1272290 h 6380470"/>
              <a:gd name="connsiteX4625" fmla="*/ 4967172 w 11625583"/>
              <a:gd name="connsiteY4625" fmla="*/ 1207623 h 6380470"/>
              <a:gd name="connsiteX4626" fmla="*/ 5031849 w 11625583"/>
              <a:gd name="connsiteY4626" fmla="*/ 1142959 h 6380470"/>
              <a:gd name="connsiteX4627" fmla="*/ 4875262 w 11625583"/>
              <a:gd name="connsiteY4627" fmla="*/ 1142959 h 6380470"/>
              <a:gd name="connsiteX4628" fmla="*/ 4939938 w 11625583"/>
              <a:gd name="connsiteY4628" fmla="*/ 1207625 h 6380470"/>
              <a:gd name="connsiteX4629" fmla="*/ 4875262 w 11625583"/>
              <a:gd name="connsiteY4629" fmla="*/ 1272290 h 6380470"/>
              <a:gd name="connsiteX4630" fmla="*/ 4810599 w 11625583"/>
              <a:gd name="connsiteY4630" fmla="*/ 1207625 h 6380470"/>
              <a:gd name="connsiteX4631" fmla="*/ 4875262 w 11625583"/>
              <a:gd name="connsiteY4631" fmla="*/ 1142959 h 6380470"/>
              <a:gd name="connsiteX4632" fmla="*/ 4722604 w 11625583"/>
              <a:gd name="connsiteY4632" fmla="*/ 1142959 h 6380470"/>
              <a:gd name="connsiteX4633" fmla="*/ 4787268 w 11625583"/>
              <a:gd name="connsiteY4633" fmla="*/ 1207625 h 6380470"/>
              <a:gd name="connsiteX4634" fmla="*/ 4722604 w 11625583"/>
              <a:gd name="connsiteY4634" fmla="*/ 1272290 h 6380470"/>
              <a:gd name="connsiteX4635" fmla="*/ 4657945 w 11625583"/>
              <a:gd name="connsiteY4635" fmla="*/ 1207625 h 6380470"/>
              <a:gd name="connsiteX4636" fmla="*/ 4722604 w 11625583"/>
              <a:gd name="connsiteY4636" fmla="*/ 1142959 h 6380470"/>
              <a:gd name="connsiteX4637" fmla="*/ 4100249 w 11625583"/>
              <a:gd name="connsiteY4637" fmla="*/ 1142959 h 6380470"/>
              <a:gd name="connsiteX4638" fmla="*/ 4164920 w 11625583"/>
              <a:gd name="connsiteY4638" fmla="*/ 1207623 h 6380470"/>
              <a:gd name="connsiteX4639" fmla="*/ 4100249 w 11625583"/>
              <a:gd name="connsiteY4639" fmla="*/ 1272290 h 6380470"/>
              <a:gd name="connsiteX4640" fmla="*/ 4035594 w 11625583"/>
              <a:gd name="connsiteY4640" fmla="*/ 1207623 h 6380470"/>
              <a:gd name="connsiteX4641" fmla="*/ 4100249 w 11625583"/>
              <a:gd name="connsiteY4641" fmla="*/ 1142959 h 6380470"/>
              <a:gd name="connsiteX4642" fmla="*/ 3947573 w 11625583"/>
              <a:gd name="connsiteY4642" fmla="*/ 1142959 h 6380470"/>
              <a:gd name="connsiteX4643" fmla="*/ 4012257 w 11625583"/>
              <a:gd name="connsiteY4643" fmla="*/ 1207625 h 6380470"/>
              <a:gd name="connsiteX4644" fmla="*/ 3947573 w 11625583"/>
              <a:gd name="connsiteY4644" fmla="*/ 1272290 h 6380470"/>
              <a:gd name="connsiteX4645" fmla="*/ 3883028 w 11625583"/>
              <a:gd name="connsiteY4645" fmla="*/ 1207625 h 6380470"/>
              <a:gd name="connsiteX4646" fmla="*/ 3947573 w 11625583"/>
              <a:gd name="connsiteY4646" fmla="*/ 1142959 h 6380470"/>
              <a:gd name="connsiteX4647" fmla="*/ 3321416 w 11625583"/>
              <a:gd name="connsiteY4647" fmla="*/ 1142959 h 6380470"/>
              <a:gd name="connsiteX4648" fmla="*/ 3386056 w 11625583"/>
              <a:gd name="connsiteY4648" fmla="*/ 1207623 h 6380470"/>
              <a:gd name="connsiteX4649" fmla="*/ 3321416 w 11625583"/>
              <a:gd name="connsiteY4649" fmla="*/ 1272290 h 6380470"/>
              <a:gd name="connsiteX4650" fmla="*/ 3256751 w 11625583"/>
              <a:gd name="connsiteY4650" fmla="*/ 1207623 h 6380470"/>
              <a:gd name="connsiteX4651" fmla="*/ 3321416 w 11625583"/>
              <a:gd name="connsiteY4651" fmla="*/ 1142959 h 6380470"/>
              <a:gd name="connsiteX4652" fmla="*/ 3172663 w 11625583"/>
              <a:gd name="connsiteY4652" fmla="*/ 1142959 h 6380470"/>
              <a:gd name="connsiteX4653" fmla="*/ 3237336 w 11625583"/>
              <a:gd name="connsiteY4653" fmla="*/ 1207625 h 6380470"/>
              <a:gd name="connsiteX4654" fmla="*/ 3172663 w 11625583"/>
              <a:gd name="connsiteY4654" fmla="*/ 1272290 h 6380470"/>
              <a:gd name="connsiteX4655" fmla="*/ 3107975 w 11625583"/>
              <a:gd name="connsiteY4655" fmla="*/ 1207625 h 6380470"/>
              <a:gd name="connsiteX4656" fmla="*/ 3172663 w 11625583"/>
              <a:gd name="connsiteY4656" fmla="*/ 1142959 h 6380470"/>
              <a:gd name="connsiteX4657" fmla="*/ 2699047 w 11625583"/>
              <a:gd name="connsiteY4657" fmla="*/ 1142959 h 6380470"/>
              <a:gd name="connsiteX4658" fmla="*/ 2763701 w 11625583"/>
              <a:gd name="connsiteY4658" fmla="*/ 1207623 h 6380470"/>
              <a:gd name="connsiteX4659" fmla="*/ 2699047 w 11625583"/>
              <a:gd name="connsiteY4659" fmla="*/ 1272290 h 6380470"/>
              <a:gd name="connsiteX4660" fmla="*/ 2634393 w 11625583"/>
              <a:gd name="connsiteY4660" fmla="*/ 1207623 h 6380470"/>
              <a:gd name="connsiteX4661" fmla="*/ 2699047 w 11625583"/>
              <a:gd name="connsiteY4661" fmla="*/ 1142959 h 6380470"/>
              <a:gd name="connsiteX4662" fmla="*/ 2546410 w 11625583"/>
              <a:gd name="connsiteY4662" fmla="*/ 1142959 h 6380470"/>
              <a:gd name="connsiteX4663" fmla="*/ 2611069 w 11625583"/>
              <a:gd name="connsiteY4663" fmla="*/ 1207625 h 6380470"/>
              <a:gd name="connsiteX4664" fmla="*/ 2546410 w 11625583"/>
              <a:gd name="connsiteY4664" fmla="*/ 1272290 h 6380470"/>
              <a:gd name="connsiteX4665" fmla="*/ 2481752 w 11625583"/>
              <a:gd name="connsiteY4665" fmla="*/ 1207625 h 6380470"/>
              <a:gd name="connsiteX4666" fmla="*/ 2546410 w 11625583"/>
              <a:gd name="connsiteY4666" fmla="*/ 1142959 h 6380470"/>
              <a:gd name="connsiteX4667" fmla="*/ 2389823 w 11625583"/>
              <a:gd name="connsiteY4667" fmla="*/ 1142959 h 6380470"/>
              <a:gd name="connsiteX4668" fmla="*/ 2454516 w 11625583"/>
              <a:gd name="connsiteY4668" fmla="*/ 1207623 h 6380470"/>
              <a:gd name="connsiteX4669" fmla="*/ 2389823 w 11625583"/>
              <a:gd name="connsiteY4669" fmla="*/ 1272290 h 6380470"/>
              <a:gd name="connsiteX4670" fmla="*/ 2325179 w 11625583"/>
              <a:gd name="connsiteY4670" fmla="*/ 1207623 h 6380470"/>
              <a:gd name="connsiteX4671" fmla="*/ 2389823 w 11625583"/>
              <a:gd name="connsiteY4671" fmla="*/ 1142959 h 6380470"/>
              <a:gd name="connsiteX4672" fmla="*/ 2237158 w 11625583"/>
              <a:gd name="connsiteY4672" fmla="*/ 1142959 h 6380470"/>
              <a:gd name="connsiteX4673" fmla="*/ 2301845 w 11625583"/>
              <a:gd name="connsiteY4673" fmla="*/ 1207623 h 6380470"/>
              <a:gd name="connsiteX4674" fmla="*/ 2237158 w 11625583"/>
              <a:gd name="connsiteY4674" fmla="*/ 1272290 h 6380470"/>
              <a:gd name="connsiteX4675" fmla="*/ 2172473 w 11625583"/>
              <a:gd name="connsiteY4675" fmla="*/ 1207623 h 6380470"/>
              <a:gd name="connsiteX4676" fmla="*/ 2237158 w 11625583"/>
              <a:gd name="connsiteY4676" fmla="*/ 1142959 h 6380470"/>
              <a:gd name="connsiteX4677" fmla="*/ 2084472 w 11625583"/>
              <a:gd name="connsiteY4677" fmla="*/ 1142959 h 6380470"/>
              <a:gd name="connsiteX4678" fmla="*/ 2149139 w 11625583"/>
              <a:gd name="connsiteY4678" fmla="*/ 1207623 h 6380470"/>
              <a:gd name="connsiteX4679" fmla="*/ 2084472 w 11625583"/>
              <a:gd name="connsiteY4679" fmla="*/ 1272290 h 6380470"/>
              <a:gd name="connsiteX4680" fmla="*/ 2019837 w 11625583"/>
              <a:gd name="connsiteY4680" fmla="*/ 1207623 h 6380470"/>
              <a:gd name="connsiteX4681" fmla="*/ 2084472 w 11625583"/>
              <a:gd name="connsiteY4681" fmla="*/ 1142959 h 6380470"/>
              <a:gd name="connsiteX4682" fmla="*/ 1927885 w 11625583"/>
              <a:gd name="connsiteY4682" fmla="*/ 1142959 h 6380470"/>
              <a:gd name="connsiteX4683" fmla="*/ 1992577 w 11625583"/>
              <a:gd name="connsiteY4683" fmla="*/ 1207623 h 6380470"/>
              <a:gd name="connsiteX4684" fmla="*/ 1927885 w 11625583"/>
              <a:gd name="connsiteY4684" fmla="*/ 1272290 h 6380470"/>
              <a:gd name="connsiteX4685" fmla="*/ 1863252 w 11625583"/>
              <a:gd name="connsiteY4685" fmla="*/ 1207623 h 6380470"/>
              <a:gd name="connsiteX4686" fmla="*/ 1927885 w 11625583"/>
              <a:gd name="connsiteY4686" fmla="*/ 1142959 h 6380470"/>
              <a:gd name="connsiteX4687" fmla="*/ 1775237 w 11625583"/>
              <a:gd name="connsiteY4687" fmla="*/ 1142959 h 6380470"/>
              <a:gd name="connsiteX4688" fmla="*/ 1839926 w 11625583"/>
              <a:gd name="connsiteY4688" fmla="*/ 1207623 h 6380470"/>
              <a:gd name="connsiteX4689" fmla="*/ 1775237 w 11625583"/>
              <a:gd name="connsiteY4689" fmla="*/ 1272290 h 6380470"/>
              <a:gd name="connsiteX4690" fmla="*/ 1710566 w 11625583"/>
              <a:gd name="connsiteY4690" fmla="*/ 1207623 h 6380470"/>
              <a:gd name="connsiteX4691" fmla="*/ 1775237 w 11625583"/>
              <a:gd name="connsiteY4691" fmla="*/ 1142959 h 6380470"/>
              <a:gd name="connsiteX4692" fmla="*/ 1618652 w 11625583"/>
              <a:gd name="connsiteY4692" fmla="*/ 1142959 h 6380470"/>
              <a:gd name="connsiteX4693" fmla="*/ 1683323 w 11625583"/>
              <a:gd name="connsiteY4693" fmla="*/ 1207623 h 6380470"/>
              <a:gd name="connsiteX4694" fmla="*/ 1618652 w 11625583"/>
              <a:gd name="connsiteY4694" fmla="*/ 1272290 h 6380470"/>
              <a:gd name="connsiteX4695" fmla="*/ 1553991 w 11625583"/>
              <a:gd name="connsiteY4695" fmla="*/ 1207623 h 6380470"/>
              <a:gd name="connsiteX4696" fmla="*/ 1618652 w 11625583"/>
              <a:gd name="connsiteY4696" fmla="*/ 1142959 h 6380470"/>
              <a:gd name="connsiteX4697" fmla="*/ 1465997 w 11625583"/>
              <a:gd name="connsiteY4697" fmla="*/ 1142959 h 6380470"/>
              <a:gd name="connsiteX4698" fmla="*/ 1530664 w 11625583"/>
              <a:gd name="connsiteY4698" fmla="*/ 1207625 h 6380470"/>
              <a:gd name="connsiteX4699" fmla="*/ 1465997 w 11625583"/>
              <a:gd name="connsiteY4699" fmla="*/ 1272290 h 6380470"/>
              <a:gd name="connsiteX4700" fmla="*/ 1401335 w 11625583"/>
              <a:gd name="connsiteY4700" fmla="*/ 1207625 h 6380470"/>
              <a:gd name="connsiteX4701" fmla="*/ 1465997 w 11625583"/>
              <a:gd name="connsiteY4701" fmla="*/ 1142959 h 6380470"/>
              <a:gd name="connsiteX4702" fmla="*/ 1309424 w 11625583"/>
              <a:gd name="connsiteY4702" fmla="*/ 1142959 h 6380470"/>
              <a:gd name="connsiteX4703" fmla="*/ 1374089 w 11625583"/>
              <a:gd name="connsiteY4703" fmla="*/ 1207623 h 6380470"/>
              <a:gd name="connsiteX4704" fmla="*/ 1309424 w 11625583"/>
              <a:gd name="connsiteY4704" fmla="*/ 1272290 h 6380470"/>
              <a:gd name="connsiteX4705" fmla="*/ 1244757 w 11625583"/>
              <a:gd name="connsiteY4705" fmla="*/ 1207623 h 6380470"/>
              <a:gd name="connsiteX4706" fmla="*/ 1309424 w 11625583"/>
              <a:gd name="connsiteY4706" fmla="*/ 1142959 h 6380470"/>
              <a:gd name="connsiteX4707" fmla="*/ 1148940 w 11625583"/>
              <a:gd name="connsiteY4707" fmla="*/ 1142959 h 6380470"/>
              <a:gd name="connsiteX4708" fmla="*/ 1213605 w 11625583"/>
              <a:gd name="connsiteY4708" fmla="*/ 1207623 h 6380470"/>
              <a:gd name="connsiteX4709" fmla="*/ 1148940 w 11625583"/>
              <a:gd name="connsiteY4709" fmla="*/ 1272290 h 6380470"/>
              <a:gd name="connsiteX4710" fmla="*/ 1084275 w 11625583"/>
              <a:gd name="connsiteY4710" fmla="*/ 1207623 h 6380470"/>
              <a:gd name="connsiteX4711" fmla="*/ 1148940 w 11625583"/>
              <a:gd name="connsiteY4711" fmla="*/ 1142959 h 6380470"/>
              <a:gd name="connsiteX4712" fmla="*/ 992366 w 11625583"/>
              <a:gd name="connsiteY4712" fmla="*/ 1142959 h 6380470"/>
              <a:gd name="connsiteX4713" fmla="*/ 1057031 w 11625583"/>
              <a:gd name="connsiteY4713" fmla="*/ 1207625 h 6380470"/>
              <a:gd name="connsiteX4714" fmla="*/ 992366 w 11625583"/>
              <a:gd name="connsiteY4714" fmla="*/ 1272290 h 6380470"/>
              <a:gd name="connsiteX4715" fmla="*/ 927701 w 11625583"/>
              <a:gd name="connsiteY4715" fmla="*/ 1207625 h 6380470"/>
              <a:gd name="connsiteX4716" fmla="*/ 992366 w 11625583"/>
              <a:gd name="connsiteY4716" fmla="*/ 1142959 h 6380470"/>
              <a:gd name="connsiteX4717" fmla="*/ 839710 w 11625583"/>
              <a:gd name="connsiteY4717" fmla="*/ 1142959 h 6380470"/>
              <a:gd name="connsiteX4718" fmla="*/ 904376 w 11625583"/>
              <a:gd name="connsiteY4718" fmla="*/ 1207623 h 6380470"/>
              <a:gd name="connsiteX4719" fmla="*/ 839710 w 11625583"/>
              <a:gd name="connsiteY4719" fmla="*/ 1272290 h 6380470"/>
              <a:gd name="connsiteX4720" fmla="*/ 775045 w 11625583"/>
              <a:gd name="connsiteY4720" fmla="*/ 1207623 h 6380470"/>
              <a:gd name="connsiteX4721" fmla="*/ 839710 w 11625583"/>
              <a:gd name="connsiteY4721" fmla="*/ 1142959 h 6380470"/>
              <a:gd name="connsiteX4722" fmla="*/ 683139 w 11625583"/>
              <a:gd name="connsiteY4722" fmla="*/ 1142959 h 6380470"/>
              <a:gd name="connsiteX4723" fmla="*/ 747804 w 11625583"/>
              <a:gd name="connsiteY4723" fmla="*/ 1207623 h 6380470"/>
              <a:gd name="connsiteX4724" fmla="*/ 683139 w 11625583"/>
              <a:gd name="connsiteY4724" fmla="*/ 1272290 h 6380470"/>
              <a:gd name="connsiteX4725" fmla="*/ 618474 w 11625583"/>
              <a:gd name="connsiteY4725" fmla="*/ 1207623 h 6380470"/>
              <a:gd name="connsiteX4726" fmla="*/ 683139 w 11625583"/>
              <a:gd name="connsiteY4726" fmla="*/ 1142959 h 6380470"/>
              <a:gd name="connsiteX4727" fmla="*/ 526558 w 11625583"/>
              <a:gd name="connsiteY4727" fmla="*/ 1142959 h 6380470"/>
              <a:gd name="connsiteX4728" fmla="*/ 591224 w 11625583"/>
              <a:gd name="connsiteY4728" fmla="*/ 1207623 h 6380470"/>
              <a:gd name="connsiteX4729" fmla="*/ 526558 w 11625583"/>
              <a:gd name="connsiteY4729" fmla="*/ 1272290 h 6380470"/>
              <a:gd name="connsiteX4730" fmla="*/ 461893 w 11625583"/>
              <a:gd name="connsiteY4730" fmla="*/ 1207623 h 6380470"/>
              <a:gd name="connsiteX4731" fmla="*/ 526558 w 11625583"/>
              <a:gd name="connsiteY4731" fmla="*/ 1142959 h 6380470"/>
              <a:gd name="connsiteX4732" fmla="*/ 373903 w 11625583"/>
              <a:gd name="connsiteY4732" fmla="*/ 1142959 h 6380470"/>
              <a:gd name="connsiteX4733" fmla="*/ 438568 w 11625583"/>
              <a:gd name="connsiteY4733" fmla="*/ 1207623 h 6380470"/>
              <a:gd name="connsiteX4734" fmla="*/ 373903 w 11625583"/>
              <a:gd name="connsiteY4734" fmla="*/ 1272290 h 6380470"/>
              <a:gd name="connsiteX4735" fmla="*/ 309237 w 11625583"/>
              <a:gd name="connsiteY4735" fmla="*/ 1207623 h 6380470"/>
              <a:gd name="connsiteX4736" fmla="*/ 373903 w 11625583"/>
              <a:gd name="connsiteY4736" fmla="*/ 1142959 h 6380470"/>
              <a:gd name="connsiteX4737" fmla="*/ 217332 w 11625583"/>
              <a:gd name="connsiteY4737" fmla="*/ 1142959 h 6380470"/>
              <a:gd name="connsiteX4738" fmla="*/ 281997 w 11625583"/>
              <a:gd name="connsiteY4738" fmla="*/ 1207623 h 6380470"/>
              <a:gd name="connsiteX4739" fmla="*/ 217332 w 11625583"/>
              <a:gd name="connsiteY4739" fmla="*/ 1272290 h 6380470"/>
              <a:gd name="connsiteX4740" fmla="*/ 152667 w 11625583"/>
              <a:gd name="connsiteY4740" fmla="*/ 1207623 h 6380470"/>
              <a:gd name="connsiteX4741" fmla="*/ 217332 w 11625583"/>
              <a:gd name="connsiteY4741" fmla="*/ 1142959 h 6380470"/>
              <a:gd name="connsiteX4742" fmla="*/ 64674 w 11625583"/>
              <a:gd name="connsiteY4742" fmla="*/ 1142959 h 6380470"/>
              <a:gd name="connsiteX4743" fmla="*/ 129339 w 11625583"/>
              <a:gd name="connsiteY4743" fmla="*/ 1207623 h 6380470"/>
              <a:gd name="connsiteX4744" fmla="*/ 64674 w 11625583"/>
              <a:gd name="connsiteY4744" fmla="*/ 1272290 h 6380470"/>
              <a:gd name="connsiteX4745" fmla="*/ 9 w 11625583"/>
              <a:gd name="connsiteY4745" fmla="*/ 1207623 h 6380470"/>
              <a:gd name="connsiteX4746" fmla="*/ 64674 w 11625583"/>
              <a:gd name="connsiteY4746" fmla="*/ 1142959 h 6380470"/>
              <a:gd name="connsiteX4747" fmla="*/ 11095111 w 11625583"/>
              <a:gd name="connsiteY4747" fmla="*/ 1002044 h 6380470"/>
              <a:gd name="connsiteX4748" fmla="*/ 11159777 w 11625583"/>
              <a:gd name="connsiteY4748" fmla="*/ 1066709 h 6380470"/>
              <a:gd name="connsiteX4749" fmla="*/ 11095111 w 11625583"/>
              <a:gd name="connsiteY4749" fmla="*/ 1131375 h 6380470"/>
              <a:gd name="connsiteX4750" fmla="*/ 11030445 w 11625583"/>
              <a:gd name="connsiteY4750" fmla="*/ 1066709 h 6380470"/>
              <a:gd name="connsiteX4751" fmla="*/ 11095111 w 11625583"/>
              <a:gd name="connsiteY4751" fmla="*/ 1002044 h 6380470"/>
              <a:gd name="connsiteX4752" fmla="*/ 10938538 w 11625583"/>
              <a:gd name="connsiteY4752" fmla="*/ 1002044 h 6380470"/>
              <a:gd name="connsiteX4753" fmla="*/ 11003204 w 11625583"/>
              <a:gd name="connsiteY4753" fmla="*/ 1066709 h 6380470"/>
              <a:gd name="connsiteX4754" fmla="*/ 10938538 w 11625583"/>
              <a:gd name="connsiteY4754" fmla="*/ 1131375 h 6380470"/>
              <a:gd name="connsiteX4755" fmla="*/ 10873872 w 11625583"/>
              <a:gd name="connsiteY4755" fmla="*/ 1066709 h 6380470"/>
              <a:gd name="connsiteX4756" fmla="*/ 10938538 w 11625583"/>
              <a:gd name="connsiteY4756" fmla="*/ 1002044 h 6380470"/>
              <a:gd name="connsiteX4757" fmla="*/ 10778051 w 11625583"/>
              <a:gd name="connsiteY4757" fmla="*/ 1002044 h 6380470"/>
              <a:gd name="connsiteX4758" fmla="*/ 10842717 w 11625583"/>
              <a:gd name="connsiteY4758" fmla="*/ 1066709 h 6380470"/>
              <a:gd name="connsiteX4759" fmla="*/ 10778051 w 11625583"/>
              <a:gd name="connsiteY4759" fmla="*/ 1131375 h 6380470"/>
              <a:gd name="connsiteX4760" fmla="*/ 10713385 w 11625583"/>
              <a:gd name="connsiteY4760" fmla="*/ 1066709 h 6380470"/>
              <a:gd name="connsiteX4761" fmla="*/ 10778051 w 11625583"/>
              <a:gd name="connsiteY4761" fmla="*/ 1002044 h 6380470"/>
              <a:gd name="connsiteX4762" fmla="*/ 10625392 w 11625583"/>
              <a:gd name="connsiteY4762" fmla="*/ 1002044 h 6380470"/>
              <a:gd name="connsiteX4763" fmla="*/ 10690058 w 11625583"/>
              <a:gd name="connsiteY4763" fmla="*/ 1066709 h 6380470"/>
              <a:gd name="connsiteX4764" fmla="*/ 10625392 w 11625583"/>
              <a:gd name="connsiteY4764" fmla="*/ 1131375 h 6380470"/>
              <a:gd name="connsiteX4765" fmla="*/ 10560726 w 11625583"/>
              <a:gd name="connsiteY4765" fmla="*/ 1066709 h 6380470"/>
              <a:gd name="connsiteX4766" fmla="*/ 10625392 w 11625583"/>
              <a:gd name="connsiteY4766" fmla="*/ 1002044 h 6380470"/>
              <a:gd name="connsiteX4767" fmla="*/ 10468818 w 11625583"/>
              <a:gd name="connsiteY4767" fmla="*/ 1002044 h 6380470"/>
              <a:gd name="connsiteX4768" fmla="*/ 10533484 w 11625583"/>
              <a:gd name="connsiteY4768" fmla="*/ 1066709 h 6380470"/>
              <a:gd name="connsiteX4769" fmla="*/ 10468818 w 11625583"/>
              <a:gd name="connsiteY4769" fmla="*/ 1131375 h 6380470"/>
              <a:gd name="connsiteX4770" fmla="*/ 10404152 w 11625583"/>
              <a:gd name="connsiteY4770" fmla="*/ 1066709 h 6380470"/>
              <a:gd name="connsiteX4771" fmla="*/ 10468818 w 11625583"/>
              <a:gd name="connsiteY4771" fmla="*/ 1002044 h 6380470"/>
              <a:gd name="connsiteX4772" fmla="*/ 10312244 w 11625583"/>
              <a:gd name="connsiteY4772" fmla="*/ 1002044 h 6380470"/>
              <a:gd name="connsiteX4773" fmla="*/ 10376910 w 11625583"/>
              <a:gd name="connsiteY4773" fmla="*/ 1066709 h 6380470"/>
              <a:gd name="connsiteX4774" fmla="*/ 10312244 w 11625583"/>
              <a:gd name="connsiteY4774" fmla="*/ 1131375 h 6380470"/>
              <a:gd name="connsiteX4775" fmla="*/ 10247578 w 11625583"/>
              <a:gd name="connsiteY4775" fmla="*/ 1066709 h 6380470"/>
              <a:gd name="connsiteX4776" fmla="*/ 10312244 w 11625583"/>
              <a:gd name="connsiteY4776" fmla="*/ 1002044 h 6380470"/>
              <a:gd name="connsiteX4777" fmla="*/ 10159586 w 11625583"/>
              <a:gd name="connsiteY4777" fmla="*/ 1002044 h 6380470"/>
              <a:gd name="connsiteX4778" fmla="*/ 10224252 w 11625583"/>
              <a:gd name="connsiteY4778" fmla="*/ 1066709 h 6380470"/>
              <a:gd name="connsiteX4779" fmla="*/ 10159586 w 11625583"/>
              <a:gd name="connsiteY4779" fmla="*/ 1131375 h 6380470"/>
              <a:gd name="connsiteX4780" fmla="*/ 10094920 w 11625583"/>
              <a:gd name="connsiteY4780" fmla="*/ 1066709 h 6380470"/>
              <a:gd name="connsiteX4781" fmla="*/ 10159586 w 11625583"/>
              <a:gd name="connsiteY4781" fmla="*/ 1002044 h 6380470"/>
              <a:gd name="connsiteX4782" fmla="*/ 10003015 w 11625583"/>
              <a:gd name="connsiteY4782" fmla="*/ 1002044 h 6380470"/>
              <a:gd name="connsiteX4783" fmla="*/ 10067681 w 11625583"/>
              <a:gd name="connsiteY4783" fmla="*/ 1066709 h 6380470"/>
              <a:gd name="connsiteX4784" fmla="*/ 10003015 w 11625583"/>
              <a:gd name="connsiteY4784" fmla="*/ 1131375 h 6380470"/>
              <a:gd name="connsiteX4785" fmla="*/ 9938349 w 11625583"/>
              <a:gd name="connsiteY4785" fmla="*/ 1066709 h 6380470"/>
              <a:gd name="connsiteX4786" fmla="*/ 10003015 w 11625583"/>
              <a:gd name="connsiteY4786" fmla="*/ 1002044 h 6380470"/>
              <a:gd name="connsiteX4787" fmla="*/ 9850355 w 11625583"/>
              <a:gd name="connsiteY4787" fmla="*/ 1002044 h 6380470"/>
              <a:gd name="connsiteX4788" fmla="*/ 9915021 w 11625583"/>
              <a:gd name="connsiteY4788" fmla="*/ 1066709 h 6380470"/>
              <a:gd name="connsiteX4789" fmla="*/ 9850355 w 11625583"/>
              <a:gd name="connsiteY4789" fmla="*/ 1131375 h 6380470"/>
              <a:gd name="connsiteX4790" fmla="*/ 9785689 w 11625583"/>
              <a:gd name="connsiteY4790" fmla="*/ 1066709 h 6380470"/>
              <a:gd name="connsiteX4791" fmla="*/ 9850355 w 11625583"/>
              <a:gd name="connsiteY4791" fmla="*/ 1002044 h 6380470"/>
              <a:gd name="connsiteX4792" fmla="*/ 9693780 w 11625583"/>
              <a:gd name="connsiteY4792" fmla="*/ 1002044 h 6380470"/>
              <a:gd name="connsiteX4793" fmla="*/ 9758446 w 11625583"/>
              <a:gd name="connsiteY4793" fmla="*/ 1066709 h 6380470"/>
              <a:gd name="connsiteX4794" fmla="*/ 9693780 w 11625583"/>
              <a:gd name="connsiteY4794" fmla="*/ 1131375 h 6380470"/>
              <a:gd name="connsiteX4795" fmla="*/ 9629114 w 11625583"/>
              <a:gd name="connsiteY4795" fmla="*/ 1066709 h 6380470"/>
              <a:gd name="connsiteX4796" fmla="*/ 9693780 w 11625583"/>
              <a:gd name="connsiteY4796" fmla="*/ 1002044 h 6380470"/>
              <a:gd name="connsiteX4797" fmla="*/ 9541122 w 11625583"/>
              <a:gd name="connsiteY4797" fmla="*/ 1002044 h 6380470"/>
              <a:gd name="connsiteX4798" fmla="*/ 9605788 w 11625583"/>
              <a:gd name="connsiteY4798" fmla="*/ 1066709 h 6380470"/>
              <a:gd name="connsiteX4799" fmla="*/ 9541122 w 11625583"/>
              <a:gd name="connsiteY4799" fmla="*/ 1131375 h 6380470"/>
              <a:gd name="connsiteX4800" fmla="*/ 9476456 w 11625583"/>
              <a:gd name="connsiteY4800" fmla="*/ 1066709 h 6380470"/>
              <a:gd name="connsiteX4801" fmla="*/ 9541122 w 11625583"/>
              <a:gd name="connsiteY4801" fmla="*/ 1002044 h 6380470"/>
              <a:gd name="connsiteX4802" fmla="*/ 9384549 w 11625583"/>
              <a:gd name="connsiteY4802" fmla="*/ 1002044 h 6380470"/>
              <a:gd name="connsiteX4803" fmla="*/ 9449215 w 11625583"/>
              <a:gd name="connsiteY4803" fmla="*/ 1066709 h 6380470"/>
              <a:gd name="connsiteX4804" fmla="*/ 9384549 w 11625583"/>
              <a:gd name="connsiteY4804" fmla="*/ 1131375 h 6380470"/>
              <a:gd name="connsiteX4805" fmla="*/ 9319883 w 11625583"/>
              <a:gd name="connsiteY4805" fmla="*/ 1066709 h 6380470"/>
              <a:gd name="connsiteX4806" fmla="*/ 9384549 w 11625583"/>
              <a:gd name="connsiteY4806" fmla="*/ 1002044 h 6380470"/>
              <a:gd name="connsiteX4807" fmla="*/ 9227976 w 11625583"/>
              <a:gd name="connsiteY4807" fmla="*/ 1002044 h 6380470"/>
              <a:gd name="connsiteX4808" fmla="*/ 9292642 w 11625583"/>
              <a:gd name="connsiteY4808" fmla="*/ 1066709 h 6380470"/>
              <a:gd name="connsiteX4809" fmla="*/ 9227976 w 11625583"/>
              <a:gd name="connsiteY4809" fmla="*/ 1131375 h 6380470"/>
              <a:gd name="connsiteX4810" fmla="*/ 9163310 w 11625583"/>
              <a:gd name="connsiteY4810" fmla="*/ 1066709 h 6380470"/>
              <a:gd name="connsiteX4811" fmla="*/ 9227976 w 11625583"/>
              <a:gd name="connsiteY4811" fmla="*/ 1002044 h 6380470"/>
              <a:gd name="connsiteX4812" fmla="*/ 9075316 w 11625583"/>
              <a:gd name="connsiteY4812" fmla="*/ 1002044 h 6380470"/>
              <a:gd name="connsiteX4813" fmla="*/ 9139982 w 11625583"/>
              <a:gd name="connsiteY4813" fmla="*/ 1066709 h 6380470"/>
              <a:gd name="connsiteX4814" fmla="*/ 9075316 w 11625583"/>
              <a:gd name="connsiteY4814" fmla="*/ 1131375 h 6380470"/>
              <a:gd name="connsiteX4815" fmla="*/ 9010650 w 11625583"/>
              <a:gd name="connsiteY4815" fmla="*/ 1066709 h 6380470"/>
              <a:gd name="connsiteX4816" fmla="*/ 9075316 w 11625583"/>
              <a:gd name="connsiteY4816" fmla="*/ 1002044 h 6380470"/>
              <a:gd name="connsiteX4817" fmla="*/ 8914829 w 11625583"/>
              <a:gd name="connsiteY4817" fmla="*/ 1002044 h 6380470"/>
              <a:gd name="connsiteX4818" fmla="*/ 8979495 w 11625583"/>
              <a:gd name="connsiteY4818" fmla="*/ 1066709 h 6380470"/>
              <a:gd name="connsiteX4819" fmla="*/ 8914829 w 11625583"/>
              <a:gd name="connsiteY4819" fmla="*/ 1131375 h 6380470"/>
              <a:gd name="connsiteX4820" fmla="*/ 8850163 w 11625583"/>
              <a:gd name="connsiteY4820" fmla="*/ 1066709 h 6380470"/>
              <a:gd name="connsiteX4821" fmla="*/ 8914829 w 11625583"/>
              <a:gd name="connsiteY4821" fmla="*/ 1002044 h 6380470"/>
              <a:gd name="connsiteX4822" fmla="*/ 8766084 w 11625583"/>
              <a:gd name="connsiteY4822" fmla="*/ 1002044 h 6380470"/>
              <a:gd name="connsiteX4823" fmla="*/ 8830750 w 11625583"/>
              <a:gd name="connsiteY4823" fmla="*/ 1066709 h 6380470"/>
              <a:gd name="connsiteX4824" fmla="*/ 8766084 w 11625583"/>
              <a:gd name="connsiteY4824" fmla="*/ 1131375 h 6380470"/>
              <a:gd name="connsiteX4825" fmla="*/ 8701418 w 11625583"/>
              <a:gd name="connsiteY4825" fmla="*/ 1066709 h 6380470"/>
              <a:gd name="connsiteX4826" fmla="*/ 8766084 w 11625583"/>
              <a:gd name="connsiteY4826" fmla="*/ 1002044 h 6380470"/>
              <a:gd name="connsiteX4827" fmla="*/ 8601682 w 11625583"/>
              <a:gd name="connsiteY4827" fmla="*/ 1002044 h 6380470"/>
              <a:gd name="connsiteX4828" fmla="*/ 8666348 w 11625583"/>
              <a:gd name="connsiteY4828" fmla="*/ 1066709 h 6380470"/>
              <a:gd name="connsiteX4829" fmla="*/ 8601682 w 11625583"/>
              <a:gd name="connsiteY4829" fmla="*/ 1131375 h 6380470"/>
              <a:gd name="connsiteX4830" fmla="*/ 8537016 w 11625583"/>
              <a:gd name="connsiteY4830" fmla="*/ 1066709 h 6380470"/>
              <a:gd name="connsiteX4831" fmla="*/ 8601682 w 11625583"/>
              <a:gd name="connsiteY4831" fmla="*/ 1002044 h 6380470"/>
              <a:gd name="connsiteX4832" fmla="*/ 8449023 w 11625583"/>
              <a:gd name="connsiteY4832" fmla="*/ 1002044 h 6380470"/>
              <a:gd name="connsiteX4833" fmla="*/ 8513689 w 11625583"/>
              <a:gd name="connsiteY4833" fmla="*/ 1066709 h 6380470"/>
              <a:gd name="connsiteX4834" fmla="*/ 8449023 w 11625583"/>
              <a:gd name="connsiteY4834" fmla="*/ 1131375 h 6380470"/>
              <a:gd name="connsiteX4835" fmla="*/ 8384357 w 11625583"/>
              <a:gd name="connsiteY4835" fmla="*/ 1066709 h 6380470"/>
              <a:gd name="connsiteX4836" fmla="*/ 8449023 w 11625583"/>
              <a:gd name="connsiteY4836" fmla="*/ 1002044 h 6380470"/>
              <a:gd name="connsiteX4837" fmla="*/ 8296367 w 11625583"/>
              <a:gd name="connsiteY4837" fmla="*/ 1002044 h 6380470"/>
              <a:gd name="connsiteX4838" fmla="*/ 8361033 w 11625583"/>
              <a:gd name="connsiteY4838" fmla="*/ 1066709 h 6380470"/>
              <a:gd name="connsiteX4839" fmla="*/ 8296367 w 11625583"/>
              <a:gd name="connsiteY4839" fmla="*/ 1131375 h 6380470"/>
              <a:gd name="connsiteX4840" fmla="*/ 8231701 w 11625583"/>
              <a:gd name="connsiteY4840" fmla="*/ 1066709 h 6380470"/>
              <a:gd name="connsiteX4841" fmla="*/ 8296367 w 11625583"/>
              <a:gd name="connsiteY4841" fmla="*/ 1002044 h 6380470"/>
              <a:gd name="connsiteX4842" fmla="*/ 8139792 w 11625583"/>
              <a:gd name="connsiteY4842" fmla="*/ 1002044 h 6380470"/>
              <a:gd name="connsiteX4843" fmla="*/ 8204458 w 11625583"/>
              <a:gd name="connsiteY4843" fmla="*/ 1066709 h 6380470"/>
              <a:gd name="connsiteX4844" fmla="*/ 8139792 w 11625583"/>
              <a:gd name="connsiteY4844" fmla="*/ 1131375 h 6380470"/>
              <a:gd name="connsiteX4845" fmla="*/ 8075126 w 11625583"/>
              <a:gd name="connsiteY4845" fmla="*/ 1066709 h 6380470"/>
              <a:gd name="connsiteX4846" fmla="*/ 8139792 w 11625583"/>
              <a:gd name="connsiteY4846" fmla="*/ 1002044 h 6380470"/>
              <a:gd name="connsiteX4847" fmla="*/ 7987132 w 11625583"/>
              <a:gd name="connsiteY4847" fmla="*/ 1002044 h 6380470"/>
              <a:gd name="connsiteX4848" fmla="*/ 8051798 w 11625583"/>
              <a:gd name="connsiteY4848" fmla="*/ 1066709 h 6380470"/>
              <a:gd name="connsiteX4849" fmla="*/ 7987132 w 11625583"/>
              <a:gd name="connsiteY4849" fmla="*/ 1131375 h 6380470"/>
              <a:gd name="connsiteX4850" fmla="*/ 7922466 w 11625583"/>
              <a:gd name="connsiteY4850" fmla="*/ 1066709 h 6380470"/>
              <a:gd name="connsiteX4851" fmla="*/ 7987132 w 11625583"/>
              <a:gd name="connsiteY4851" fmla="*/ 1002044 h 6380470"/>
              <a:gd name="connsiteX4852" fmla="*/ 7830560 w 11625583"/>
              <a:gd name="connsiteY4852" fmla="*/ 1002044 h 6380470"/>
              <a:gd name="connsiteX4853" fmla="*/ 7895226 w 11625583"/>
              <a:gd name="connsiteY4853" fmla="*/ 1066709 h 6380470"/>
              <a:gd name="connsiteX4854" fmla="*/ 7830560 w 11625583"/>
              <a:gd name="connsiteY4854" fmla="*/ 1131375 h 6380470"/>
              <a:gd name="connsiteX4855" fmla="*/ 7765894 w 11625583"/>
              <a:gd name="connsiteY4855" fmla="*/ 1066709 h 6380470"/>
              <a:gd name="connsiteX4856" fmla="*/ 7830560 w 11625583"/>
              <a:gd name="connsiteY4856" fmla="*/ 1002044 h 6380470"/>
              <a:gd name="connsiteX4857" fmla="*/ 7677902 w 11625583"/>
              <a:gd name="connsiteY4857" fmla="*/ 1002044 h 6380470"/>
              <a:gd name="connsiteX4858" fmla="*/ 7742568 w 11625583"/>
              <a:gd name="connsiteY4858" fmla="*/ 1066709 h 6380470"/>
              <a:gd name="connsiteX4859" fmla="*/ 7677902 w 11625583"/>
              <a:gd name="connsiteY4859" fmla="*/ 1131375 h 6380470"/>
              <a:gd name="connsiteX4860" fmla="*/ 7613236 w 11625583"/>
              <a:gd name="connsiteY4860" fmla="*/ 1066709 h 6380470"/>
              <a:gd name="connsiteX4861" fmla="*/ 7677902 w 11625583"/>
              <a:gd name="connsiteY4861" fmla="*/ 1002044 h 6380470"/>
              <a:gd name="connsiteX4862" fmla="*/ 7521329 w 11625583"/>
              <a:gd name="connsiteY4862" fmla="*/ 1002044 h 6380470"/>
              <a:gd name="connsiteX4863" fmla="*/ 7585995 w 11625583"/>
              <a:gd name="connsiteY4863" fmla="*/ 1066709 h 6380470"/>
              <a:gd name="connsiteX4864" fmla="*/ 7521329 w 11625583"/>
              <a:gd name="connsiteY4864" fmla="*/ 1131375 h 6380470"/>
              <a:gd name="connsiteX4865" fmla="*/ 7456663 w 11625583"/>
              <a:gd name="connsiteY4865" fmla="*/ 1066709 h 6380470"/>
              <a:gd name="connsiteX4866" fmla="*/ 7521329 w 11625583"/>
              <a:gd name="connsiteY4866" fmla="*/ 1002044 h 6380470"/>
              <a:gd name="connsiteX4867" fmla="*/ 7368667 w 11625583"/>
              <a:gd name="connsiteY4867" fmla="*/ 1002044 h 6380470"/>
              <a:gd name="connsiteX4868" fmla="*/ 7433333 w 11625583"/>
              <a:gd name="connsiteY4868" fmla="*/ 1066709 h 6380470"/>
              <a:gd name="connsiteX4869" fmla="*/ 7368667 w 11625583"/>
              <a:gd name="connsiteY4869" fmla="*/ 1131375 h 6380470"/>
              <a:gd name="connsiteX4870" fmla="*/ 7304001 w 11625583"/>
              <a:gd name="connsiteY4870" fmla="*/ 1066709 h 6380470"/>
              <a:gd name="connsiteX4871" fmla="*/ 7368667 w 11625583"/>
              <a:gd name="connsiteY4871" fmla="*/ 1002044 h 6380470"/>
              <a:gd name="connsiteX4872" fmla="*/ 7212094 w 11625583"/>
              <a:gd name="connsiteY4872" fmla="*/ 1002044 h 6380470"/>
              <a:gd name="connsiteX4873" fmla="*/ 7276760 w 11625583"/>
              <a:gd name="connsiteY4873" fmla="*/ 1066709 h 6380470"/>
              <a:gd name="connsiteX4874" fmla="*/ 7212094 w 11625583"/>
              <a:gd name="connsiteY4874" fmla="*/ 1131375 h 6380470"/>
              <a:gd name="connsiteX4875" fmla="*/ 7147428 w 11625583"/>
              <a:gd name="connsiteY4875" fmla="*/ 1066709 h 6380470"/>
              <a:gd name="connsiteX4876" fmla="*/ 7212094 w 11625583"/>
              <a:gd name="connsiteY4876" fmla="*/ 1002044 h 6380470"/>
              <a:gd name="connsiteX4877" fmla="*/ 7055521 w 11625583"/>
              <a:gd name="connsiteY4877" fmla="*/ 1002044 h 6380470"/>
              <a:gd name="connsiteX4878" fmla="*/ 7120187 w 11625583"/>
              <a:gd name="connsiteY4878" fmla="*/ 1066709 h 6380470"/>
              <a:gd name="connsiteX4879" fmla="*/ 7055521 w 11625583"/>
              <a:gd name="connsiteY4879" fmla="*/ 1131375 h 6380470"/>
              <a:gd name="connsiteX4880" fmla="*/ 6990855 w 11625583"/>
              <a:gd name="connsiteY4880" fmla="*/ 1066709 h 6380470"/>
              <a:gd name="connsiteX4881" fmla="*/ 7055521 w 11625583"/>
              <a:gd name="connsiteY4881" fmla="*/ 1002044 h 6380470"/>
              <a:gd name="connsiteX4882" fmla="*/ 6895035 w 11625583"/>
              <a:gd name="connsiteY4882" fmla="*/ 1002044 h 6380470"/>
              <a:gd name="connsiteX4883" fmla="*/ 6959701 w 11625583"/>
              <a:gd name="connsiteY4883" fmla="*/ 1066709 h 6380470"/>
              <a:gd name="connsiteX4884" fmla="*/ 6895035 w 11625583"/>
              <a:gd name="connsiteY4884" fmla="*/ 1131375 h 6380470"/>
              <a:gd name="connsiteX4885" fmla="*/ 6830369 w 11625583"/>
              <a:gd name="connsiteY4885" fmla="*/ 1066709 h 6380470"/>
              <a:gd name="connsiteX4886" fmla="*/ 6895035 w 11625583"/>
              <a:gd name="connsiteY4886" fmla="*/ 1002044 h 6380470"/>
              <a:gd name="connsiteX4887" fmla="*/ 6742375 w 11625583"/>
              <a:gd name="connsiteY4887" fmla="*/ 1002044 h 6380470"/>
              <a:gd name="connsiteX4888" fmla="*/ 6807041 w 11625583"/>
              <a:gd name="connsiteY4888" fmla="*/ 1066709 h 6380470"/>
              <a:gd name="connsiteX4889" fmla="*/ 6742375 w 11625583"/>
              <a:gd name="connsiteY4889" fmla="*/ 1131375 h 6380470"/>
              <a:gd name="connsiteX4890" fmla="*/ 6677709 w 11625583"/>
              <a:gd name="connsiteY4890" fmla="*/ 1066709 h 6380470"/>
              <a:gd name="connsiteX4891" fmla="*/ 6742375 w 11625583"/>
              <a:gd name="connsiteY4891" fmla="*/ 1002044 h 6380470"/>
              <a:gd name="connsiteX4892" fmla="*/ 6585802 w 11625583"/>
              <a:gd name="connsiteY4892" fmla="*/ 1002044 h 6380470"/>
              <a:gd name="connsiteX4893" fmla="*/ 6650468 w 11625583"/>
              <a:gd name="connsiteY4893" fmla="*/ 1066709 h 6380470"/>
              <a:gd name="connsiteX4894" fmla="*/ 6585802 w 11625583"/>
              <a:gd name="connsiteY4894" fmla="*/ 1131375 h 6380470"/>
              <a:gd name="connsiteX4895" fmla="*/ 6521136 w 11625583"/>
              <a:gd name="connsiteY4895" fmla="*/ 1066709 h 6380470"/>
              <a:gd name="connsiteX4896" fmla="*/ 6585802 w 11625583"/>
              <a:gd name="connsiteY4896" fmla="*/ 1002044 h 6380470"/>
              <a:gd name="connsiteX4897" fmla="*/ 6429229 w 11625583"/>
              <a:gd name="connsiteY4897" fmla="*/ 1002044 h 6380470"/>
              <a:gd name="connsiteX4898" fmla="*/ 6493895 w 11625583"/>
              <a:gd name="connsiteY4898" fmla="*/ 1066709 h 6380470"/>
              <a:gd name="connsiteX4899" fmla="*/ 6429229 w 11625583"/>
              <a:gd name="connsiteY4899" fmla="*/ 1131375 h 6380470"/>
              <a:gd name="connsiteX4900" fmla="*/ 6364563 w 11625583"/>
              <a:gd name="connsiteY4900" fmla="*/ 1066709 h 6380470"/>
              <a:gd name="connsiteX4901" fmla="*/ 6429229 w 11625583"/>
              <a:gd name="connsiteY4901" fmla="*/ 1002044 h 6380470"/>
              <a:gd name="connsiteX4902" fmla="*/ 6276569 w 11625583"/>
              <a:gd name="connsiteY4902" fmla="*/ 1002044 h 6380470"/>
              <a:gd name="connsiteX4903" fmla="*/ 6341235 w 11625583"/>
              <a:gd name="connsiteY4903" fmla="*/ 1066709 h 6380470"/>
              <a:gd name="connsiteX4904" fmla="*/ 6276569 w 11625583"/>
              <a:gd name="connsiteY4904" fmla="*/ 1131375 h 6380470"/>
              <a:gd name="connsiteX4905" fmla="*/ 6211903 w 11625583"/>
              <a:gd name="connsiteY4905" fmla="*/ 1066709 h 6380470"/>
              <a:gd name="connsiteX4906" fmla="*/ 6276569 w 11625583"/>
              <a:gd name="connsiteY4906" fmla="*/ 1002044 h 6380470"/>
              <a:gd name="connsiteX4907" fmla="*/ 6119998 w 11625583"/>
              <a:gd name="connsiteY4907" fmla="*/ 1002044 h 6380470"/>
              <a:gd name="connsiteX4908" fmla="*/ 6184664 w 11625583"/>
              <a:gd name="connsiteY4908" fmla="*/ 1066709 h 6380470"/>
              <a:gd name="connsiteX4909" fmla="*/ 6119998 w 11625583"/>
              <a:gd name="connsiteY4909" fmla="*/ 1131375 h 6380470"/>
              <a:gd name="connsiteX4910" fmla="*/ 6055332 w 11625583"/>
              <a:gd name="connsiteY4910" fmla="*/ 1066709 h 6380470"/>
              <a:gd name="connsiteX4911" fmla="*/ 6119998 w 11625583"/>
              <a:gd name="connsiteY4911" fmla="*/ 1002044 h 6380470"/>
              <a:gd name="connsiteX4912" fmla="*/ 5967338 w 11625583"/>
              <a:gd name="connsiteY4912" fmla="*/ 1002044 h 6380470"/>
              <a:gd name="connsiteX4913" fmla="*/ 6032004 w 11625583"/>
              <a:gd name="connsiteY4913" fmla="*/ 1066709 h 6380470"/>
              <a:gd name="connsiteX4914" fmla="*/ 5967338 w 11625583"/>
              <a:gd name="connsiteY4914" fmla="*/ 1131375 h 6380470"/>
              <a:gd name="connsiteX4915" fmla="*/ 5902672 w 11625583"/>
              <a:gd name="connsiteY4915" fmla="*/ 1066709 h 6380470"/>
              <a:gd name="connsiteX4916" fmla="*/ 5967338 w 11625583"/>
              <a:gd name="connsiteY4916" fmla="*/ 1002044 h 6380470"/>
              <a:gd name="connsiteX4917" fmla="*/ 4875265 w 11625583"/>
              <a:gd name="connsiteY4917" fmla="*/ 1002044 h 6380470"/>
              <a:gd name="connsiteX4918" fmla="*/ 4939939 w 11625583"/>
              <a:gd name="connsiteY4918" fmla="*/ 1066709 h 6380470"/>
              <a:gd name="connsiteX4919" fmla="*/ 4875265 w 11625583"/>
              <a:gd name="connsiteY4919" fmla="*/ 1131375 h 6380470"/>
              <a:gd name="connsiteX4920" fmla="*/ 4810599 w 11625583"/>
              <a:gd name="connsiteY4920" fmla="*/ 1066709 h 6380470"/>
              <a:gd name="connsiteX4921" fmla="*/ 4875265 w 11625583"/>
              <a:gd name="connsiteY4921" fmla="*/ 1002044 h 6380470"/>
              <a:gd name="connsiteX4922" fmla="*/ 4256823 w 11625583"/>
              <a:gd name="connsiteY4922" fmla="*/ 1002044 h 6380470"/>
              <a:gd name="connsiteX4923" fmla="*/ 4321467 w 11625583"/>
              <a:gd name="connsiteY4923" fmla="*/ 1066709 h 6380470"/>
              <a:gd name="connsiteX4924" fmla="*/ 4256823 w 11625583"/>
              <a:gd name="connsiteY4924" fmla="*/ 1131375 h 6380470"/>
              <a:gd name="connsiteX4925" fmla="*/ 4192125 w 11625583"/>
              <a:gd name="connsiteY4925" fmla="*/ 1066709 h 6380470"/>
              <a:gd name="connsiteX4926" fmla="*/ 4256823 w 11625583"/>
              <a:gd name="connsiteY4926" fmla="*/ 1002044 h 6380470"/>
              <a:gd name="connsiteX4927" fmla="*/ 4100249 w 11625583"/>
              <a:gd name="connsiteY4927" fmla="*/ 1002044 h 6380470"/>
              <a:gd name="connsiteX4928" fmla="*/ 4164920 w 11625583"/>
              <a:gd name="connsiteY4928" fmla="*/ 1066709 h 6380470"/>
              <a:gd name="connsiteX4929" fmla="*/ 4100249 w 11625583"/>
              <a:gd name="connsiteY4929" fmla="*/ 1131375 h 6380470"/>
              <a:gd name="connsiteX4930" fmla="*/ 4035594 w 11625583"/>
              <a:gd name="connsiteY4930" fmla="*/ 1066709 h 6380470"/>
              <a:gd name="connsiteX4931" fmla="*/ 4100249 w 11625583"/>
              <a:gd name="connsiteY4931" fmla="*/ 1002044 h 6380470"/>
              <a:gd name="connsiteX4932" fmla="*/ 3947573 w 11625583"/>
              <a:gd name="connsiteY4932" fmla="*/ 1002044 h 6380470"/>
              <a:gd name="connsiteX4933" fmla="*/ 4012257 w 11625583"/>
              <a:gd name="connsiteY4933" fmla="*/ 1066709 h 6380470"/>
              <a:gd name="connsiteX4934" fmla="*/ 3947573 w 11625583"/>
              <a:gd name="connsiteY4934" fmla="*/ 1131375 h 6380470"/>
              <a:gd name="connsiteX4935" fmla="*/ 3883039 w 11625583"/>
              <a:gd name="connsiteY4935" fmla="*/ 1066709 h 6380470"/>
              <a:gd name="connsiteX4936" fmla="*/ 3947573 w 11625583"/>
              <a:gd name="connsiteY4936" fmla="*/ 1002044 h 6380470"/>
              <a:gd name="connsiteX4937" fmla="*/ 3321427 w 11625583"/>
              <a:gd name="connsiteY4937" fmla="*/ 1002044 h 6380470"/>
              <a:gd name="connsiteX4938" fmla="*/ 3386066 w 11625583"/>
              <a:gd name="connsiteY4938" fmla="*/ 1066709 h 6380470"/>
              <a:gd name="connsiteX4939" fmla="*/ 3321427 w 11625583"/>
              <a:gd name="connsiteY4939" fmla="*/ 1131375 h 6380470"/>
              <a:gd name="connsiteX4940" fmla="*/ 3256763 w 11625583"/>
              <a:gd name="connsiteY4940" fmla="*/ 1066709 h 6380470"/>
              <a:gd name="connsiteX4941" fmla="*/ 3321427 w 11625583"/>
              <a:gd name="connsiteY4941" fmla="*/ 1002044 h 6380470"/>
              <a:gd name="connsiteX4942" fmla="*/ 3172672 w 11625583"/>
              <a:gd name="connsiteY4942" fmla="*/ 1002044 h 6380470"/>
              <a:gd name="connsiteX4943" fmla="*/ 3237345 w 11625583"/>
              <a:gd name="connsiteY4943" fmla="*/ 1066709 h 6380470"/>
              <a:gd name="connsiteX4944" fmla="*/ 3172672 w 11625583"/>
              <a:gd name="connsiteY4944" fmla="*/ 1131375 h 6380470"/>
              <a:gd name="connsiteX4945" fmla="*/ 3107984 w 11625583"/>
              <a:gd name="connsiteY4945" fmla="*/ 1066709 h 6380470"/>
              <a:gd name="connsiteX4946" fmla="*/ 3172672 w 11625583"/>
              <a:gd name="connsiteY4946" fmla="*/ 1002044 h 6380470"/>
              <a:gd name="connsiteX4947" fmla="*/ 3012149 w 11625583"/>
              <a:gd name="connsiteY4947" fmla="*/ 1002044 h 6380470"/>
              <a:gd name="connsiteX4948" fmla="*/ 3076821 w 11625583"/>
              <a:gd name="connsiteY4948" fmla="*/ 1066709 h 6380470"/>
              <a:gd name="connsiteX4949" fmla="*/ 3012149 w 11625583"/>
              <a:gd name="connsiteY4949" fmla="*/ 1131375 h 6380470"/>
              <a:gd name="connsiteX4950" fmla="*/ 2947494 w 11625583"/>
              <a:gd name="connsiteY4950" fmla="*/ 1066709 h 6380470"/>
              <a:gd name="connsiteX4951" fmla="*/ 3012149 w 11625583"/>
              <a:gd name="connsiteY4951" fmla="*/ 1002044 h 6380470"/>
              <a:gd name="connsiteX4952" fmla="*/ 2699057 w 11625583"/>
              <a:gd name="connsiteY4952" fmla="*/ 1002044 h 6380470"/>
              <a:gd name="connsiteX4953" fmla="*/ 2763710 w 11625583"/>
              <a:gd name="connsiteY4953" fmla="*/ 1066709 h 6380470"/>
              <a:gd name="connsiteX4954" fmla="*/ 2699057 w 11625583"/>
              <a:gd name="connsiteY4954" fmla="*/ 1131375 h 6380470"/>
              <a:gd name="connsiteX4955" fmla="*/ 2634401 w 11625583"/>
              <a:gd name="connsiteY4955" fmla="*/ 1066709 h 6380470"/>
              <a:gd name="connsiteX4956" fmla="*/ 2699057 w 11625583"/>
              <a:gd name="connsiteY4956" fmla="*/ 1002044 h 6380470"/>
              <a:gd name="connsiteX4957" fmla="*/ 2546420 w 11625583"/>
              <a:gd name="connsiteY4957" fmla="*/ 1002044 h 6380470"/>
              <a:gd name="connsiteX4958" fmla="*/ 2611080 w 11625583"/>
              <a:gd name="connsiteY4958" fmla="*/ 1066709 h 6380470"/>
              <a:gd name="connsiteX4959" fmla="*/ 2546420 w 11625583"/>
              <a:gd name="connsiteY4959" fmla="*/ 1131375 h 6380470"/>
              <a:gd name="connsiteX4960" fmla="*/ 2481765 w 11625583"/>
              <a:gd name="connsiteY4960" fmla="*/ 1066709 h 6380470"/>
              <a:gd name="connsiteX4961" fmla="*/ 2546420 w 11625583"/>
              <a:gd name="connsiteY4961" fmla="*/ 1002044 h 6380470"/>
              <a:gd name="connsiteX4962" fmla="*/ 2389845 w 11625583"/>
              <a:gd name="connsiteY4962" fmla="*/ 1002044 h 6380470"/>
              <a:gd name="connsiteX4963" fmla="*/ 2454531 w 11625583"/>
              <a:gd name="connsiteY4963" fmla="*/ 1066709 h 6380470"/>
              <a:gd name="connsiteX4964" fmla="*/ 2389845 w 11625583"/>
              <a:gd name="connsiteY4964" fmla="*/ 1131375 h 6380470"/>
              <a:gd name="connsiteX4965" fmla="*/ 2325192 w 11625583"/>
              <a:gd name="connsiteY4965" fmla="*/ 1066709 h 6380470"/>
              <a:gd name="connsiteX4966" fmla="*/ 2389845 w 11625583"/>
              <a:gd name="connsiteY4966" fmla="*/ 1002044 h 6380470"/>
              <a:gd name="connsiteX4967" fmla="*/ 2237166 w 11625583"/>
              <a:gd name="connsiteY4967" fmla="*/ 1002044 h 6380470"/>
              <a:gd name="connsiteX4968" fmla="*/ 2301856 w 11625583"/>
              <a:gd name="connsiteY4968" fmla="*/ 1066709 h 6380470"/>
              <a:gd name="connsiteX4969" fmla="*/ 2237166 w 11625583"/>
              <a:gd name="connsiteY4969" fmla="*/ 1131375 h 6380470"/>
              <a:gd name="connsiteX4970" fmla="*/ 2172482 w 11625583"/>
              <a:gd name="connsiteY4970" fmla="*/ 1066709 h 6380470"/>
              <a:gd name="connsiteX4971" fmla="*/ 2237166 w 11625583"/>
              <a:gd name="connsiteY4971" fmla="*/ 1002044 h 6380470"/>
              <a:gd name="connsiteX4972" fmla="*/ 2084488 w 11625583"/>
              <a:gd name="connsiteY4972" fmla="*/ 1002044 h 6380470"/>
              <a:gd name="connsiteX4973" fmla="*/ 2149149 w 11625583"/>
              <a:gd name="connsiteY4973" fmla="*/ 1066709 h 6380470"/>
              <a:gd name="connsiteX4974" fmla="*/ 2084488 w 11625583"/>
              <a:gd name="connsiteY4974" fmla="*/ 1131375 h 6380470"/>
              <a:gd name="connsiteX4975" fmla="*/ 2019843 w 11625583"/>
              <a:gd name="connsiteY4975" fmla="*/ 1066709 h 6380470"/>
              <a:gd name="connsiteX4976" fmla="*/ 2084488 w 11625583"/>
              <a:gd name="connsiteY4976" fmla="*/ 1002044 h 6380470"/>
              <a:gd name="connsiteX4977" fmla="*/ 1927899 w 11625583"/>
              <a:gd name="connsiteY4977" fmla="*/ 1002044 h 6380470"/>
              <a:gd name="connsiteX4978" fmla="*/ 1992589 w 11625583"/>
              <a:gd name="connsiteY4978" fmla="*/ 1066709 h 6380470"/>
              <a:gd name="connsiteX4979" fmla="*/ 1927899 w 11625583"/>
              <a:gd name="connsiteY4979" fmla="*/ 1131375 h 6380470"/>
              <a:gd name="connsiteX4980" fmla="*/ 1863266 w 11625583"/>
              <a:gd name="connsiteY4980" fmla="*/ 1066709 h 6380470"/>
              <a:gd name="connsiteX4981" fmla="*/ 1927899 w 11625583"/>
              <a:gd name="connsiteY4981" fmla="*/ 1002044 h 6380470"/>
              <a:gd name="connsiteX4982" fmla="*/ 1775247 w 11625583"/>
              <a:gd name="connsiteY4982" fmla="*/ 1002044 h 6380470"/>
              <a:gd name="connsiteX4983" fmla="*/ 1839934 w 11625583"/>
              <a:gd name="connsiteY4983" fmla="*/ 1066709 h 6380470"/>
              <a:gd name="connsiteX4984" fmla="*/ 1775247 w 11625583"/>
              <a:gd name="connsiteY4984" fmla="*/ 1131375 h 6380470"/>
              <a:gd name="connsiteX4985" fmla="*/ 1710575 w 11625583"/>
              <a:gd name="connsiteY4985" fmla="*/ 1066709 h 6380470"/>
              <a:gd name="connsiteX4986" fmla="*/ 1775247 w 11625583"/>
              <a:gd name="connsiteY4986" fmla="*/ 1002044 h 6380470"/>
              <a:gd name="connsiteX4987" fmla="*/ 1618661 w 11625583"/>
              <a:gd name="connsiteY4987" fmla="*/ 1002044 h 6380470"/>
              <a:gd name="connsiteX4988" fmla="*/ 1683332 w 11625583"/>
              <a:gd name="connsiteY4988" fmla="*/ 1066709 h 6380470"/>
              <a:gd name="connsiteX4989" fmla="*/ 1618661 w 11625583"/>
              <a:gd name="connsiteY4989" fmla="*/ 1131375 h 6380470"/>
              <a:gd name="connsiteX4990" fmla="*/ 1554000 w 11625583"/>
              <a:gd name="connsiteY4990" fmla="*/ 1066709 h 6380470"/>
              <a:gd name="connsiteX4991" fmla="*/ 1618661 w 11625583"/>
              <a:gd name="connsiteY4991" fmla="*/ 1002044 h 6380470"/>
              <a:gd name="connsiteX4992" fmla="*/ 1466007 w 11625583"/>
              <a:gd name="connsiteY4992" fmla="*/ 1002044 h 6380470"/>
              <a:gd name="connsiteX4993" fmla="*/ 1530672 w 11625583"/>
              <a:gd name="connsiteY4993" fmla="*/ 1066709 h 6380470"/>
              <a:gd name="connsiteX4994" fmla="*/ 1466007 w 11625583"/>
              <a:gd name="connsiteY4994" fmla="*/ 1131375 h 6380470"/>
              <a:gd name="connsiteX4995" fmla="*/ 1401343 w 11625583"/>
              <a:gd name="connsiteY4995" fmla="*/ 1066709 h 6380470"/>
              <a:gd name="connsiteX4996" fmla="*/ 1466007 w 11625583"/>
              <a:gd name="connsiteY4996" fmla="*/ 1002044 h 6380470"/>
              <a:gd name="connsiteX4997" fmla="*/ 1309433 w 11625583"/>
              <a:gd name="connsiteY4997" fmla="*/ 1002044 h 6380470"/>
              <a:gd name="connsiteX4998" fmla="*/ 1374099 w 11625583"/>
              <a:gd name="connsiteY4998" fmla="*/ 1066709 h 6380470"/>
              <a:gd name="connsiteX4999" fmla="*/ 1309433 w 11625583"/>
              <a:gd name="connsiteY4999" fmla="*/ 1131375 h 6380470"/>
              <a:gd name="connsiteX5000" fmla="*/ 1244768 w 11625583"/>
              <a:gd name="connsiteY5000" fmla="*/ 1066709 h 6380470"/>
              <a:gd name="connsiteX5001" fmla="*/ 1309433 w 11625583"/>
              <a:gd name="connsiteY5001" fmla="*/ 1002044 h 6380470"/>
              <a:gd name="connsiteX5002" fmla="*/ 1148949 w 11625583"/>
              <a:gd name="connsiteY5002" fmla="*/ 1002044 h 6380470"/>
              <a:gd name="connsiteX5003" fmla="*/ 1213614 w 11625583"/>
              <a:gd name="connsiteY5003" fmla="*/ 1066709 h 6380470"/>
              <a:gd name="connsiteX5004" fmla="*/ 1148949 w 11625583"/>
              <a:gd name="connsiteY5004" fmla="*/ 1131375 h 6380470"/>
              <a:gd name="connsiteX5005" fmla="*/ 1084284 w 11625583"/>
              <a:gd name="connsiteY5005" fmla="*/ 1066709 h 6380470"/>
              <a:gd name="connsiteX5006" fmla="*/ 1148949 w 11625583"/>
              <a:gd name="connsiteY5006" fmla="*/ 1002044 h 6380470"/>
              <a:gd name="connsiteX5007" fmla="*/ 992376 w 11625583"/>
              <a:gd name="connsiteY5007" fmla="*/ 1002044 h 6380470"/>
              <a:gd name="connsiteX5008" fmla="*/ 1057041 w 11625583"/>
              <a:gd name="connsiteY5008" fmla="*/ 1066709 h 6380470"/>
              <a:gd name="connsiteX5009" fmla="*/ 992376 w 11625583"/>
              <a:gd name="connsiteY5009" fmla="*/ 1131375 h 6380470"/>
              <a:gd name="connsiteX5010" fmla="*/ 927711 w 11625583"/>
              <a:gd name="connsiteY5010" fmla="*/ 1066709 h 6380470"/>
              <a:gd name="connsiteX5011" fmla="*/ 992376 w 11625583"/>
              <a:gd name="connsiteY5011" fmla="*/ 1002044 h 6380470"/>
              <a:gd name="connsiteX5012" fmla="*/ 839721 w 11625583"/>
              <a:gd name="connsiteY5012" fmla="*/ 1002044 h 6380470"/>
              <a:gd name="connsiteX5013" fmla="*/ 904386 w 11625583"/>
              <a:gd name="connsiteY5013" fmla="*/ 1066709 h 6380470"/>
              <a:gd name="connsiteX5014" fmla="*/ 839721 w 11625583"/>
              <a:gd name="connsiteY5014" fmla="*/ 1131375 h 6380470"/>
              <a:gd name="connsiteX5015" fmla="*/ 775056 w 11625583"/>
              <a:gd name="connsiteY5015" fmla="*/ 1066709 h 6380470"/>
              <a:gd name="connsiteX5016" fmla="*/ 839721 w 11625583"/>
              <a:gd name="connsiteY5016" fmla="*/ 1002044 h 6380470"/>
              <a:gd name="connsiteX5017" fmla="*/ 683148 w 11625583"/>
              <a:gd name="connsiteY5017" fmla="*/ 1002044 h 6380470"/>
              <a:gd name="connsiteX5018" fmla="*/ 747813 w 11625583"/>
              <a:gd name="connsiteY5018" fmla="*/ 1066709 h 6380470"/>
              <a:gd name="connsiteX5019" fmla="*/ 683148 w 11625583"/>
              <a:gd name="connsiteY5019" fmla="*/ 1131375 h 6380470"/>
              <a:gd name="connsiteX5020" fmla="*/ 618483 w 11625583"/>
              <a:gd name="connsiteY5020" fmla="*/ 1066709 h 6380470"/>
              <a:gd name="connsiteX5021" fmla="*/ 683148 w 11625583"/>
              <a:gd name="connsiteY5021" fmla="*/ 1002044 h 6380470"/>
              <a:gd name="connsiteX5022" fmla="*/ 11560917 w 11625583"/>
              <a:gd name="connsiteY5022" fmla="*/ 1002040 h 6380470"/>
              <a:gd name="connsiteX5023" fmla="*/ 11625583 w 11625583"/>
              <a:gd name="connsiteY5023" fmla="*/ 1066706 h 6380470"/>
              <a:gd name="connsiteX5024" fmla="*/ 11560917 w 11625583"/>
              <a:gd name="connsiteY5024" fmla="*/ 1131374 h 6380470"/>
              <a:gd name="connsiteX5025" fmla="*/ 11496251 w 11625583"/>
              <a:gd name="connsiteY5025" fmla="*/ 1066706 h 6380470"/>
              <a:gd name="connsiteX5026" fmla="*/ 11560917 w 11625583"/>
              <a:gd name="connsiteY5026" fmla="*/ 1002040 h 6380470"/>
              <a:gd name="connsiteX5027" fmla="*/ 11404343 w 11625583"/>
              <a:gd name="connsiteY5027" fmla="*/ 1002040 h 6380470"/>
              <a:gd name="connsiteX5028" fmla="*/ 11469009 w 11625583"/>
              <a:gd name="connsiteY5028" fmla="*/ 1066706 h 6380470"/>
              <a:gd name="connsiteX5029" fmla="*/ 11404343 w 11625583"/>
              <a:gd name="connsiteY5029" fmla="*/ 1131374 h 6380470"/>
              <a:gd name="connsiteX5030" fmla="*/ 11339677 w 11625583"/>
              <a:gd name="connsiteY5030" fmla="*/ 1066706 h 6380470"/>
              <a:gd name="connsiteX5031" fmla="*/ 11404343 w 11625583"/>
              <a:gd name="connsiteY5031" fmla="*/ 1002040 h 6380470"/>
              <a:gd name="connsiteX5032" fmla="*/ 11251683 w 11625583"/>
              <a:gd name="connsiteY5032" fmla="*/ 1002040 h 6380470"/>
              <a:gd name="connsiteX5033" fmla="*/ 11316349 w 11625583"/>
              <a:gd name="connsiteY5033" fmla="*/ 1066706 h 6380470"/>
              <a:gd name="connsiteX5034" fmla="*/ 11251683 w 11625583"/>
              <a:gd name="connsiteY5034" fmla="*/ 1131374 h 6380470"/>
              <a:gd name="connsiteX5035" fmla="*/ 11187017 w 11625583"/>
              <a:gd name="connsiteY5035" fmla="*/ 1066706 h 6380470"/>
              <a:gd name="connsiteX5036" fmla="*/ 11251683 w 11625583"/>
              <a:gd name="connsiteY5036" fmla="*/ 1002040 h 6380470"/>
              <a:gd name="connsiteX5037" fmla="*/ 526568 w 11625583"/>
              <a:gd name="connsiteY5037" fmla="*/ 1002040 h 6380470"/>
              <a:gd name="connsiteX5038" fmla="*/ 591233 w 11625583"/>
              <a:gd name="connsiteY5038" fmla="*/ 1066706 h 6380470"/>
              <a:gd name="connsiteX5039" fmla="*/ 526568 w 11625583"/>
              <a:gd name="connsiteY5039" fmla="*/ 1131374 h 6380470"/>
              <a:gd name="connsiteX5040" fmla="*/ 461903 w 11625583"/>
              <a:gd name="connsiteY5040" fmla="*/ 1066706 h 6380470"/>
              <a:gd name="connsiteX5041" fmla="*/ 526568 w 11625583"/>
              <a:gd name="connsiteY5041" fmla="*/ 1002040 h 6380470"/>
              <a:gd name="connsiteX5042" fmla="*/ 373912 w 11625583"/>
              <a:gd name="connsiteY5042" fmla="*/ 1002040 h 6380470"/>
              <a:gd name="connsiteX5043" fmla="*/ 438577 w 11625583"/>
              <a:gd name="connsiteY5043" fmla="*/ 1066706 h 6380470"/>
              <a:gd name="connsiteX5044" fmla="*/ 373912 w 11625583"/>
              <a:gd name="connsiteY5044" fmla="*/ 1131374 h 6380470"/>
              <a:gd name="connsiteX5045" fmla="*/ 309247 w 11625583"/>
              <a:gd name="connsiteY5045" fmla="*/ 1066706 h 6380470"/>
              <a:gd name="connsiteX5046" fmla="*/ 373912 w 11625583"/>
              <a:gd name="connsiteY5046" fmla="*/ 1002040 h 6380470"/>
              <a:gd name="connsiteX5047" fmla="*/ 217342 w 11625583"/>
              <a:gd name="connsiteY5047" fmla="*/ 1002040 h 6380470"/>
              <a:gd name="connsiteX5048" fmla="*/ 282007 w 11625583"/>
              <a:gd name="connsiteY5048" fmla="*/ 1066706 h 6380470"/>
              <a:gd name="connsiteX5049" fmla="*/ 217342 w 11625583"/>
              <a:gd name="connsiteY5049" fmla="*/ 1131374 h 6380470"/>
              <a:gd name="connsiteX5050" fmla="*/ 152676 w 11625583"/>
              <a:gd name="connsiteY5050" fmla="*/ 1066706 h 6380470"/>
              <a:gd name="connsiteX5051" fmla="*/ 217342 w 11625583"/>
              <a:gd name="connsiteY5051" fmla="*/ 1002040 h 6380470"/>
              <a:gd name="connsiteX5052" fmla="*/ 992384 w 11625583"/>
              <a:gd name="connsiteY5052" fmla="*/ 849416 h 6380470"/>
              <a:gd name="connsiteX5053" fmla="*/ 1057050 w 11625583"/>
              <a:gd name="connsiteY5053" fmla="*/ 914081 h 6380470"/>
              <a:gd name="connsiteX5054" fmla="*/ 992384 w 11625583"/>
              <a:gd name="connsiteY5054" fmla="*/ 978717 h 6380470"/>
              <a:gd name="connsiteX5055" fmla="*/ 927719 w 11625583"/>
              <a:gd name="connsiteY5055" fmla="*/ 914081 h 6380470"/>
              <a:gd name="connsiteX5056" fmla="*/ 992384 w 11625583"/>
              <a:gd name="connsiteY5056" fmla="*/ 849416 h 6380470"/>
              <a:gd name="connsiteX5057" fmla="*/ 839729 w 11625583"/>
              <a:gd name="connsiteY5057" fmla="*/ 849416 h 6380470"/>
              <a:gd name="connsiteX5058" fmla="*/ 904394 w 11625583"/>
              <a:gd name="connsiteY5058" fmla="*/ 914081 h 6380470"/>
              <a:gd name="connsiteX5059" fmla="*/ 839729 w 11625583"/>
              <a:gd name="connsiteY5059" fmla="*/ 978717 h 6380470"/>
              <a:gd name="connsiteX5060" fmla="*/ 775064 w 11625583"/>
              <a:gd name="connsiteY5060" fmla="*/ 914081 h 6380470"/>
              <a:gd name="connsiteX5061" fmla="*/ 839729 w 11625583"/>
              <a:gd name="connsiteY5061" fmla="*/ 849416 h 6380470"/>
              <a:gd name="connsiteX5062" fmla="*/ 683158 w 11625583"/>
              <a:gd name="connsiteY5062" fmla="*/ 849416 h 6380470"/>
              <a:gd name="connsiteX5063" fmla="*/ 747824 w 11625583"/>
              <a:gd name="connsiteY5063" fmla="*/ 914081 h 6380470"/>
              <a:gd name="connsiteX5064" fmla="*/ 683158 w 11625583"/>
              <a:gd name="connsiteY5064" fmla="*/ 978717 h 6380470"/>
              <a:gd name="connsiteX5065" fmla="*/ 618493 w 11625583"/>
              <a:gd name="connsiteY5065" fmla="*/ 914081 h 6380470"/>
              <a:gd name="connsiteX5066" fmla="*/ 683158 w 11625583"/>
              <a:gd name="connsiteY5066" fmla="*/ 849416 h 6380470"/>
              <a:gd name="connsiteX5067" fmla="*/ 7677904 w 11625583"/>
              <a:gd name="connsiteY5067" fmla="*/ 849415 h 6380470"/>
              <a:gd name="connsiteX5068" fmla="*/ 7742570 w 11625583"/>
              <a:gd name="connsiteY5068" fmla="*/ 914080 h 6380470"/>
              <a:gd name="connsiteX5069" fmla="*/ 7677904 w 11625583"/>
              <a:gd name="connsiteY5069" fmla="*/ 978717 h 6380470"/>
              <a:gd name="connsiteX5070" fmla="*/ 7613238 w 11625583"/>
              <a:gd name="connsiteY5070" fmla="*/ 914080 h 6380470"/>
              <a:gd name="connsiteX5071" fmla="*/ 7677904 w 11625583"/>
              <a:gd name="connsiteY5071" fmla="*/ 849415 h 6380470"/>
              <a:gd name="connsiteX5072" fmla="*/ 7521331 w 11625583"/>
              <a:gd name="connsiteY5072" fmla="*/ 849415 h 6380470"/>
              <a:gd name="connsiteX5073" fmla="*/ 7585997 w 11625583"/>
              <a:gd name="connsiteY5073" fmla="*/ 914080 h 6380470"/>
              <a:gd name="connsiteX5074" fmla="*/ 7521331 w 11625583"/>
              <a:gd name="connsiteY5074" fmla="*/ 978717 h 6380470"/>
              <a:gd name="connsiteX5075" fmla="*/ 7456665 w 11625583"/>
              <a:gd name="connsiteY5075" fmla="*/ 914080 h 6380470"/>
              <a:gd name="connsiteX5076" fmla="*/ 7521331 w 11625583"/>
              <a:gd name="connsiteY5076" fmla="*/ 849415 h 6380470"/>
              <a:gd name="connsiteX5077" fmla="*/ 7368669 w 11625583"/>
              <a:gd name="connsiteY5077" fmla="*/ 849415 h 6380470"/>
              <a:gd name="connsiteX5078" fmla="*/ 7433335 w 11625583"/>
              <a:gd name="connsiteY5078" fmla="*/ 914080 h 6380470"/>
              <a:gd name="connsiteX5079" fmla="*/ 7368669 w 11625583"/>
              <a:gd name="connsiteY5079" fmla="*/ 978717 h 6380470"/>
              <a:gd name="connsiteX5080" fmla="*/ 7304003 w 11625583"/>
              <a:gd name="connsiteY5080" fmla="*/ 914080 h 6380470"/>
              <a:gd name="connsiteX5081" fmla="*/ 7368669 w 11625583"/>
              <a:gd name="connsiteY5081" fmla="*/ 849415 h 6380470"/>
              <a:gd name="connsiteX5082" fmla="*/ 7212096 w 11625583"/>
              <a:gd name="connsiteY5082" fmla="*/ 849415 h 6380470"/>
              <a:gd name="connsiteX5083" fmla="*/ 7276762 w 11625583"/>
              <a:gd name="connsiteY5083" fmla="*/ 914080 h 6380470"/>
              <a:gd name="connsiteX5084" fmla="*/ 7212096 w 11625583"/>
              <a:gd name="connsiteY5084" fmla="*/ 978717 h 6380470"/>
              <a:gd name="connsiteX5085" fmla="*/ 7147430 w 11625583"/>
              <a:gd name="connsiteY5085" fmla="*/ 914080 h 6380470"/>
              <a:gd name="connsiteX5086" fmla="*/ 7212096 w 11625583"/>
              <a:gd name="connsiteY5086" fmla="*/ 849415 h 6380470"/>
              <a:gd name="connsiteX5087" fmla="*/ 6585804 w 11625583"/>
              <a:gd name="connsiteY5087" fmla="*/ 849415 h 6380470"/>
              <a:gd name="connsiteX5088" fmla="*/ 6650470 w 11625583"/>
              <a:gd name="connsiteY5088" fmla="*/ 914080 h 6380470"/>
              <a:gd name="connsiteX5089" fmla="*/ 6585804 w 11625583"/>
              <a:gd name="connsiteY5089" fmla="*/ 978717 h 6380470"/>
              <a:gd name="connsiteX5090" fmla="*/ 6521138 w 11625583"/>
              <a:gd name="connsiteY5090" fmla="*/ 914080 h 6380470"/>
              <a:gd name="connsiteX5091" fmla="*/ 6585804 w 11625583"/>
              <a:gd name="connsiteY5091" fmla="*/ 849415 h 6380470"/>
              <a:gd name="connsiteX5092" fmla="*/ 6429229 w 11625583"/>
              <a:gd name="connsiteY5092" fmla="*/ 849415 h 6380470"/>
              <a:gd name="connsiteX5093" fmla="*/ 6493895 w 11625583"/>
              <a:gd name="connsiteY5093" fmla="*/ 914080 h 6380470"/>
              <a:gd name="connsiteX5094" fmla="*/ 6429229 w 11625583"/>
              <a:gd name="connsiteY5094" fmla="*/ 978717 h 6380470"/>
              <a:gd name="connsiteX5095" fmla="*/ 6364563 w 11625583"/>
              <a:gd name="connsiteY5095" fmla="*/ 914080 h 6380470"/>
              <a:gd name="connsiteX5096" fmla="*/ 6429229 w 11625583"/>
              <a:gd name="connsiteY5096" fmla="*/ 849415 h 6380470"/>
              <a:gd name="connsiteX5097" fmla="*/ 6276571 w 11625583"/>
              <a:gd name="connsiteY5097" fmla="*/ 849415 h 6380470"/>
              <a:gd name="connsiteX5098" fmla="*/ 6341237 w 11625583"/>
              <a:gd name="connsiteY5098" fmla="*/ 914080 h 6380470"/>
              <a:gd name="connsiteX5099" fmla="*/ 6276571 w 11625583"/>
              <a:gd name="connsiteY5099" fmla="*/ 978717 h 6380470"/>
              <a:gd name="connsiteX5100" fmla="*/ 6211905 w 11625583"/>
              <a:gd name="connsiteY5100" fmla="*/ 914080 h 6380470"/>
              <a:gd name="connsiteX5101" fmla="*/ 6276571 w 11625583"/>
              <a:gd name="connsiteY5101" fmla="*/ 849415 h 6380470"/>
              <a:gd name="connsiteX5102" fmla="*/ 6119999 w 11625583"/>
              <a:gd name="connsiteY5102" fmla="*/ 849415 h 6380470"/>
              <a:gd name="connsiteX5103" fmla="*/ 6184665 w 11625583"/>
              <a:gd name="connsiteY5103" fmla="*/ 914080 h 6380470"/>
              <a:gd name="connsiteX5104" fmla="*/ 6119999 w 11625583"/>
              <a:gd name="connsiteY5104" fmla="*/ 978717 h 6380470"/>
              <a:gd name="connsiteX5105" fmla="*/ 6055333 w 11625583"/>
              <a:gd name="connsiteY5105" fmla="*/ 914080 h 6380470"/>
              <a:gd name="connsiteX5106" fmla="*/ 6119999 w 11625583"/>
              <a:gd name="connsiteY5106" fmla="*/ 849415 h 6380470"/>
              <a:gd name="connsiteX5107" fmla="*/ 5967339 w 11625583"/>
              <a:gd name="connsiteY5107" fmla="*/ 849415 h 6380470"/>
              <a:gd name="connsiteX5108" fmla="*/ 6032005 w 11625583"/>
              <a:gd name="connsiteY5108" fmla="*/ 914080 h 6380470"/>
              <a:gd name="connsiteX5109" fmla="*/ 5967339 w 11625583"/>
              <a:gd name="connsiteY5109" fmla="*/ 978717 h 6380470"/>
              <a:gd name="connsiteX5110" fmla="*/ 5902673 w 11625583"/>
              <a:gd name="connsiteY5110" fmla="*/ 914080 h 6380470"/>
              <a:gd name="connsiteX5111" fmla="*/ 5967339 w 11625583"/>
              <a:gd name="connsiteY5111" fmla="*/ 849415 h 6380470"/>
              <a:gd name="connsiteX5112" fmla="*/ 4566030 w 11625583"/>
              <a:gd name="connsiteY5112" fmla="*/ 849415 h 6380470"/>
              <a:gd name="connsiteX5113" fmla="*/ 4630712 w 11625583"/>
              <a:gd name="connsiteY5113" fmla="*/ 914081 h 6380470"/>
              <a:gd name="connsiteX5114" fmla="*/ 4566030 w 11625583"/>
              <a:gd name="connsiteY5114" fmla="*/ 978717 h 6380470"/>
              <a:gd name="connsiteX5115" fmla="*/ 4501345 w 11625583"/>
              <a:gd name="connsiteY5115" fmla="*/ 914081 h 6380470"/>
              <a:gd name="connsiteX5116" fmla="*/ 4566030 w 11625583"/>
              <a:gd name="connsiteY5116" fmla="*/ 849415 h 6380470"/>
              <a:gd name="connsiteX5117" fmla="*/ 4409471 w 11625583"/>
              <a:gd name="connsiteY5117" fmla="*/ 849415 h 6380470"/>
              <a:gd name="connsiteX5118" fmla="*/ 4474113 w 11625583"/>
              <a:gd name="connsiteY5118" fmla="*/ 914081 h 6380470"/>
              <a:gd name="connsiteX5119" fmla="*/ 4409471 w 11625583"/>
              <a:gd name="connsiteY5119" fmla="*/ 978717 h 6380470"/>
              <a:gd name="connsiteX5120" fmla="*/ 4344809 w 11625583"/>
              <a:gd name="connsiteY5120" fmla="*/ 914081 h 6380470"/>
              <a:gd name="connsiteX5121" fmla="*/ 4409471 w 11625583"/>
              <a:gd name="connsiteY5121" fmla="*/ 849415 h 6380470"/>
              <a:gd name="connsiteX5122" fmla="*/ 4256823 w 11625583"/>
              <a:gd name="connsiteY5122" fmla="*/ 849415 h 6380470"/>
              <a:gd name="connsiteX5123" fmla="*/ 4321471 w 11625583"/>
              <a:gd name="connsiteY5123" fmla="*/ 914081 h 6380470"/>
              <a:gd name="connsiteX5124" fmla="*/ 4256823 w 11625583"/>
              <a:gd name="connsiteY5124" fmla="*/ 978717 h 6380470"/>
              <a:gd name="connsiteX5125" fmla="*/ 4192125 w 11625583"/>
              <a:gd name="connsiteY5125" fmla="*/ 914081 h 6380470"/>
              <a:gd name="connsiteX5126" fmla="*/ 4256823 w 11625583"/>
              <a:gd name="connsiteY5126" fmla="*/ 849415 h 6380470"/>
              <a:gd name="connsiteX5127" fmla="*/ 4100249 w 11625583"/>
              <a:gd name="connsiteY5127" fmla="*/ 849415 h 6380470"/>
              <a:gd name="connsiteX5128" fmla="*/ 4164920 w 11625583"/>
              <a:gd name="connsiteY5128" fmla="*/ 914081 h 6380470"/>
              <a:gd name="connsiteX5129" fmla="*/ 4100249 w 11625583"/>
              <a:gd name="connsiteY5129" fmla="*/ 978717 h 6380470"/>
              <a:gd name="connsiteX5130" fmla="*/ 4035594 w 11625583"/>
              <a:gd name="connsiteY5130" fmla="*/ 914081 h 6380470"/>
              <a:gd name="connsiteX5131" fmla="*/ 4100249 w 11625583"/>
              <a:gd name="connsiteY5131" fmla="*/ 849415 h 6380470"/>
              <a:gd name="connsiteX5132" fmla="*/ 3947579 w 11625583"/>
              <a:gd name="connsiteY5132" fmla="*/ 849415 h 6380470"/>
              <a:gd name="connsiteX5133" fmla="*/ 4012257 w 11625583"/>
              <a:gd name="connsiteY5133" fmla="*/ 914081 h 6380470"/>
              <a:gd name="connsiteX5134" fmla="*/ 3947579 w 11625583"/>
              <a:gd name="connsiteY5134" fmla="*/ 978717 h 6380470"/>
              <a:gd name="connsiteX5135" fmla="*/ 3883050 w 11625583"/>
              <a:gd name="connsiteY5135" fmla="*/ 914081 h 6380470"/>
              <a:gd name="connsiteX5136" fmla="*/ 3947579 w 11625583"/>
              <a:gd name="connsiteY5136" fmla="*/ 849415 h 6380470"/>
              <a:gd name="connsiteX5137" fmla="*/ 3321438 w 11625583"/>
              <a:gd name="connsiteY5137" fmla="*/ 849415 h 6380470"/>
              <a:gd name="connsiteX5138" fmla="*/ 3386080 w 11625583"/>
              <a:gd name="connsiteY5138" fmla="*/ 914081 h 6380470"/>
              <a:gd name="connsiteX5139" fmla="*/ 3321438 w 11625583"/>
              <a:gd name="connsiteY5139" fmla="*/ 978717 h 6380470"/>
              <a:gd name="connsiteX5140" fmla="*/ 3256776 w 11625583"/>
              <a:gd name="connsiteY5140" fmla="*/ 914081 h 6380470"/>
              <a:gd name="connsiteX5141" fmla="*/ 3321438 w 11625583"/>
              <a:gd name="connsiteY5141" fmla="*/ 849415 h 6380470"/>
              <a:gd name="connsiteX5142" fmla="*/ 3172684 w 11625583"/>
              <a:gd name="connsiteY5142" fmla="*/ 849415 h 6380470"/>
              <a:gd name="connsiteX5143" fmla="*/ 3237355 w 11625583"/>
              <a:gd name="connsiteY5143" fmla="*/ 914081 h 6380470"/>
              <a:gd name="connsiteX5144" fmla="*/ 3172684 w 11625583"/>
              <a:gd name="connsiteY5144" fmla="*/ 978717 h 6380470"/>
              <a:gd name="connsiteX5145" fmla="*/ 3107997 w 11625583"/>
              <a:gd name="connsiteY5145" fmla="*/ 914081 h 6380470"/>
              <a:gd name="connsiteX5146" fmla="*/ 3172684 w 11625583"/>
              <a:gd name="connsiteY5146" fmla="*/ 849415 h 6380470"/>
              <a:gd name="connsiteX5147" fmla="*/ 3012161 w 11625583"/>
              <a:gd name="connsiteY5147" fmla="*/ 849415 h 6380470"/>
              <a:gd name="connsiteX5148" fmla="*/ 3076833 w 11625583"/>
              <a:gd name="connsiteY5148" fmla="*/ 914081 h 6380470"/>
              <a:gd name="connsiteX5149" fmla="*/ 3012161 w 11625583"/>
              <a:gd name="connsiteY5149" fmla="*/ 978717 h 6380470"/>
              <a:gd name="connsiteX5150" fmla="*/ 2947506 w 11625583"/>
              <a:gd name="connsiteY5150" fmla="*/ 914081 h 6380470"/>
              <a:gd name="connsiteX5151" fmla="*/ 3012161 w 11625583"/>
              <a:gd name="connsiteY5151" fmla="*/ 849415 h 6380470"/>
              <a:gd name="connsiteX5152" fmla="*/ 2855618 w 11625583"/>
              <a:gd name="connsiteY5152" fmla="*/ 849415 h 6380470"/>
              <a:gd name="connsiteX5153" fmla="*/ 2920269 w 11625583"/>
              <a:gd name="connsiteY5153" fmla="*/ 914081 h 6380470"/>
              <a:gd name="connsiteX5154" fmla="*/ 2855618 w 11625583"/>
              <a:gd name="connsiteY5154" fmla="*/ 978717 h 6380470"/>
              <a:gd name="connsiteX5155" fmla="*/ 2790958 w 11625583"/>
              <a:gd name="connsiteY5155" fmla="*/ 914081 h 6380470"/>
              <a:gd name="connsiteX5156" fmla="*/ 2855618 w 11625583"/>
              <a:gd name="connsiteY5156" fmla="*/ 849415 h 6380470"/>
              <a:gd name="connsiteX5157" fmla="*/ 2699069 w 11625583"/>
              <a:gd name="connsiteY5157" fmla="*/ 849415 h 6380470"/>
              <a:gd name="connsiteX5158" fmla="*/ 2763723 w 11625583"/>
              <a:gd name="connsiteY5158" fmla="*/ 914081 h 6380470"/>
              <a:gd name="connsiteX5159" fmla="*/ 2699069 w 11625583"/>
              <a:gd name="connsiteY5159" fmla="*/ 978717 h 6380470"/>
              <a:gd name="connsiteX5160" fmla="*/ 2634414 w 11625583"/>
              <a:gd name="connsiteY5160" fmla="*/ 914081 h 6380470"/>
              <a:gd name="connsiteX5161" fmla="*/ 2699069 w 11625583"/>
              <a:gd name="connsiteY5161" fmla="*/ 849415 h 6380470"/>
              <a:gd name="connsiteX5162" fmla="*/ 2546436 w 11625583"/>
              <a:gd name="connsiteY5162" fmla="*/ 849415 h 6380470"/>
              <a:gd name="connsiteX5163" fmla="*/ 2611091 w 11625583"/>
              <a:gd name="connsiteY5163" fmla="*/ 914081 h 6380470"/>
              <a:gd name="connsiteX5164" fmla="*/ 2546436 w 11625583"/>
              <a:gd name="connsiteY5164" fmla="*/ 978717 h 6380470"/>
              <a:gd name="connsiteX5165" fmla="*/ 2481777 w 11625583"/>
              <a:gd name="connsiteY5165" fmla="*/ 914081 h 6380470"/>
              <a:gd name="connsiteX5166" fmla="*/ 2546436 w 11625583"/>
              <a:gd name="connsiteY5166" fmla="*/ 849415 h 6380470"/>
              <a:gd name="connsiteX5167" fmla="*/ 2389845 w 11625583"/>
              <a:gd name="connsiteY5167" fmla="*/ 849415 h 6380470"/>
              <a:gd name="connsiteX5168" fmla="*/ 2454543 w 11625583"/>
              <a:gd name="connsiteY5168" fmla="*/ 914081 h 6380470"/>
              <a:gd name="connsiteX5169" fmla="*/ 2389845 w 11625583"/>
              <a:gd name="connsiteY5169" fmla="*/ 978717 h 6380470"/>
              <a:gd name="connsiteX5170" fmla="*/ 2325205 w 11625583"/>
              <a:gd name="connsiteY5170" fmla="*/ 914081 h 6380470"/>
              <a:gd name="connsiteX5171" fmla="*/ 2389845 w 11625583"/>
              <a:gd name="connsiteY5171" fmla="*/ 849415 h 6380470"/>
              <a:gd name="connsiteX5172" fmla="*/ 2237181 w 11625583"/>
              <a:gd name="connsiteY5172" fmla="*/ 849415 h 6380470"/>
              <a:gd name="connsiteX5173" fmla="*/ 2301870 w 11625583"/>
              <a:gd name="connsiteY5173" fmla="*/ 914081 h 6380470"/>
              <a:gd name="connsiteX5174" fmla="*/ 2237181 w 11625583"/>
              <a:gd name="connsiteY5174" fmla="*/ 978717 h 6380470"/>
              <a:gd name="connsiteX5175" fmla="*/ 2172494 w 11625583"/>
              <a:gd name="connsiteY5175" fmla="*/ 914081 h 6380470"/>
              <a:gd name="connsiteX5176" fmla="*/ 2237181 w 11625583"/>
              <a:gd name="connsiteY5176" fmla="*/ 849415 h 6380470"/>
              <a:gd name="connsiteX5177" fmla="*/ 2084492 w 11625583"/>
              <a:gd name="connsiteY5177" fmla="*/ 849415 h 6380470"/>
              <a:gd name="connsiteX5178" fmla="*/ 2149161 w 11625583"/>
              <a:gd name="connsiteY5178" fmla="*/ 914081 h 6380470"/>
              <a:gd name="connsiteX5179" fmla="*/ 2084492 w 11625583"/>
              <a:gd name="connsiteY5179" fmla="*/ 978717 h 6380470"/>
              <a:gd name="connsiteX5180" fmla="*/ 2019859 w 11625583"/>
              <a:gd name="connsiteY5180" fmla="*/ 914081 h 6380470"/>
              <a:gd name="connsiteX5181" fmla="*/ 2084492 w 11625583"/>
              <a:gd name="connsiteY5181" fmla="*/ 849415 h 6380470"/>
              <a:gd name="connsiteX5182" fmla="*/ 1927912 w 11625583"/>
              <a:gd name="connsiteY5182" fmla="*/ 849415 h 6380470"/>
              <a:gd name="connsiteX5183" fmla="*/ 1992599 w 11625583"/>
              <a:gd name="connsiteY5183" fmla="*/ 914081 h 6380470"/>
              <a:gd name="connsiteX5184" fmla="*/ 1927912 w 11625583"/>
              <a:gd name="connsiteY5184" fmla="*/ 978717 h 6380470"/>
              <a:gd name="connsiteX5185" fmla="*/ 1863278 w 11625583"/>
              <a:gd name="connsiteY5185" fmla="*/ 914081 h 6380470"/>
              <a:gd name="connsiteX5186" fmla="*/ 1927912 w 11625583"/>
              <a:gd name="connsiteY5186" fmla="*/ 849415 h 6380470"/>
              <a:gd name="connsiteX5187" fmla="*/ 1775257 w 11625583"/>
              <a:gd name="connsiteY5187" fmla="*/ 849415 h 6380470"/>
              <a:gd name="connsiteX5188" fmla="*/ 1839946 w 11625583"/>
              <a:gd name="connsiteY5188" fmla="*/ 914081 h 6380470"/>
              <a:gd name="connsiteX5189" fmla="*/ 1775257 w 11625583"/>
              <a:gd name="connsiteY5189" fmla="*/ 978717 h 6380470"/>
              <a:gd name="connsiteX5190" fmla="*/ 1710583 w 11625583"/>
              <a:gd name="connsiteY5190" fmla="*/ 914081 h 6380470"/>
              <a:gd name="connsiteX5191" fmla="*/ 1775257 w 11625583"/>
              <a:gd name="connsiteY5191" fmla="*/ 849415 h 6380470"/>
              <a:gd name="connsiteX5192" fmla="*/ 1618671 w 11625583"/>
              <a:gd name="connsiteY5192" fmla="*/ 849415 h 6380470"/>
              <a:gd name="connsiteX5193" fmla="*/ 1683342 w 11625583"/>
              <a:gd name="connsiteY5193" fmla="*/ 914081 h 6380470"/>
              <a:gd name="connsiteX5194" fmla="*/ 1618671 w 11625583"/>
              <a:gd name="connsiteY5194" fmla="*/ 978717 h 6380470"/>
              <a:gd name="connsiteX5195" fmla="*/ 1554009 w 11625583"/>
              <a:gd name="connsiteY5195" fmla="*/ 914081 h 6380470"/>
              <a:gd name="connsiteX5196" fmla="*/ 1618671 w 11625583"/>
              <a:gd name="connsiteY5196" fmla="*/ 849415 h 6380470"/>
              <a:gd name="connsiteX5197" fmla="*/ 1466016 w 11625583"/>
              <a:gd name="connsiteY5197" fmla="*/ 849415 h 6380470"/>
              <a:gd name="connsiteX5198" fmla="*/ 1530681 w 11625583"/>
              <a:gd name="connsiteY5198" fmla="*/ 914081 h 6380470"/>
              <a:gd name="connsiteX5199" fmla="*/ 1466016 w 11625583"/>
              <a:gd name="connsiteY5199" fmla="*/ 978717 h 6380470"/>
              <a:gd name="connsiteX5200" fmla="*/ 1401353 w 11625583"/>
              <a:gd name="connsiteY5200" fmla="*/ 914081 h 6380470"/>
              <a:gd name="connsiteX5201" fmla="*/ 1466016 w 11625583"/>
              <a:gd name="connsiteY5201" fmla="*/ 849415 h 6380470"/>
              <a:gd name="connsiteX5202" fmla="*/ 1309444 w 11625583"/>
              <a:gd name="connsiteY5202" fmla="*/ 849415 h 6380470"/>
              <a:gd name="connsiteX5203" fmla="*/ 1374109 w 11625583"/>
              <a:gd name="connsiteY5203" fmla="*/ 914081 h 6380470"/>
              <a:gd name="connsiteX5204" fmla="*/ 1309444 w 11625583"/>
              <a:gd name="connsiteY5204" fmla="*/ 978717 h 6380470"/>
              <a:gd name="connsiteX5205" fmla="*/ 1244778 w 11625583"/>
              <a:gd name="connsiteY5205" fmla="*/ 914081 h 6380470"/>
              <a:gd name="connsiteX5206" fmla="*/ 1309444 w 11625583"/>
              <a:gd name="connsiteY5206" fmla="*/ 849415 h 6380470"/>
              <a:gd name="connsiteX5207" fmla="*/ 1148959 w 11625583"/>
              <a:gd name="connsiteY5207" fmla="*/ 849415 h 6380470"/>
              <a:gd name="connsiteX5208" fmla="*/ 1213624 w 11625583"/>
              <a:gd name="connsiteY5208" fmla="*/ 914081 h 6380470"/>
              <a:gd name="connsiteX5209" fmla="*/ 1148959 w 11625583"/>
              <a:gd name="connsiteY5209" fmla="*/ 978717 h 6380470"/>
              <a:gd name="connsiteX5210" fmla="*/ 1084294 w 11625583"/>
              <a:gd name="connsiteY5210" fmla="*/ 914081 h 6380470"/>
              <a:gd name="connsiteX5211" fmla="*/ 1148959 w 11625583"/>
              <a:gd name="connsiteY5211" fmla="*/ 849415 h 6380470"/>
              <a:gd name="connsiteX5212" fmla="*/ 10625392 w 11625583"/>
              <a:gd name="connsiteY5212" fmla="*/ 849414 h 6380470"/>
              <a:gd name="connsiteX5213" fmla="*/ 10690058 w 11625583"/>
              <a:gd name="connsiteY5213" fmla="*/ 914079 h 6380470"/>
              <a:gd name="connsiteX5214" fmla="*/ 10625392 w 11625583"/>
              <a:gd name="connsiteY5214" fmla="*/ 978717 h 6380470"/>
              <a:gd name="connsiteX5215" fmla="*/ 10560726 w 11625583"/>
              <a:gd name="connsiteY5215" fmla="*/ 914079 h 6380470"/>
              <a:gd name="connsiteX5216" fmla="*/ 10625392 w 11625583"/>
              <a:gd name="connsiteY5216" fmla="*/ 849414 h 6380470"/>
              <a:gd name="connsiteX5217" fmla="*/ 10468818 w 11625583"/>
              <a:gd name="connsiteY5217" fmla="*/ 849414 h 6380470"/>
              <a:gd name="connsiteX5218" fmla="*/ 10533484 w 11625583"/>
              <a:gd name="connsiteY5218" fmla="*/ 914079 h 6380470"/>
              <a:gd name="connsiteX5219" fmla="*/ 10468818 w 11625583"/>
              <a:gd name="connsiteY5219" fmla="*/ 978717 h 6380470"/>
              <a:gd name="connsiteX5220" fmla="*/ 10404152 w 11625583"/>
              <a:gd name="connsiteY5220" fmla="*/ 914079 h 6380470"/>
              <a:gd name="connsiteX5221" fmla="*/ 10468818 w 11625583"/>
              <a:gd name="connsiteY5221" fmla="*/ 849414 h 6380470"/>
              <a:gd name="connsiteX5222" fmla="*/ 10312244 w 11625583"/>
              <a:gd name="connsiteY5222" fmla="*/ 849414 h 6380470"/>
              <a:gd name="connsiteX5223" fmla="*/ 10376910 w 11625583"/>
              <a:gd name="connsiteY5223" fmla="*/ 914079 h 6380470"/>
              <a:gd name="connsiteX5224" fmla="*/ 10312244 w 11625583"/>
              <a:gd name="connsiteY5224" fmla="*/ 978717 h 6380470"/>
              <a:gd name="connsiteX5225" fmla="*/ 10247578 w 11625583"/>
              <a:gd name="connsiteY5225" fmla="*/ 914079 h 6380470"/>
              <a:gd name="connsiteX5226" fmla="*/ 10312244 w 11625583"/>
              <a:gd name="connsiteY5226" fmla="*/ 849414 h 6380470"/>
              <a:gd name="connsiteX5227" fmla="*/ 10159586 w 11625583"/>
              <a:gd name="connsiteY5227" fmla="*/ 849414 h 6380470"/>
              <a:gd name="connsiteX5228" fmla="*/ 10224252 w 11625583"/>
              <a:gd name="connsiteY5228" fmla="*/ 914079 h 6380470"/>
              <a:gd name="connsiteX5229" fmla="*/ 10159586 w 11625583"/>
              <a:gd name="connsiteY5229" fmla="*/ 978717 h 6380470"/>
              <a:gd name="connsiteX5230" fmla="*/ 10094920 w 11625583"/>
              <a:gd name="connsiteY5230" fmla="*/ 914079 h 6380470"/>
              <a:gd name="connsiteX5231" fmla="*/ 10159586 w 11625583"/>
              <a:gd name="connsiteY5231" fmla="*/ 849414 h 6380470"/>
              <a:gd name="connsiteX5232" fmla="*/ 10003016 w 11625583"/>
              <a:gd name="connsiteY5232" fmla="*/ 849414 h 6380470"/>
              <a:gd name="connsiteX5233" fmla="*/ 10067682 w 11625583"/>
              <a:gd name="connsiteY5233" fmla="*/ 914079 h 6380470"/>
              <a:gd name="connsiteX5234" fmla="*/ 10003016 w 11625583"/>
              <a:gd name="connsiteY5234" fmla="*/ 978717 h 6380470"/>
              <a:gd name="connsiteX5235" fmla="*/ 9938350 w 11625583"/>
              <a:gd name="connsiteY5235" fmla="*/ 914079 h 6380470"/>
              <a:gd name="connsiteX5236" fmla="*/ 10003016 w 11625583"/>
              <a:gd name="connsiteY5236" fmla="*/ 849414 h 6380470"/>
              <a:gd name="connsiteX5237" fmla="*/ 9850358 w 11625583"/>
              <a:gd name="connsiteY5237" fmla="*/ 849414 h 6380470"/>
              <a:gd name="connsiteX5238" fmla="*/ 9915024 w 11625583"/>
              <a:gd name="connsiteY5238" fmla="*/ 914079 h 6380470"/>
              <a:gd name="connsiteX5239" fmla="*/ 9850358 w 11625583"/>
              <a:gd name="connsiteY5239" fmla="*/ 978717 h 6380470"/>
              <a:gd name="connsiteX5240" fmla="*/ 9785692 w 11625583"/>
              <a:gd name="connsiteY5240" fmla="*/ 914079 h 6380470"/>
              <a:gd name="connsiteX5241" fmla="*/ 9850358 w 11625583"/>
              <a:gd name="connsiteY5241" fmla="*/ 849414 h 6380470"/>
              <a:gd name="connsiteX5242" fmla="*/ 9693783 w 11625583"/>
              <a:gd name="connsiteY5242" fmla="*/ 849414 h 6380470"/>
              <a:gd name="connsiteX5243" fmla="*/ 9758449 w 11625583"/>
              <a:gd name="connsiteY5243" fmla="*/ 914079 h 6380470"/>
              <a:gd name="connsiteX5244" fmla="*/ 9693783 w 11625583"/>
              <a:gd name="connsiteY5244" fmla="*/ 978717 h 6380470"/>
              <a:gd name="connsiteX5245" fmla="*/ 9629117 w 11625583"/>
              <a:gd name="connsiteY5245" fmla="*/ 914079 h 6380470"/>
              <a:gd name="connsiteX5246" fmla="*/ 9693783 w 11625583"/>
              <a:gd name="connsiteY5246" fmla="*/ 849414 h 6380470"/>
              <a:gd name="connsiteX5247" fmla="*/ 9541123 w 11625583"/>
              <a:gd name="connsiteY5247" fmla="*/ 849414 h 6380470"/>
              <a:gd name="connsiteX5248" fmla="*/ 9605789 w 11625583"/>
              <a:gd name="connsiteY5248" fmla="*/ 914079 h 6380470"/>
              <a:gd name="connsiteX5249" fmla="*/ 9541123 w 11625583"/>
              <a:gd name="connsiteY5249" fmla="*/ 978717 h 6380470"/>
              <a:gd name="connsiteX5250" fmla="*/ 9476457 w 11625583"/>
              <a:gd name="connsiteY5250" fmla="*/ 914079 h 6380470"/>
              <a:gd name="connsiteX5251" fmla="*/ 9541123 w 11625583"/>
              <a:gd name="connsiteY5251" fmla="*/ 849414 h 6380470"/>
              <a:gd name="connsiteX5252" fmla="*/ 9384550 w 11625583"/>
              <a:gd name="connsiteY5252" fmla="*/ 849414 h 6380470"/>
              <a:gd name="connsiteX5253" fmla="*/ 9449216 w 11625583"/>
              <a:gd name="connsiteY5253" fmla="*/ 914079 h 6380470"/>
              <a:gd name="connsiteX5254" fmla="*/ 9384550 w 11625583"/>
              <a:gd name="connsiteY5254" fmla="*/ 978717 h 6380470"/>
              <a:gd name="connsiteX5255" fmla="*/ 9319884 w 11625583"/>
              <a:gd name="connsiteY5255" fmla="*/ 914079 h 6380470"/>
              <a:gd name="connsiteX5256" fmla="*/ 9384550 w 11625583"/>
              <a:gd name="connsiteY5256" fmla="*/ 849414 h 6380470"/>
              <a:gd name="connsiteX5257" fmla="*/ 9227977 w 11625583"/>
              <a:gd name="connsiteY5257" fmla="*/ 849414 h 6380470"/>
              <a:gd name="connsiteX5258" fmla="*/ 9292643 w 11625583"/>
              <a:gd name="connsiteY5258" fmla="*/ 914079 h 6380470"/>
              <a:gd name="connsiteX5259" fmla="*/ 9227977 w 11625583"/>
              <a:gd name="connsiteY5259" fmla="*/ 978717 h 6380470"/>
              <a:gd name="connsiteX5260" fmla="*/ 9163311 w 11625583"/>
              <a:gd name="connsiteY5260" fmla="*/ 914079 h 6380470"/>
              <a:gd name="connsiteX5261" fmla="*/ 9227977 w 11625583"/>
              <a:gd name="connsiteY5261" fmla="*/ 849414 h 6380470"/>
              <a:gd name="connsiteX5262" fmla="*/ 9075319 w 11625583"/>
              <a:gd name="connsiteY5262" fmla="*/ 849414 h 6380470"/>
              <a:gd name="connsiteX5263" fmla="*/ 9139985 w 11625583"/>
              <a:gd name="connsiteY5263" fmla="*/ 914079 h 6380470"/>
              <a:gd name="connsiteX5264" fmla="*/ 9075319 w 11625583"/>
              <a:gd name="connsiteY5264" fmla="*/ 978717 h 6380470"/>
              <a:gd name="connsiteX5265" fmla="*/ 9010653 w 11625583"/>
              <a:gd name="connsiteY5265" fmla="*/ 914079 h 6380470"/>
              <a:gd name="connsiteX5266" fmla="*/ 9075319 w 11625583"/>
              <a:gd name="connsiteY5266" fmla="*/ 849414 h 6380470"/>
              <a:gd name="connsiteX5267" fmla="*/ 8914831 w 11625583"/>
              <a:gd name="connsiteY5267" fmla="*/ 849414 h 6380470"/>
              <a:gd name="connsiteX5268" fmla="*/ 8979497 w 11625583"/>
              <a:gd name="connsiteY5268" fmla="*/ 914079 h 6380470"/>
              <a:gd name="connsiteX5269" fmla="*/ 8914831 w 11625583"/>
              <a:gd name="connsiteY5269" fmla="*/ 978717 h 6380470"/>
              <a:gd name="connsiteX5270" fmla="*/ 8850165 w 11625583"/>
              <a:gd name="connsiteY5270" fmla="*/ 914079 h 6380470"/>
              <a:gd name="connsiteX5271" fmla="*/ 8914831 w 11625583"/>
              <a:gd name="connsiteY5271" fmla="*/ 849414 h 6380470"/>
              <a:gd name="connsiteX5272" fmla="*/ 8766086 w 11625583"/>
              <a:gd name="connsiteY5272" fmla="*/ 849414 h 6380470"/>
              <a:gd name="connsiteX5273" fmla="*/ 8830752 w 11625583"/>
              <a:gd name="connsiteY5273" fmla="*/ 914079 h 6380470"/>
              <a:gd name="connsiteX5274" fmla="*/ 8766086 w 11625583"/>
              <a:gd name="connsiteY5274" fmla="*/ 978717 h 6380470"/>
              <a:gd name="connsiteX5275" fmla="*/ 8701420 w 11625583"/>
              <a:gd name="connsiteY5275" fmla="*/ 914079 h 6380470"/>
              <a:gd name="connsiteX5276" fmla="*/ 8766086 w 11625583"/>
              <a:gd name="connsiteY5276" fmla="*/ 849414 h 6380470"/>
              <a:gd name="connsiteX5277" fmla="*/ 8601683 w 11625583"/>
              <a:gd name="connsiteY5277" fmla="*/ 849414 h 6380470"/>
              <a:gd name="connsiteX5278" fmla="*/ 8666349 w 11625583"/>
              <a:gd name="connsiteY5278" fmla="*/ 914079 h 6380470"/>
              <a:gd name="connsiteX5279" fmla="*/ 8601683 w 11625583"/>
              <a:gd name="connsiteY5279" fmla="*/ 978717 h 6380470"/>
              <a:gd name="connsiteX5280" fmla="*/ 8537017 w 11625583"/>
              <a:gd name="connsiteY5280" fmla="*/ 914079 h 6380470"/>
              <a:gd name="connsiteX5281" fmla="*/ 8601683 w 11625583"/>
              <a:gd name="connsiteY5281" fmla="*/ 849414 h 6380470"/>
              <a:gd name="connsiteX5282" fmla="*/ 8449025 w 11625583"/>
              <a:gd name="connsiteY5282" fmla="*/ 849414 h 6380470"/>
              <a:gd name="connsiteX5283" fmla="*/ 8513691 w 11625583"/>
              <a:gd name="connsiteY5283" fmla="*/ 914079 h 6380470"/>
              <a:gd name="connsiteX5284" fmla="*/ 8449025 w 11625583"/>
              <a:gd name="connsiteY5284" fmla="*/ 978717 h 6380470"/>
              <a:gd name="connsiteX5285" fmla="*/ 8384359 w 11625583"/>
              <a:gd name="connsiteY5285" fmla="*/ 914079 h 6380470"/>
              <a:gd name="connsiteX5286" fmla="*/ 8449025 w 11625583"/>
              <a:gd name="connsiteY5286" fmla="*/ 849414 h 6380470"/>
              <a:gd name="connsiteX5287" fmla="*/ 8296368 w 11625583"/>
              <a:gd name="connsiteY5287" fmla="*/ 849414 h 6380470"/>
              <a:gd name="connsiteX5288" fmla="*/ 8361034 w 11625583"/>
              <a:gd name="connsiteY5288" fmla="*/ 914079 h 6380470"/>
              <a:gd name="connsiteX5289" fmla="*/ 8296368 w 11625583"/>
              <a:gd name="connsiteY5289" fmla="*/ 978717 h 6380470"/>
              <a:gd name="connsiteX5290" fmla="*/ 8231702 w 11625583"/>
              <a:gd name="connsiteY5290" fmla="*/ 914079 h 6380470"/>
              <a:gd name="connsiteX5291" fmla="*/ 8296368 w 11625583"/>
              <a:gd name="connsiteY5291" fmla="*/ 849414 h 6380470"/>
              <a:gd name="connsiteX5292" fmla="*/ 8139793 w 11625583"/>
              <a:gd name="connsiteY5292" fmla="*/ 849414 h 6380470"/>
              <a:gd name="connsiteX5293" fmla="*/ 8204459 w 11625583"/>
              <a:gd name="connsiteY5293" fmla="*/ 914079 h 6380470"/>
              <a:gd name="connsiteX5294" fmla="*/ 8139793 w 11625583"/>
              <a:gd name="connsiteY5294" fmla="*/ 978717 h 6380470"/>
              <a:gd name="connsiteX5295" fmla="*/ 8075127 w 11625583"/>
              <a:gd name="connsiteY5295" fmla="*/ 914079 h 6380470"/>
              <a:gd name="connsiteX5296" fmla="*/ 8139793 w 11625583"/>
              <a:gd name="connsiteY5296" fmla="*/ 849414 h 6380470"/>
              <a:gd name="connsiteX5297" fmla="*/ 7987133 w 11625583"/>
              <a:gd name="connsiteY5297" fmla="*/ 849414 h 6380470"/>
              <a:gd name="connsiteX5298" fmla="*/ 8051799 w 11625583"/>
              <a:gd name="connsiteY5298" fmla="*/ 914079 h 6380470"/>
              <a:gd name="connsiteX5299" fmla="*/ 7987133 w 11625583"/>
              <a:gd name="connsiteY5299" fmla="*/ 978717 h 6380470"/>
              <a:gd name="connsiteX5300" fmla="*/ 7922467 w 11625583"/>
              <a:gd name="connsiteY5300" fmla="*/ 914079 h 6380470"/>
              <a:gd name="connsiteX5301" fmla="*/ 7987133 w 11625583"/>
              <a:gd name="connsiteY5301" fmla="*/ 849414 h 6380470"/>
              <a:gd name="connsiteX5302" fmla="*/ 7830562 w 11625583"/>
              <a:gd name="connsiteY5302" fmla="*/ 849414 h 6380470"/>
              <a:gd name="connsiteX5303" fmla="*/ 7895228 w 11625583"/>
              <a:gd name="connsiteY5303" fmla="*/ 914079 h 6380470"/>
              <a:gd name="connsiteX5304" fmla="*/ 7830562 w 11625583"/>
              <a:gd name="connsiteY5304" fmla="*/ 978717 h 6380470"/>
              <a:gd name="connsiteX5305" fmla="*/ 7765896 w 11625583"/>
              <a:gd name="connsiteY5305" fmla="*/ 914079 h 6380470"/>
              <a:gd name="connsiteX5306" fmla="*/ 7830562 w 11625583"/>
              <a:gd name="connsiteY5306" fmla="*/ 849414 h 6380470"/>
              <a:gd name="connsiteX5307" fmla="*/ 11404343 w 11625583"/>
              <a:gd name="connsiteY5307" fmla="*/ 849412 h 6380470"/>
              <a:gd name="connsiteX5308" fmla="*/ 11469009 w 11625583"/>
              <a:gd name="connsiteY5308" fmla="*/ 914079 h 6380470"/>
              <a:gd name="connsiteX5309" fmla="*/ 11404343 w 11625583"/>
              <a:gd name="connsiteY5309" fmla="*/ 978717 h 6380470"/>
              <a:gd name="connsiteX5310" fmla="*/ 11339677 w 11625583"/>
              <a:gd name="connsiteY5310" fmla="*/ 914079 h 6380470"/>
              <a:gd name="connsiteX5311" fmla="*/ 11404343 w 11625583"/>
              <a:gd name="connsiteY5311" fmla="*/ 849412 h 6380470"/>
              <a:gd name="connsiteX5312" fmla="*/ 11251684 w 11625583"/>
              <a:gd name="connsiteY5312" fmla="*/ 849412 h 6380470"/>
              <a:gd name="connsiteX5313" fmla="*/ 11316350 w 11625583"/>
              <a:gd name="connsiteY5313" fmla="*/ 914079 h 6380470"/>
              <a:gd name="connsiteX5314" fmla="*/ 11251684 w 11625583"/>
              <a:gd name="connsiteY5314" fmla="*/ 978717 h 6380470"/>
              <a:gd name="connsiteX5315" fmla="*/ 11187018 w 11625583"/>
              <a:gd name="connsiteY5315" fmla="*/ 914079 h 6380470"/>
              <a:gd name="connsiteX5316" fmla="*/ 11251684 w 11625583"/>
              <a:gd name="connsiteY5316" fmla="*/ 849412 h 6380470"/>
              <a:gd name="connsiteX5317" fmla="*/ 11095111 w 11625583"/>
              <a:gd name="connsiteY5317" fmla="*/ 849412 h 6380470"/>
              <a:gd name="connsiteX5318" fmla="*/ 11159777 w 11625583"/>
              <a:gd name="connsiteY5318" fmla="*/ 914079 h 6380470"/>
              <a:gd name="connsiteX5319" fmla="*/ 11095111 w 11625583"/>
              <a:gd name="connsiteY5319" fmla="*/ 978717 h 6380470"/>
              <a:gd name="connsiteX5320" fmla="*/ 11030445 w 11625583"/>
              <a:gd name="connsiteY5320" fmla="*/ 914079 h 6380470"/>
              <a:gd name="connsiteX5321" fmla="*/ 11095111 w 11625583"/>
              <a:gd name="connsiteY5321" fmla="*/ 849412 h 6380470"/>
              <a:gd name="connsiteX5322" fmla="*/ 10938538 w 11625583"/>
              <a:gd name="connsiteY5322" fmla="*/ 849412 h 6380470"/>
              <a:gd name="connsiteX5323" fmla="*/ 11003204 w 11625583"/>
              <a:gd name="connsiteY5323" fmla="*/ 914079 h 6380470"/>
              <a:gd name="connsiteX5324" fmla="*/ 10938538 w 11625583"/>
              <a:gd name="connsiteY5324" fmla="*/ 978717 h 6380470"/>
              <a:gd name="connsiteX5325" fmla="*/ 10873872 w 11625583"/>
              <a:gd name="connsiteY5325" fmla="*/ 914079 h 6380470"/>
              <a:gd name="connsiteX5326" fmla="*/ 10938538 w 11625583"/>
              <a:gd name="connsiteY5326" fmla="*/ 849412 h 6380470"/>
              <a:gd name="connsiteX5327" fmla="*/ 10778051 w 11625583"/>
              <a:gd name="connsiteY5327" fmla="*/ 849412 h 6380470"/>
              <a:gd name="connsiteX5328" fmla="*/ 10842717 w 11625583"/>
              <a:gd name="connsiteY5328" fmla="*/ 914079 h 6380470"/>
              <a:gd name="connsiteX5329" fmla="*/ 10778051 w 11625583"/>
              <a:gd name="connsiteY5329" fmla="*/ 978717 h 6380470"/>
              <a:gd name="connsiteX5330" fmla="*/ 10713385 w 11625583"/>
              <a:gd name="connsiteY5330" fmla="*/ 914079 h 6380470"/>
              <a:gd name="connsiteX5331" fmla="*/ 10778051 w 11625583"/>
              <a:gd name="connsiteY5331" fmla="*/ 849412 h 6380470"/>
              <a:gd name="connsiteX5332" fmla="*/ 526578 w 11625583"/>
              <a:gd name="connsiteY5332" fmla="*/ 849412 h 6380470"/>
              <a:gd name="connsiteX5333" fmla="*/ 591243 w 11625583"/>
              <a:gd name="connsiteY5333" fmla="*/ 914079 h 6380470"/>
              <a:gd name="connsiteX5334" fmla="*/ 526578 w 11625583"/>
              <a:gd name="connsiteY5334" fmla="*/ 978717 h 6380470"/>
              <a:gd name="connsiteX5335" fmla="*/ 461913 w 11625583"/>
              <a:gd name="connsiteY5335" fmla="*/ 914079 h 6380470"/>
              <a:gd name="connsiteX5336" fmla="*/ 526578 w 11625583"/>
              <a:gd name="connsiteY5336" fmla="*/ 849412 h 6380470"/>
              <a:gd name="connsiteX5337" fmla="*/ 373922 w 11625583"/>
              <a:gd name="connsiteY5337" fmla="*/ 849412 h 6380470"/>
              <a:gd name="connsiteX5338" fmla="*/ 438587 w 11625583"/>
              <a:gd name="connsiteY5338" fmla="*/ 914079 h 6380470"/>
              <a:gd name="connsiteX5339" fmla="*/ 373922 w 11625583"/>
              <a:gd name="connsiteY5339" fmla="*/ 978717 h 6380470"/>
              <a:gd name="connsiteX5340" fmla="*/ 309257 w 11625583"/>
              <a:gd name="connsiteY5340" fmla="*/ 914079 h 6380470"/>
              <a:gd name="connsiteX5341" fmla="*/ 373922 w 11625583"/>
              <a:gd name="connsiteY5341" fmla="*/ 849412 h 6380470"/>
              <a:gd name="connsiteX5342" fmla="*/ 217353 w 11625583"/>
              <a:gd name="connsiteY5342" fmla="*/ 849412 h 6380470"/>
              <a:gd name="connsiteX5343" fmla="*/ 282019 w 11625583"/>
              <a:gd name="connsiteY5343" fmla="*/ 914079 h 6380470"/>
              <a:gd name="connsiteX5344" fmla="*/ 217353 w 11625583"/>
              <a:gd name="connsiteY5344" fmla="*/ 978717 h 6380470"/>
              <a:gd name="connsiteX5345" fmla="*/ 152688 w 11625583"/>
              <a:gd name="connsiteY5345" fmla="*/ 914079 h 6380470"/>
              <a:gd name="connsiteX5346" fmla="*/ 217353 w 11625583"/>
              <a:gd name="connsiteY5346" fmla="*/ 849412 h 6380470"/>
              <a:gd name="connsiteX5347" fmla="*/ 9384550 w 11625583"/>
              <a:gd name="connsiteY5347" fmla="*/ 712411 h 6380470"/>
              <a:gd name="connsiteX5348" fmla="*/ 9449216 w 11625583"/>
              <a:gd name="connsiteY5348" fmla="*/ 777076 h 6380470"/>
              <a:gd name="connsiteX5349" fmla="*/ 9384550 w 11625583"/>
              <a:gd name="connsiteY5349" fmla="*/ 841744 h 6380470"/>
              <a:gd name="connsiteX5350" fmla="*/ 9319884 w 11625583"/>
              <a:gd name="connsiteY5350" fmla="*/ 777076 h 6380470"/>
              <a:gd name="connsiteX5351" fmla="*/ 9384550 w 11625583"/>
              <a:gd name="connsiteY5351" fmla="*/ 712411 h 6380470"/>
              <a:gd name="connsiteX5352" fmla="*/ 9227977 w 11625583"/>
              <a:gd name="connsiteY5352" fmla="*/ 712411 h 6380470"/>
              <a:gd name="connsiteX5353" fmla="*/ 9292643 w 11625583"/>
              <a:gd name="connsiteY5353" fmla="*/ 777076 h 6380470"/>
              <a:gd name="connsiteX5354" fmla="*/ 9227977 w 11625583"/>
              <a:gd name="connsiteY5354" fmla="*/ 841744 h 6380470"/>
              <a:gd name="connsiteX5355" fmla="*/ 9163311 w 11625583"/>
              <a:gd name="connsiteY5355" fmla="*/ 777076 h 6380470"/>
              <a:gd name="connsiteX5356" fmla="*/ 9227977 w 11625583"/>
              <a:gd name="connsiteY5356" fmla="*/ 712411 h 6380470"/>
              <a:gd name="connsiteX5357" fmla="*/ 9075319 w 11625583"/>
              <a:gd name="connsiteY5357" fmla="*/ 712411 h 6380470"/>
              <a:gd name="connsiteX5358" fmla="*/ 9139985 w 11625583"/>
              <a:gd name="connsiteY5358" fmla="*/ 777076 h 6380470"/>
              <a:gd name="connsiteX5359" fmla="*/ 9075319 w 11625583"/>
              <a:gd name="connsiteY5359" fmla="*/ 841744 h 6380470"/>
              <a:gd name="connsiteX5360" fmla="*/ 9010653 w 11625583"/>
              <a:gd name="connsiteY5360" fmla="*/ 777076 h 6380470"/>
              <a:gd name="connsiteX5361" fmla="*/ 9075319 w 11625583"/>
              <a:gd name="connsiteY5361" fmla="*/ 712411 h 6380470"/>
              <a:gd name="connsiteX5362" fmla="*/ 8914831 w 11625583"/>
              <a:gd name="connsiteY5362" fmla="*/ 712411 h 6380470"/>
              <a:gd name="connsiteX5363" fmla="*/ 8979497 w 11625583"/>
              <a:gd name="connsiteY5363" fmla="*/ 777076 h 6380470"/>
              <a:gd name="connsiteX5364" fmla="*/ 8914831 w 11625583"/>
              <a:gd name="connsiteY5364" fmla="*/ 841744 h 6380470"/>
              <a:gd name="connsiteX5365" fmla="*/ 8850165 w 11625583"/>
              <a:gd name="connsiteY5365" fmla="*/ 777076 h 6380470"/>
              <a:gd name="connsiteX5366" fmla="*/ 8914831 w 11625583"/>
              <a:gd name="connsiteY5366" fmla="*/ 712411 h 6380470"/>
              <a:gd name="connsiteX5367" fmla="*/ 8766086 w 11625583"/>
              <a:gd name="connsiteY5367" fmla="*/ 712411 h 6380470"/>
              <a:gd name="connsiteX5368" fmla="*/ 8830752 w 11625583"/>
              <a:gd name="connsiteY5368" fmla="*/ 777076 h 6380470"/>
              <a:gd name="connsiteX5369" fmla="*/ 8766086 w 11625583"/>
              <a:gd name="connsiteY5369" fmla="*/ 841744 h 6380470"/>
              <a:gd name="connsiteX5370" fmla="*/ 8701420 w 11625583"/>
              <a:gd name="connsiteY5370" fmla="*/ 777076 h 6380470"/>
              <a:gd name="connsiteX5371" fmla="*/ 8766086 w 11625583"/>
              <a:gd name="connsiteY5371" fmla="*/ 712411 h 6380470"/>
              <a:gd name="connsiteX5372" fmla="*/ 8601683 w 11625583"/>
              <a:gd name="connsiteY5372" fmla="*/ 712411 h 6380470"/>
              <a:gd name="connsiteX5373" fmla="*/ 8666349 w 11625583"/>
              <a:gd name="connsiteY5373" fmla="*/ 777076 h 6380470"/>
              <a:gd name="connsiteX5374" fmla="*/ 8601683 w 11625583"/>
              <a:gd name="connsiteY5374" fmla="*/ 841744 h 6380470"/>
              <a:gd name="connsiteX5375" fmla="*/ 8537017 w 11625583"/>
              <a:gd name="connsiteY5375" fmla="*/ 777076 h 6380470"/>
              <a:gd name="connsiteX5376" fmla="*/ 8601683 w 11625583"/>
              <a:gd name="connsiteY5376" fmla="*/ 712411 h 6380470"/>
              <a:gd name="connsiteX5377" fmla="*/ 8449025 w 11625583"/>
              <a:gd name="connsiteY5377" fmla="*/ 712411 h 6380470"/>
              <a:gd name="connsiteX5378" fmla="*/ 8513691 w 11625583"/>
              <a:gd name="connsiteY5378" fmla="*/ 777076 h 6380470"/>
              <a:gd name="connsiteX5379" fmla="*/ 8449025 w 11625583"/>
              <a:gd name="connsiteY5379" fmla="*/ 841744 h 6380470"/>
              <a:gd name="connsiteX5380" fmla="*/ 8384359 w 11625583"/>
              <a:gd name="connsiteY5380" fmla="*/ 777076 h 6380470"/>
              <a:gd name="connsiteX5381" fmla="*/ 8449025 w 11625583"/>
              <a:gd name="connsiteY5381" fmla="*/ 712411 h 6380470"/>
              <a:gd name="connsiteX5382" fmla="*/ 8296368 w 11625583"/>
              <a:gd name="connsiteY5382" fmla="*/ 712411 h 6380470"/>
              <a:gd name="connsiteX5383" fmla="*/ 8361034 w 11625583"/>
              <a:gd name="connsiteY5383" fmla="*/ 777076 h 6380470"/>
              <a:gd name="connsiteX5384" fmla="*/ 8296368 w 11625583"/>
              <a:gd name="connsiteY5384" fmla="*/ 841744 h 6380470"/>
              <a:gd name="connsiteX5385" fmla="*/ 8231702 w 11625583"/>
              <a:gd name="connsiteY5385" fmla="*/ 777076 h 6380470"/>
              <a:gd name="connsiteX5386" fmla="*/ 8296368 w 11625583"/>
              <a:gd name="connsiteY5386" fmla="*/ 712411 h 6380470"/>
              <a:gd name="connsiteX5387" fmla="*/ 8139793 w 11625583"/>
              <a:gd name="connsiteY5387" fmla="*/ 712411 h 6380470"/>
              <a:gd name="connsiteX5388" fmla="*/ 8204459 w 11625583"/>
              <a:gd name="connsiteY5388" fmla="*/ 777076 h 6380470"/>
              <a:gd name="connsiteX5389" fmla="*/ 8139793 w 11625583"/>
              <a:gd name="connsiteY5389" fmla="*/ 841744 h 6380470"/>
              <a:gd name="connsiteX5390" fmla="*/ 8075127 w 11625583"/>
              <a:gd name="connsiteY5390" fmla="*/ 777076 h 6380470"/>
              <a:gd name="connsiteX5391" fmla="*/ 8139793 w 11625583"/>
              <a:gd name="connsiteY5391" fmla="*/ 712411 h 6380470"/>
              <a:gd name="connsiteX5392" fmla="*/ 7987133 w 11625583"/>
              <a:gd name="connsiteY5392" fmla="*/ 712411 h 6380470"/>
              <a:gd name="connsiteX5393" fmla="*/ 8051799 w 11625583"/>
              <a:gd name="connsiteY5393" fmla="*/ 777076 h 6380470"/>
              <a:gd name="connsiteX5394" fmla="*/ 7987133 w 11625583"/>
              <a:gd name="connsiteY5394" fmla="*/ 841744 h 6380470"/>
              <a:gd name="connsiteX5395" fmla="*/ 7922467 w 11625583"/>
              <a:gd name="connsiteY5395" fmla="*/ 777076 h 6380470"/>
              <a:gd name="connsiteX5396" fmla="*/ 7987133 w 11625583"/>
              <a:gd name="connsiteY5396" fmla="*/ 712411 h 6380470"/>
              <a:gd name="connsiteX5397" fmla="*/ 7830562 w 11625583"/>
              <a:gd name="connsiteY5397" fmla="*/ 712411 h 6380470"/>
              <a:gd name="connsiteX5398" fmla="*/ 7895228 w 11625583"/>
              <a:gd name="connsiteY5398" fmla="*/ 777076 h 6380470"/>
              <a:gd name="connsiteX5399" fmla="*/ 7830562 w 11625583"/>
              <a:gd name="connsiteY5399" fmla="*/ 841744 h 6380470"/>
              <a:gd name="connsiteX5400" fmla="*/ 7765896 w 11625583"/>
              <a:gd name="connsiteY5400" fmla="*/ 777076 h 6380470"/>
              <a:gd name="connsiteX5401" fmla="*/ 7830562 w 11625583"/>
              <a:gd name="connsiteY5401" fmla="*/ 712411 h 6380470"/>
              <a:gd name="connsiteX5402" fmla="*/ 7212096 w 11625583"/>
              <a:gd name="connsiteY5402" fmla="*/ 712411 h 6380470"/>
              <a:gd name="connsiteX5403" fmla="*/ 7276762 w 11625583"/>
              <a:gd name="connsiteY5403" fmla="*/ 777076 h 6380470"/>
              <a:gd name="connsiteX5404" fmla="*/ 7212096 w 11625583"/>
              <a:gd name="connsiteY5404" fmla="*/ 841744 h 6380470"/>
              <a:gd name="connsiteX5405" fmla="*/ 7147430 w 11625583"/>
              <a:gd name="connsiteY5405" fmla="*/ 777076 h 6380470"/>
              <a:gd name="connsiteX5406" fmla="*/ 7212096 w 11625583"/>
              <a:gd name="connsiteY5406" fmla="*/ 712411 h 6380470"/>
              <a:gd name="connsiteX5407" fmla="*/ 6429229 w 11625583"/>
              <a:gd name="connsiteY5407" fmla="*/ 712411 h 6380470"/>
              <a:gd name="connsiteX5408" fmla="*/ 6493895 w 11625583"/>
              <a:gd name="connsiteY5408" fmla="*/ 777076 h 6380470"/>
              <a:gd name="connsiteX5409" fmla="*/ 6429229 w 11625583"/>
              <a:gd name="connsiteY5409" fmla="*/ 841745 h 6380470"/>
              <a:gd name="connsiteX5410" fmla="*/ 6364563 w 11625583"/>
              <a:gd name="connsiteY5410" fmla="*/ 777076 h 6380470"/>
              <a:gd name="connsiteX5411" fmla="*/ 6429229 w 11625583"/>
              <a:gd name="connsiteY5411" fmla="*/ 712411 h 6380470"/>
              <a:gd name="connsiteX5412" fmla="*/ 6276571 w 11625583"/>
              <a:gd name="connsiteY5412" fmla="*/ 712411 h 6380470"/>
              <a:gd name="connsiteX5413" fmla="*/ 6341237 w 11625583"/>
              <a:gd name="connsiteY5413" fmla="*/ 777076 h 6380470"/>
              <a:gd name="connsiteX5414" fmla="*/ 6276571 w 11625583"/>
              <a:gd name="connsiteY5414" fmla="*/ 841745 h 6380470"/>
              <a:gd name="connsiteX5415" fmla="*/ 6211905 w 11625583"/>
              <a:gd name="connsiteY5415" fmla="*/ 777076 h 6380470"/>
              <a:gd name="connsiteX5416" fmla="*/ 6276571 w 11625583"/>
              <a:gd name="connsiteY5416" fmla="*/ 712411 h 6380470"/>
              <a:gd name="connsiteX5417" fmla="*/ 10312248 w 11625583"/>
              <a:gd name="connsiteY5417" fmla="*/ 712410 h 6380470"/>
              <a:gd name="connsiteX5418" fmla="*/ 10376914 w 11625583"/>
              <a:gd name="connsiteY5418" fmla="*/ 777076 h 6380470"/>
              <a:gd name="connsiteX5419" fmla="*/ 10312248 w 11625583"/>
              <a:gd name="connsiteY5419" fmla="*/ 841743 h 6380470"/>
              <a:gd name="connsiteX5420" fmla="*/ 10247582 w 11625583"/>
              <a:gd name="connsiteY5420" fmla="*/ 777076 h 6380470"/>
              <a:gd name="connsiteX5421" fmla="*/ 10312248 w 11625583"/>
              <a:gd name="connsiteY5421" fmla="*/ 712410 h 6380470"/>
              <a:gd name="connsiteX5422" fmla="*/ 10159588 w 11625583"/>
              <a:gd name="connsiteY5422" fmla="*/ 712410 h 6380470"/>
              <a:gd name="connsiteX5423" fmla="*/ 10224254 w 11625583"/>
              <a:gd name="connsiteY5423" fmla="*/ 777076 h 6380470"/>
              <a:gd name="connsiteX5424" fmla="*/ 10159588 w 11625583"/>
              <a:gd name="connsiteY5424" fmla="*/ 841744 h 6380470"/>
              <a:gd name="connsiteX5425" fmla="*/ 10094922 w 11625583"/>
              <a:gd name="connsiteY5425" fmla="*/ 777076 h 6380470"/>
              <a:gd name="connsiteX5426" fmla="*/ 10159588 w 11625583"/>
              <a:gd name="connsiteY5426" fmla="*/ 712410 h 6380470"/>
              <a:gd name="connsiteX5427" fmla="*/ 10003016 w 11625583"/>
              <a:gd name="connsiteY5427" fmla="*/ 712410 h 6380470"/>
              <a:gd name="connsiteX5428" fmla="*/ 10067682 w 11625583"/>
              <a:gd name="connsiteY5428" fmla="*/ 777076 h 6380470"/>
              <a:gd name="connsiteX5429" fmla="*/ 10003016 w 11625583"/>
              <a:gd name="connsiteY5429" fmla="*/ 841744 h 6380470"/>
              <a:gd name="connsiteX5430" fmla="*/ 9938350 w 11625583"/>
              <a:gd name="connsiteY5430" fmla="*/ 777076 h 6380470"/>
              <a:gd name="connsiteX5431" fmla="*/ 10003016 w 11625583"/>
              <a:gd name="connsiteY5431" fmla="*/ 712410 h 6380470"/>
              <a:gd name="connsiteX5432" fmla="*/ 9850358 w 11625583"/>
              <a:gd name="connsiteY5432" fmla="*/ 712410 h 6380470"/>
              <a:gd name="connsiteX5433" fmla="*/ 9915024 w 11625583"/>
              <a:gd name="connsiteY5433" fmla="*/ 777076 h 6380470"/>
              <a:gd name="connsiteX5434" fmla="*/ 9850358 w 11625583"/>
              <a:gd name="connsiteY5434" fmla="*/ 841744 h 6380470"/>
              <a:gd name="connsiteX5435" fmla="*/ 9785692 w 11625583"/>
              <a:gd name="connsiteY5435" fmla="*/ 777076 h 6380470"/>
              <a:gd name="connsiteX5436" fmla="*/ 9850358 w 11625583"/>
              <a:gd name="connsiteY5436" fmla="*/ 712410 h 6380470"/>
              <a:gd name="connsiteX5437" fmla="*/ 9693783 w 11625583"/>
              <a:gd name="connsiteY5437" fmla="*/ 712410 h 6380470"/>
              <a:gd name="connsiteX5438" fmla="*/ 9758449 w 11625583"/>
              <a:gd name="connsiteY5438" fmla="*/ 777076 h 6380470"/>
              <a:gd name="connsiteX5439" fmla="*/ 9693783 w 11625583"/>
              <a:gd name="connsiteY5439" fmla="*/ 841744 h 6380470"/>
              <a:gd name="connsiteX5440" fmla="*/ 9629117 w 11625583"/>
              <a:gd name="connsiteY5440" fmla="*/ 777076 h 6380470"/>
              <a:gd name="connsiteX5441" fmla="*/ 9693783 w 11625583"/>
              <a:gd name="connsiteY5441" fmla="*/ 712410 h 6380470"/>
              <a:gd name="connsiteX5442" fmla="*/ 9541123 w 11625583"/>
              <a:gd name="connsiteY5442" fmla="*/ 712410 h 6380470"/>
              <a:gd name="connsiteX5443" fmla="*/ 9605789 w 11625583"/>
              <a:gd name="connsiteY5443" fmla="*/ 777076 h 6380470"/>
              <a:gd name="connsiteX5444" fmla="*/ 9541123 w 11625583"/>
              <a:gd name="connsiteY5444" fmla="*/ 841744 h 6380470"/>
              <a:gd name="connsiteX5445" fmla="*/ 9476457 w 11625583"/>
              <a:gd name="connsiteY5445" fmla="*/ 777076 h 6380470"/>
              <a:gd name="connsiteX5446" fmla="*/ 9541123 w 11625583"/>
              <a:gd name="connsiteY5446" fmla="*/ 712410 h 6380470"/>
              <a:gd name="connsiteX5447" fmla="*/ 4409471 w 11625583"/>
              <a:gd name="connsiteY5447" fmla="*/ 712409 h 6380470"/>
              <a:gd name="connsiteX5448" fmla="*/ 4474113 w 11625583"/>
              <a:gd name="connsiteY5448" fmla="*/ 777074 h 6380470"/>
              <a:gd name="connsiteX5449" fmla="*/ 4409471 w 11625583"/>
              <a:gd name="connsiteY5449" fmla="*/ 841743 h 6380470"/>
              <a:gd name="connsiteX5450" fmla="*/ 4344809 w 11625583"/>
              <a:gd name="connsiteY5450" fmla="*/ 777074 h 6380470"/>
              <a:gd name="connsiteX5451" fmla="*/ 4409471 w 11625583"/>
              <a:gd name="connsiteY5451" fmla="*/ 712409 h 6380470"/>
              <a:gd name="connsiteX5452" fmla="*/ 4256823 w 11625583"/>
              <a:gd name="connsiteY5452" fmla="*/ 712409 h 6380470"/>
              <a:gd name="connsiteX5453" fmla="*/ 4321471 w 11625583"/>
              <a:gd name="connsiteY5453" fmla="*/ 777074 h 6380470"/>
              <a:gd name="connsiteX5454" fmla="*/ 4256823 w 11625583"/>
              <a:gd name="connsiteY5454" fmla="*/ 841743 h 6380470"/>
              <a:gd name="connsiteX5455" fmla="*/ 4192125 w 11625583"/>
              <a:gd name="connsiteY5455" fmla="*/ 777074 h 6380470"/>
              <a:gd name="connsiteX5456" fmla="*/ 4256823 w 11625583"/>
              <a:gd name="connsiteY5456" fmla="*/ 712409 h 6380470"/>
              <a:gd name="connsiteX5457" fmla="*/ 4100255 w 11625583"/>
              <a:gd name="connsiteY5457" fmla="*/ 712409 h 6380470"/>
              <a:gd name="connsiteX5458" fmla="*/ 4164923 w 11625583"/>
              <a:gd name="connsiteY5458" fmla="*/ 777074 h 6380470"/>
              <a:gd name="connsiteX5459" fmla="*/ 4100255 w 11625583"/>
              <a:gd name="connsiteY5459" fmla="*/ 841743 h 6380470"/>
              <a:gd name="connsiteX5460" fmla="*/ 4035594 w 11625583"/>
              <a:gd name="connsiteY5460" fmla="*/ 777074 h 6380470"/>
              <a:gd name="connsiteX5461" fmla="*/ 4100255 w 11625583"/>
              <a:gd name="connsiteY5461" fmla="*/ 712409 h 6380470"/>
              <a:gd name="connsiteX5462" fmla="*/ 3947579 w 11625583"/>
              <a:gd name="connsiteY5462" fmla="*/ 712409 h 6380470"/>
              <a:gd name="connsiteX5463" fmla="*/ 4012257 w 11625583"/>
              <a:gd name="connsiteY5463" fmla="*/ 777074 h 6380470"/>
              <a:gd name="connsiteX5464" fmla="*/ 3947579 w 11625583"/>
              <a:gd name="connsiteY5464" fmla="*/ 841743 h 6380470"/>
              <a:gd name="connsiteX5465" fmla="*/ 3883058 w 11625583"/>
              <a:gd name="connsiteY5465" fmla="*/ 777074 h 6380470"/>
              <a:gd name="connsiteX5466" fmla="*/ 3947579 w 11625583"/>
              <a:gd name="connsiteY5466" fmla="*/ 712409 h 6380470"/>
              <a:gd name="connsiteX5467" fmla="*/ 3791150 w 11625583"/>
              <a:gd name="connsiteY5467" fmla="*/ 712409 h 6380470"/>
              <a:gd name="connsiteX5468" fmla="*/ 3855819 w 11625583"/>
              <a:gd name="connsiteY5468" fmla="*/ 777074 h 6380470"/>
              <a:gd name="connsiteX5469" fmla="*/ 3791150 w 11625583"/>
              <a:gd name="connsiteY5469" fmla="*/ 841743 h 6380470"/>
              <a:gd name="connsiteX5470" fmla="*/ 3726477 w 11625583"/>
              <a:gd name="connsiteY5470" fmla="*/ 777074 h 6380470"/>
              <a:gd name="connsiteX5471" fmla="*/ 3791150 w 11625583"/>
              <a:gd name="connsiteY5471" fmla="*/ 712409 h 6380470"/>
              <a:gd name="connsiteX5472" fmla="*/ 3012174 w 11625583"/>
              <a:gd name="connsiteY5472" fmla="*/ 712409 h 6380470"/>
              <a:gd name="connsiteX5473" fmla="*/ 3076841 w 11625583"/>
              <a:gd name="connsiteY5473" fmla="*/ 777074 h 6380470"/>
              <a:gd name="connsiteX5474" fmla="*/ 3012174 w 11625583"/>
              <a:gd name="connsiteY5474" fmla="*/ 841743 h 6380470"/>
              <a:gd name="connsiteX5475" fmla="*/ 2947515 w 11625583"/>
              <a:gd name="connsiteY5475" fmla="*/ 777074 h 6380470"/>
              <a:gd name="connsiteX5476" fmla="*/ 3012174 w 11625583"/>
              <a:gd name="connsiteY5476" fmla="*/ 712409 h 6380470"/>
              <a:gd name="connsiteX5477" fmla="*/ 2855626 w 11625583"/>
              <a:gd name="connsiteY5477" fmla="*/ 712409 h 6380470"/>
              <a:gd name="connsiteX5478" fmla="*/ 2920277 w 11625583"/>
              <a:gd name="connsiteY5478" fmla="*/ 777074 h 6380470"/>
              <a:gd name="connsiteX5479" fmla="*/ 2855626 w 11625583"/>
              <a:gd name="connsiteY5479" fmla="*/ 841743 h 6380470"/>
              <a:gd name="connsiteX5480" fmla="*/ 2790967 w 11625583"/>
              <a:gd name="connsiteY5480" fmla="*/ 777074 h 6380470"/>
              <a:gd name="connsiteX5481" fmla="*/ 2855626 w 11625583"/>
              <a:gd name="connsiteY5481" fmla="*/ 712409 h 6380470"/>
              <a:gd name="connsiteX5482" fmla="*/ 2699077 w 11625583"/>
              <a:gd name="connsiteY5482" fmla="*/ 712409 h 6380470"/>
              <a:gd name="connsiteX5483" fmla="*/ 2763730 w 11625583"/>
              <a:gd name="connsiteY5483" fmla="*/ 777074 h 6380470"/>
              <a:gd name="connsiteX5484" fmla="*/ 2699077 w 11625583"/>
              <a:gd name="connsiteY5484" fmla="*/ 841743 h 6380470"/>
              <a:gd name="connsiteX5485" fmla="*/ 2634422 w 11625583"/>
              <a:gd name="connsiteY5485" fmla="*/ 777074 h 6380470"/>
              <a:gd name="connsiteX5486" fmla="*/ 2699077 w 11625583"/>
              <a:gd name="connsiteY5486" fmla="*/ 712409 h 6380470"/>
              <a:gd name="connsiteX5487" fmla="*/ 2546443 w 11625583"/>
              <a:gd name="connsiteY5487" fmla="*/ 712409 h 6380470"/>
              <a:gd name="connsiteX5488" fmla="*/ 2611099 w 11625583"/>
              <a:gd name="connsiteY5488" fmla="*/ 777074 h 6380470"/>
              <a:gd name="connsiteX5489" fmla="*/ 2546443 w 11625583"/>
              <a:gd name="connsiteY5489" fmla="*/ 841743 h 6380470"/>
              <a:gd name="connsiteX5490" fmla="*/ 2481784 w 11625583"/>
              <a:gd name="connsiteY5490" fmla="*/ 777074 h 6380470"/>
              <a:gd name="connsiteX5491" fmla="*/ 2546443 w 11625583"/>
              <a:gd name="connsiteY5491" fmla="*/ 712409 h 6380470"/>
              <a:gd name="connsiteX5492" fmla="*/ 2389866 w 11625583"/>
              <a:gd name="connsiteY5492" fmla="*/ 712409 h 6380470"/>
              <a:gd name="connsiteX5493" fmla="*/ 2454550 w 11625583"/>
              <a:gd name="connsiteY5493" fmla="*/ 777074 h 6380470"/>
              <a:gd name="connsiteX5494" fmla="*/ 2389866 w 11625583"/>
              <a:gd name="connsiteY5494" fmla="*/ 841743 h 6380470"/>
              <a:gd name="connsiteX5495" fmla="*/ 2325211 w 11625583"/>
              <a:gd name="connsiteY5495" fmla="*/ 777074 h 6380470"/>
              <a:gd name="connsiteX5496" fmla="*/ 2389866 w 11625583"/>
              <a:gd name="connsiteY5496" fmla="*/ 712409 h 6380470"/>
              <a:gd name="connsiteX5497" fmla="*/ 2237188 w 11625583"/>
              <a:gd name="connsiteY5497" fmla="*/ 712409 h 6380470"/>
              <a:gd name="connsiteX5498" fmla="*/ 2301876 w 11625583"/>
              <a:gd name="connsiteY5498" fmla="*/ 777075 h 6380470"/>
              <a:gd name="connsiteX5499" fmla="*/ 2237188 w 11625583"/>
              <a:gd name="connsiteY5499" fmla="*/ 841743 h 6380470"/>
              <a:gd name="connsiteX5500" fmla="*/ 2172504 w 11625583"/>
              <a:gd name="connsiteY5500" fmla="*/ 777075 h 6380470"/>
              <a:gd name="connsiteX5501" fmla="*/ 2237188 w 11625583"/>
              <a:gd name="connsiteY5501" fmla="*/ 712409 h 6380470"/>
              <a:gd name="connsiteX5502" fmla="*/ 2084508 w 11625583"/>
              <a:gd name="connsiteY5502" fmla="*/ 712409 h 6380470"/>
              <a:gd name="connsiteX5503" fmla="*/ 2149169 w 11625583"/>
              <a:gd name="connsiteY5503" fmla="*/ 777075 h 6380470"/>
              <a:gd name="connsiteX5504" fmla="*/ 2084508 w 11625583"/>
              <a:gd name="connsiteY5504" fmla="*/ 841743 h 6380470"/>
              <a:gd name="connsiteX5505" fmla="*/ 2019865 w 11625583"/>
              <a:gd name="connsiteY5505" fmla="*/ 777075 h 6380470"/>
              <a:gd name="connsiteX5506" fmla="*/ 2084508 w 11625583"/>
              <a:gd name="connsiteY5506" fmla="*/ 712409 h 6380470"/>
              <a:gd name="connsiteX5507" fmla="*/ 1927912 w 11625583"/>
              <a:gd name="connsiteY5507" fmla="*/ 712409 h 6380470"/>
              <a:gd name="connsiteX5508" fmla="*/ 1992606 w 11625583"/>
              <a:gd name="connsiteY5508" fmla="*/ 777075 h 6380470"/>
              <a:gd name="connsiteX5509" fmla="*/ 1927912 w 11625583"/>
              <a:gd name="connsiteY5509" fmla="*/ 841743 h 6380470"/>
              <a:gd name="connsiteX5510" fmla="*/ 1863284 w 11625583"/>
              <a:gd name="connsiteY5510" fmla="*/ 777075 h 6380470"/>
              <a:gd name="connsiteX5511" fmla="*/ 1927912 w 11625583"/>
              <a:gd name="connsiteY5511" fmla="*/ 712409 h 6380470"/>
              <a:gd name="connsiteX5512" fmla="*/ 1775266 w 11625583"/>
              <a:gd name="connsiteY5512" fmla="*/ 712409 h 6380470"/>
              <a:gd name="connsiteX5513" fmla="*/ 1839957 w 11625583"/>
              <a:gd name="connsiteY5513" fmla="*/ 777075 h 6380470"/>
              <a:gd name="connsiteX5514" fmla="*/ 1775266 w 11625583"/>
              <a:gd name="connsiteY5514" fmla="*/ 841743 h 6380470"/>
              <a:gd name="connsiteX5515" fmla="*/ 1710593 w 11625583"/>
              <a:gd name="connsiteY5515" fmla="*/ 777075 h 6380470"/>
              <a:gd name="connsiteX5516" fmla="*/ 1775266 w 11625583"/>
              <a:gd name="connsiteY5516" fmla="*/ 712409 h 6380470"/>
              <a:gd name="connsiteX5517" fmla="*/ 1618680 w 11625583"/>
              <a:gd name="connsiteY5517" fmla="*/ 712409 h 6380470"/>
              <a:gd name="connsiteX5518" fmla="*/ 1683351 w 11625583"/>
              <a:gd name="connsiteY5518" fmla="*/ 777075 h 6380470"/>
              <a:gd name="connsiteX5519" fmla="*/ 1618680 w 11625583"/>
              <a:gd name="connsiteY5519" fmla="*/ 841743 h 6380470"/>
              <a:gd name="connsiteX5520" fmla="*/ 1554018 w 11625583"/>
              <a:gd name="connsiteY5520" fmla="*/ 777075 h 6380470"/>
              <a:gd name="connsiteX5521" fmla="*/ 1618680 w 11625583"/>
              <a:gd name="connsiteY5521" fmla="*/ 712409 h 6380470"/>
              <a:gd name="connsiteX5522" fmla="*/ 1466022 w 11625583"/>
              <a:gd name="connsiteY5522" fmla="*/ 712409 h 6380470"/>
              <a:gd name="connsiteX5523" fmla="*/ 1530689 w 11625583"/>
              <a:gd name="connsiteY5523" fmla="*/ 777075 h 6380470"/>
              <a:gd name="connsiteX5524" fmla="*/ 1466022 w 11625583"/>
              <a:gd name="connsiteY5524" fmla="*/ 841743 h 6380470"/>
              <a:gd name="connsiteX5525" fmla="*/ 1401359 w 11625583"/>
              <a:gd name="connsiteY5525" fmla="*/ 777075 h 6380470"/>
              <a:gd name="connsiteX5526" fmla="*/ 1466022 w 11625583"/>
              <a:gd name="connsiteY5526" fmla="*/ 712409 h 6380470"/>
              <a:gd name="connsiteX5527" fmla="*/ 6119999 w 11625583"/>
              <a:gd name="connsiteY5527" fmla="*/ 712409 h 6380470"/>
              <a:gd name="connsiteX5528" fmla="*/ 6184665 w 11625583"/>
              <a:gd name="connsiteY5528" fmla="*/ 777074 h 6380470"/>
              <a:gd name="connsiteX5529" fmla="*/ 6119999 w 11625583"/>
              <a:gd name="connsiteY5529" fmla="*/ 841743 h 6380470"/>
              <a:gd name="connsiteX5530" fmla="*/ 6055333 w 11625583"/>
              <a:gd name="connsiteY5530" fmla="*/ 777074 h 6380470"/>
              <a:gd name="connsiteX5531" fmla="*/ 6119999 w 11625583"/>
              <a:gd name="connsiteY5531" fmla="*/ 712409 h 6380470"/>
              <a:gd name="connsiteX5532" fmla="*/ 4722614 w 11625583"/>
              <a:gd name="connsiteY5532" fmla="*/ 712409 h 6380470"/>
              <a:gd name="connsiteX5533" fmla="*/ 4787277 w 11625583"/>
              <a:gd name="connsiteY5533" fmla="*/ 777074 h 6380470"/>
              <a:gd name="connsiteX5534" fmla="*/ 4722614 w 11625583"/>
              <a:gd name="connsiteY5534" fmla="*/ 841743 h 6380470"/>
              <a:gd name="connsiteX5535" fmla="*/ 4657957 w 11625583"/>
              <a:gd name="connsiteY5535" fmla="*/ 777074 h 6380470"/>
              <a:gd name="connsiteX5536" fmla="*/ 4722614 w 11625583"/>
              <a:gd name="connsiteY5536" fmla="*/ 712409 h 6380470"/>
              <a:gd name="connsiteX5537" fmla="*/ 4566030 w 11625583"/>
              <a:gd name="connsiteY5537" fmla="*/ 712409 h 6380470"/>
              <a:gd name="connsiteX5538" fmla="*/ 4630712 w 11625583"/>
              <a:gd name="connsiteY5538" fmla="*/ 777074 h 6380470"/>
              <a:gd name="connsiteX5539" fmla="*/ 4566030 w 11625583"/>
              <a:gd name="connsiteY5539" fmla="*/ 841743 h 6380470"/>
              <a:gd name="connsiteX5540" fmla="*/ 4501345 w 11625583"/>
              <a:gd name="connsiteY5540" fmla="*/ 777074 h 6380470"/>
              <a:gd name="connsiteX5541" fmla="*/ 4566030 w 11625583"/>
              <a:gd name="connsiteY5541" fmla="*/ 712409 h 6380470"/>
              <a:gd name="connsiteX5542" fmla="*/ 9541123 w 11625583"/>
              <a:gd name="connsiteY5542" fmla="*/ 579326 h 6380470"/>
              <a:gd name="connsiteX5543" fmla="*/ 9605789 w 11625583"/>
              <a:gd name="connsiteY5543" fmla="*/ 643991 h 6380470"/>
              <a:gd name="connsiteX5544" fmla="*/ 9541123 w 11625583"/>
              <a:gd name="connsiteY5544" fmla="*/ 708656 h 6380470"/>
              <a:gd name="connsiteX5545" fmla="*/ 9476457 w 11625583"/>
              <a:gd name="connsiteY5545" fmla="*/ 643991 h 6380470"/>
              <a:gd name="connsiteX5546" fmla="*/ 9541123 w 11625583"/>
              <a:gd name="connsiteY5546" fmla="*/ 579326 h 6380470"/>
              <a:gd name="connsiteX5547" fmla="*/ 9384550 w 11625583"/>
              <a:gd name="connsiteY5547" fmla="*/ 579326 h 6380470"/>
              <a:gd name="connsiteX5548" fmla="*/ 9449216 w 11625583"/>
              <a:gd name="connsiteY5548" fmla="*/ 643991 h 6380470"/>
              <a:gd name="connsiteX5549" fmla="*/ 9384550 w 11625583"/>
              <a:gd name="connsiteY5549" fmla="*/ 708656 h 6380470"/>
              <a:gd name="connsiteX5550" fmla="*/ 9319884 w 11625583"/>
              <a:gd name="connsiteY5550" fmla="*/ 643991 h 6380470"/>
              <a:gd name="connsiteX5551" fmla="*/ 9384550 w 11625583"/>
              <a:gd name="connsiteY5551" fmla="*/ 579326 h 6380470"/>
              <a:gd name="connsiteX5552" fmla="*/ 9227977 w 11625583"/>
              <a:gd name="connsiteY5552" fmla="*/ 579326 h 6380470"/>
              <a:gd name="connsiteX5553" fmla="*/ 9292643 w 11625583"/>
              <a:gd name="connsiteY5553" fmla="*/ 643991 h 6380470"/>
              <a:gd name="connsiteX5554" fmla="*/ 9227977 w 11625583"/>
              <a:gd name="connsiteY5554" fmla="*/ 708656 h 6380470"/>
              <a:gd name="connsiteX5555" fmla="*/ 9163311 w 11625583"/>
              <a:gd name="connsiteY5555" fmla="*/ 643991 h 6380470"/>
              <a:gd name="connsiteX5556" fmla="*/ 9227977 w 11625583"/>
              <a:gd name="connsiteY5556" fmla="*/ 579326 h 6380470"/>
              <a:gd name="connsiteX5557" fmla="*/ 9075319 w 11625583"/>
              <a:gd name="connsiteY5557" fmla="*/ 579326 h 6380470"/>
              <a:gd name="connsiteX5558" fmla="*/ 9139985 w 11625583"/>
              <a:gd name="connsiteY5558" fmla="*/ 643992 h 6380470"/>
              <a:gd name="connsiteX5559" fmla="*/ 9075319 w 11625583"/>
              <a:gd name="connsiteY5559" fmla="*/ 708656 h 6380470"/>
              <a:gd name="connsiteX5560" fmla="*/ 9010653 w 11625583"/>
              <a:gd name="connsiteY5560" fmla="*/ 643992 h 6380470"/>
              <a:gd name="connsiteX5561" fmla="*/ 9075319 w 11625583"/>
              <a:gd name="connsiteY5561" fmla="*/ 579326 h 6380470"/>
              <a:gd name="connsiteX5562" fmla="*/ 8914831 w 11625583"/>
              <a:gd name="connsiteY5562" fmla="*/ 579326 h 6380470"/>
              <a:gd name="connsiteX5563" fmla="*/ 8979497 w 11625583"/>
              <a:gd name="connsiteY5563" fmla="*/ 643992 h 6380470"/>
              <a:gd name="connsiteX5564" fmla="*/ 8914831 w 11625583"/>
              <a:gd name="connsiteY5564" fmla="*/ 708656 h 6380470"/>
              <a:gd name="connsiteX5565" fmla="*/ 8850165 w 11625583"/>
              <a:gd name="connsiteY5565" fmla="*/ 643992 h 6380470"/>
              <a:gd name="connsiteX5566" fmla="*/ 8914831 w 11625583"/>
              <a:gd name="connsiteY5566" fmla="*/ 579326 h 6380470"/>
              <a:gd name="connsiteX5567" fmla="*/ 8766086 w 11625583"/>
              <a:gd name="connsiteY5567" fmla="*/ 579326 h 6380470"/>
              <a:gd name="connsiteX5568" fmla="*/ 8830752 w 11625583"/>
              <a:gd name="connsiteY5568" fmla="*/ 643992 h 6380470"/>
              <a:gd name="connsiteX5569" fmla="*/ 8766086 w 11625583"/>
              <a:gd name="connsiteY5569" fmla="*/ 708656 h 6380470"/>
              <a:gd name="connsiteX5570" fmla="*/ 8701420 w 11625583"/>
              <a:gd name="connsiteY5570" fmla="*/ 643992 h 6380470"/>
              <a:gd name="connsiteX5571" fmla="*/ 8766086 w 11625583"/>
              <a:gd name="connsiteY5571" fmla="*/ 579326 h 6380470"/>
              <a:gd name="connsiteX5572" fmla="*/ 8601685 w 11625583"/>
              <a:gd name="connsiteY5572" fmla="*/ 579326 h 6380470"/>
              <a:gd name="connsiteX5573" fmla="*/ 8666351 w 11625583"/>
              <a:gd name="connsiteY5573" fmla="*/ 643992 h 6380470"/>
              <a:gd name="connsiteX5574" fmla="*/ 8601685 w 11625583"/>
              <a:gd name="connsiteY5574" fmla="*/ 708656 h 6380470"/>
              <a:gd name="connsiteX5575" fmla="*/ 8537019 w 11625583"/>
              <a:gd name="connsiteY5575" fmla="*/ 643992 h 6380470"/>
              <a:gd name="connsiteX5576" fmla="*/ 8601685 w 11625583"/>
              <a:gd name="connsiteY5576" fmla="*/ 579326 h 6380470"/>
              <a:gd name="connsiteX5577" fmla="*/ 8449025 w 11625583"/>
              <a:gd name="connsiteY5577" fmla="*/ 579326 h 6380470"/>
              <a:gd name="connsiteX5578" fmla="*/ 8513691 w 11625583"/>
              <a:gd name="connsiteY5578" fmla="*/ 643992 h 6380470"/>
              <a:gd name="connsiteX5579" fmla="*/ 8449025 w 11625583"/>
              <a:gd name="connsiteY5579" fmla="*/ 708656 h 6380470"/>
              <a:gd name="connsiteX5580" fmla="*/ 8384359 w 11625583"/>
              <a:gd name="connsiteY5580" fmla="*/ 643992 h 6380470"/>
              <a:gd name="connsiteX5581" fmla="*/ 8449025 w 11625583"/>
              <a:gd name="connsiteY5581" fmla="*/ 579326 h 6380470"/>
              <a:gd name="connsiteX5582" fmla="*/ 8296368 w 11625583"/>
              <a:gd name="connsiteY5582" fmla="*/ 579326 h 6380470"/>
              <a:gd name="connsiteX5583" fmla="*/ 8361034 w 11625583"/>
              <a:gd name="connsiteY5583" fmla="*/ 643992 h 6380470"/>
              <a:gd name="connsiteX5584" fmla="*/ 8296368 w 11625583"/>
              <a:gd name="connsiteY5584" fmla="*/ 708656 h 6380470"/>
              <a:gd name="connsiteX5585" fmla="*/ 8231702 w 11625583"/>
              <a:gd name="connsiteY5585" fmla="*/ 643992 h 6380470"/>
              <a:gd name="connsiteX5586" fmla="*/ 8296368 w 11625583"/>
              <a:gd name="connsiteY5586" fmla="*/ 579326 h 6380470"/>
              <a:gd name="connsiteX5587" fmla="*/ 8139793 w 11625583"/>
              <a:gd name="connsiteY5587" fmla="*/ 579326 h 6380470"/>
              <a:gd name="connsiteX5588" fmla="*/ 8204459 w 11625583"/>
              <a:gd name="connsiteY5588" fmla="*/ 643992 h 6380470"/>
              <a:gd name="connsiteX5589" fmla="*/ 8139793 w 11625583"/>
              <a:gd name="connsiteY5589" fmla="*/ 708656 h 6380470"/>
              <a:gd name="connsiteX5590" fmla="*/ 8075127 w 11625583"/>
              <a:gd name="connsiteY5590" fmla="*/ 643992 h 6380470"/>
              <a:gd name="connsiteX5591" fmla="*/ 8139793 w 11625583"/>
              <a:gd name="connsiteY5591" fmla="*/ 579326 h 6380470"/>
              <a:gd name="connsiteX5592" fmla="*/ 7368669 w 11625583"/>
              <a:gd name="connsiteY5592" fmla="*/ 579326 h 6380470"/>
              <a:gd name="connsiteX5593" fmla="*/ 7433335 w 11625583"/>
              <a:gd name="connsiteY5593" fmla="*/ 643992 h 6380470"/>
              <a:gd name="connsiteX5594" fmla="*/ 7368669 w 11625583"/>
              <a:gd name="connsiteY5594" fmla="*/ 708658 h 6380470"/>
              <a:gd name="connsiteX5595" fmla="*/ 7304003 w 11625583"/>
              <a:gd name="connsiteY5595" fmla="*/ 643992 h 6380470"/>
              <a:gd name="connsiteX5596" fmla="*/ 7368669 w 11625583"/>
              <a:gd name="connsiteY5596" fmla="*/ 579326 h 6380470"/>
              <a:gd name="connsiteX5597" fmla="*/ 4722614 w 11625583"/>
              <a:gd name="connsiteY5597" fmla="*/ 579326 h 6380470"/>
              <a:gd name="connsiteX5598" fmla="*/ 4787277 w 11625583"/>
              <a:gd name="connsiteY5598" fmla="*/ 643992 h 6380470"/>
              <a:gd name="connsiteX5599" fmla="*/ 4722614 w 11625583"/>
              <a:gd name="connsiteY5599" fmla="*/ 708658 h 6380470"/>
              <a:gd name="connsiteX5600" fmla="*/ 4657957 w 11625583"/>
              <a:gd name="connsiteY5600" fmla="*/ 643992 h 6380470"/>
              <a:gd name="connsiteX5601" fmla="*/ 4722614 w 11625583"/>
              <a:gd name="connsiteY5601" fmla="*/ 579326 h 6380470"/>
              <a:gd name="connsiteX5602" fmla="*/ 4566030 w 11625583"/>
              <a:gd name="connsiteY5602" fmla="*/ 579326 h 6380470"/>
              <a:gd name="connsiteX5603" fmla="*/ 4630712 w 11625583"/>
              <a:gd name="connsiteY5603" fmla="*/ 643992 h 6380470"/>
              <a:gd name="connsiteX5604" fmla="*/ 4566030 w 11625583"/>
              <a:gd name="connsiteY5604" fmla="*/ 708658 h 6380470"/>
              <a:gd name="connsiteX5605" fmla="*/ 4501345 w 11625583"/>
              <a:gd name="connsiteY5605" fmla="*/ 643992 h 6380470"/>
              <a:gd name="connsiteX5606" fmla="*/ 4566030 w 11625583"/>
              <a:gd name="connsiteY5606" fmla="*/ 579326 h 6380470"/>
              <a:gd name="connsiteX5607" fmla="*/ 4409471 w 11625583"/>
              <a:gd name="connsiteY5607" fmla="*/ 579326 h 6380470"/>
              <a:gd name="connsiteX5608" fmla="*/ 4474113 w 11625583"/>
              <a:gd name="connsiteY5608" fmla="*/ 643992 h 6380470"/>
              <a:gd name="connsiteX5609" fmla="*/ 4409471 w 11625583"/>
              <a:gd name="connsiteY5609" fmla="*/ 708658 h 6380470"/>
              <a:gd name="connsiteX5610" fmla="*/ 4344809 w 11625583"/>
              <a:gd name="connsiteY5610" fmla="*/ 643992 h 6380470"/>
              <a:gd name="connsiteX5611" fmla="*/ 4409471 w 11625583"/>
              <a:gd name="connsiteY5611" fmla="*/ 579326 h 6380470"/>
              <a:gd name="connsiteX5612" fmla="*/ 4256823 w 11625583"/>
              <a:gd name="connsiteY5612" fmla="*/ 579326 h 6380470"/>
              <a:gd name="connsiteX5613" fmla="*/ 4321471 w 11625583"/>
              <a:gd name="connsiteY5613" fmla="*/ 643992 h 6380470"/>
              <a:gd name="connsiteX5614" fmla="*/ 4256823 w 11625583"/>
              <a:gd name="connsiteY5614" fmla="*/ 708658 h 6380470"/>
              <a:gd name="connsiteX5615" fmla="*/ 4192125 w 11625583"/>
              <a:gd name="connsiteY5615" fmla="*/ 643992 h 6380470"/>
              <a:gd name="connsiteX5616" fmla="*/ 4256823 w 11625583"/>
              <a:gd name="connsiteY5616" fmla="*/ 579326 h 6380470"/>
              <a:gd name="connsiteX5617" fmla="*/ 4100255 w 11625583"/>
              <a:gd name="connsiteY5617" fmla="*/ 579326 h 6380470"/>
              <a:gd name="connsiteX5618" fmla="*/ 4164923 w 11625583"/>
              <a:gd name="connsiteY5618" fmla="*/ 643992 h 6380470"/>
              <a:gd name="connsiteX5619" fmla="*/ 4100255 w 11625583"/>
              <a:gd name="connsiteY5619" fmla="*/ 708658 h 6380470"/>
              <a:gd name="connsiteX5620" fmla="*/ 4035594 w 11625583"/>
              <a:gd name="connsiteY5620" fmla="*/ 643992 h 6380470"/>
              <a:gd name="connsiteX5621" fmla="*/ 4100255 w 11625583"/>
              <a:gd name="connsiteY5621" fmla="*/ 579326 h 6380470"/>
              <a:gd name="connsiteX5622" fmla="*/ 3947579 w 11625583"/>
              <a:gd name="connsiteY5622" fmla="*/ 579326 h 6380470"/>
              <a:gd name="connsiteX5623" fmla="*/ 4012257 w 11625583"/>
              <a:gd name="connsiteY5623" fmla="*/ 643992 h 6380470"/>
              <a:gd name="connsiteX5624" fmla="*/ 3947579 w 11625583"/>
              <a:gd name="connsiteY5624" fmla="*/ 708658 h 6380470"/>
              <a:gd name="connsiteX5625" fmla="*/ 3883063 w 11625583"/>
              <a:gd name="connsiteY5625" fmla="*/ 643992 h 6380470"/>
              <a:gd name="connsiteX5626" fmla="*/ 3947579 w 11625583"/>
              <a:gd name="connsiteY5626" fmla="*/ 579326 h 6380470"/>
              <a:gd name="connsiteX5627" fmla="*/ 3791157 w 11625583"/>
              <a:gd name="connsiteY5627" fmla="*/ 579326 h 6380470"/>
              <a:gd name="connsiteX5628" fmla="*/ 3855823 w 11625583"/>
              <a:gd name="connsiteY5628" fmla="*/ 643992 h 6380470"/>
              <a:gd name="connsiteX5629" fmla="*/ 3791157 w 11625583"/>
              <a:gd name="connsiteY5629" fmla="*/ 708658 h 6380470"/>
              <a:gd name="connsiteX5630" fmla="*/ 3726482 w 11625583"/>
              <a:gd name="connsiteY5630" fmla="*/ 643992 h 6380470"/>
              <a:gd name="connsiteX5631" fmla="*/ 3791157 w 11625583"/>
              <a:gd name="connsiteY5631" fmla="*/ 579326 h 6380470"/>
              <a:gd name="connsiteX5632" fmla="*/ 2855626 w 11625583"/>
              <a:gd name="connsiteY5632" fmla="*/ 579326 h 6380470"/>
              <a:gd name="connsiteX5633" fmla="*/ 2920280 w 11625583"/>
              <a:gd name="connsiteY5633" fmla="*/ 643992 h 6380470"/>
              <a:gd name="connsiteX5634" fmla="*/ 2855626 w 11625583"/>
              <a:gd name="connsiteY5634" fmla="*/ 708658 h 6380470"/>
              <a:gd name="connsiteX5635" fmla="*/ 2790969 w 11625583"/>
              <a:gd name="connsiteY5635" fmla="*/ 643992 h 6380470"/>
              <a:gd name="connsiteX5636" fmla="*/ 2855626 w 11625583"/>
              <a:gd name="connsiteY5636" fmla="*/ 579326 h 6380470"/>
              <a:gd name="connsiteX5637" fmla="*/ 2699081 w 11625583"/>
              <a:gd name="connsiteY5637" fmla="*/ 579326 h 6380470"/>
              <a:gd name="connsiteX5638" fmla="*/ 2763735 w 11625583"/>
              <a:gd name="connsiteY5638" fmla="*/ 643992 h 6380470"/>
              <a:gd name="connsiteX5639" fmla="*/ 2699081 w 11625583"/>
              <a:gd name="connsiteY5639" fmla="*/ 708658 h 6380470"/>
              <a:gd name="connsiteX5640" fmla="*/ 2634426 w 11625583"/>
              <a:gd name="connsiteY5640" fmla="*/ 643992 h 6380470"/>
              <a:gd name="connsiteX5641" fmla="*/ 2699081 w 11625583"/>
              <a:gd name="connsiteY5641" fmla="*/ 579326 h 6380470"/>
              <a:gd name="connsiteX5642" fmla="*/ 2546449 w 11625583"/>
              <a:gd name="connsiteY5642" fmla="*/ 579326 h 6380470"/>
              <a:gd name="connsiteX5643" fmla="*/ 2611104 w 11625583"/>
              <a:gd name="connsiteY5643" fmla="*/ 643992 h 6380470"/>
              <a:gd name="connsiteX5644" fmla="*/ 2546449 w 11625583"/>
              <a:gd name="connsiteY5644" fmla="*/ 708658 h 6380470"/>
              <a:gd name="connsiteX5645" fmla="*/ 2481790 w 11625583"/>
              <a:gd name="connsiteY5645" fmla="*/ 643992 h 6380470"/>
              <a:gd name="connsiteX5646" fmla="*/ 2546449 w 11625583"/>
              <a:gd name="connsiteY5646" fmla="*/ 579326 h 6380470"/>
              <a:gd name="connsiteX5647" fmla="*/ 2389866 w 11625583"/>
              <a:gd name="connsiteY5647" fmla="*/ 579326 h 6380470"/>
              <a:gd name="connsiteX5648" fmla="*/ 2454554 w 11625583"/>
              <a:gd name="connsiteY5648" fmla="*/ 643992 h 6380470"/>
              <a:gd name="connsiteX5649" fmla="*/ 2389866 w 11625583"/>
              <a:gd name="connsiteY5649" fmla="*/ 708658 h 6380470"/>
              <a:gd name="connsiteX5650" fmla="*/ 2325215 w 11625583"/>
              <a:gd name="connsiteY5650" fmla="*/ 643992 h 6380470"/>
              <a:gd name="connsiteX5651" fmla="*/ 2389866 w 11625583"/>
              <a:gd name="connsiteY5651" fmla="*/ 579326 h 6380470"/>
              <a:gd name="connsiteX5652" fmla="*/ 2237196 w 11625583"/>
              <a:gd name="connsiteY5652" fmla="*/ 579326 h 6380470"/>
              <a:gd name="connsiteX5653" fmla="*/ 2301879 w 11625583"/>
              <a:gd name="connsiteY5653" fmla="*/ 643992 h 6380470"/>
              <a:gd name="connsiteX5654" fmla="*/ 2237196 w 11625583"/>
              <a:gd name="connsiteY5654" fmla="*/ 708658 h 6380470"/>
              <a:gd name="connsiteX5655" fmla="*/ 2172508 w 11625583"/>
              <a:gd name="connsiteY5655" fmla="*/ 643992 h 6380470"/>
              <a:gd name="connsiteX5656" fmla="*/ 2237196 w 11625583"/>
              <a:gd name="connsiteY5656" fmla="*/ 579326 h 6380470"/>
              <a:gd name="connsiteX5657" fmla="*/ 2084510 w 11625583"/>
              <a:gd name="connsiteY5657" fmla="*/ 579326 h 6380470"/>
              <a:gd name="connsiteX5658" fmla="*/ 2149173 w 11625583"/>
              <a:gd name="connsiteY5658" fmla="*/ 643992 h 6380470"/>
              <a:gd name="connsiteX5659" fmla="*/ 2084510 w 11625583"/>
              <a:gd name="connsiteY5659" fmla="*/ 708658 h 6380470"/>
              <a:gd name="connsiteX5660" fmla="*/ 2019873 w 11625583"/>
              <a:gd name="connsiteY5660" fmla="*/ 643992 h 6380470"/>
              <a:gd name="connsiteX5661" fmla="*/ 2084510 w 11625583"/>
              <a:gd name="connsiteY5661" fmla="*/ 579326 h 6380470"/>
              <a:gd name="connsiteX5662" fmla="*/ 1927912 w 11625583"/>
              <a:gd name="connsiteY5662" fmla="*/ 579326 h 6380470"/>
              <a:gd name="connsiteX5663" fmla="*/ 1992614 w 11625583"/>
              <a:gd name="connsiteY5663" fmla="*/ 643992 h 6380470"/>
              <a:gd name="connsiteX5664" fmla="*/ 1927912 w 11625583"/>
              <a:gd name="connsiteY5664" fmla="*/ 708658 h 6380470"/>
              <a:gd name="connsiteX5665" fmla="*/ 1863289 w 11625583"/>
              <a:gd name="connsiteY5665" fmla="*/ 643992 h 6380470"/>
              <a:gd name="connsiteX5666" fmla="*/ 1927912 w 11625583"/>
              <a:gd name="connsiteY5666" fmla="*/ 579326 h 6380470"/>
              <a:gd name="connsiteX5667" fmla="*/ 1775269 w 11625583"/>
              <a:gd name="connsiteY5667" fmla="*/ 579326 h 6380470"/>
              <a:gd name="connsiteX5668" fmla="*/ 1839963 w 11625583"/>
              <a:gd name="connsiteY5668" fmla="*/ 643992 h 6380470"/>
              <a:gd name="connsiteX5669" fmla="*/ 1775269 w 11625583"/>
              <a:gd name="connsiteY5669" fmla="*/ 708658 h 6380470"/>
              <a:gd name="connsiteX5670" fmla="*/ 1710597 w 11625583"/>
              <a:gd name="connsiteY5670" fmla="*/ 643992 h 6380470"/>
              <a:gd name="connsiteX5671" fmla="*/ 1775269 w 11625583"/>
              <a:gd name="connsiteY5671" fmla="*/ 579326 h 6380470"/>
              <a:gd name="connsiteX5672" fmla="*/ 1618682 w 11625583"/>
              <a:gd name="connsiteY5672" fmla="*/ 579326 h 6380470"/>
              <a:gd name="connsiteX5673" fmla="*/ 1683355 w 11625583"/>
              <a:gd name="connsiteY5673" fmla="*/ 643992 h 6380470"/>
              <a:gd name="connsiteX5674" fmla="*/ 1618682 w 11625583"/>
              <a:gd name="connsiteY5674" fmla="*/ 708658 h 6380470"/>
              <a:gd name="connsiteX5675" fmla="*/ 1554022 w 11625583"/>
              <a:gd name="connsiteY5675" fmla="*/ 643992 h 6380470"/>
              <a:gd name="connsiteX5676" fmla="*/ 1618682 w 11625583"/>
              <a:gd name="connsiteY5676" fmla="*/ 579326 h 6380470"/>
              <a:gd name="connsiteX5677" fmla="*/ 1466025 w 11625583"/>
              <a:gd name="connsiteY5677" fmla="*/ 579326 h 6380470"/>
              <a:gd name="connsiteX5678" fmla="*/ 1530692 w 11625583"/>
              <a:gd name="connsiteY5678" fmla="*/ 643992 h 6380470"/>
              <a:gd name="connsiteX5679" fmla="*/ 1466025 w 11625583"/>
              <a:gd name="connsiteY5679" fmla="*/ 708658 h 6380470"/>
              <a:gd name="connsiteX5680" fmla="*/ 1401363 w 11625583"/>
              <a:gd name="connsiteY5680" fmla="*/ 643992 h 6380470"/>
              <a:gd name="connsiteX5681" fmla="*/ 1466025 w 11625583"/>
              <a:gd name="connsiteY5681" fmla="*/ 579326 h 6380470"/>
              <a:gd name="connsiteX5682" fmla="*/ 1466029 w 11625583"/>
              <a:gd name="connsiteY5682" fmla="*/ 426670 h 6380470"/>
              <a:gd name="connsiteX5683" fmla="*/ 1530694 w 11625583"/>
              <a:gd name="connsiteY5683" fmla="*/ 491334 h 6380470"/>
              <a:gd name="connsiteX5684" fmla="*/ 1466029 w 11625583"/>
              <a:gd name="connsiteY5684" fmla="*/ 555998 h 6380470"/>
              <a:gd name="connsiteX5685" fmla="*/ 1401363 w 11625583"/>
              <a:gd name="connsiteY5685" fmla="*/ 491334 h 6380470"/>
              <a:gd name="connsiteX5686" fmla="*/ 1466029 w 11625583"/>
              <a:gd name="connsiteY5686" fmla="*/ 426670 h 6380470"/>
              <a:gd name="connsiteX5687" fmla="*/ 2855634 w 11625583"/>
              <a:gd name="connsiteY5687" fmla="*/ 426670 h 6380470"/>
              <a:gd name="connsiteX5688" fmla="*/ 2920282 w 11625583"/>
              <a:gd name="connsiteY5688" fmla="*/ 491334 h 6380470"/>
              <a:gd name="connsiteX5689" fmla="*/ 2855634 w 11625583"/>
              <a:gd name="connsiteY5689" fmla="*/ 555997 h 6380470"/>
              <a:gd name="connsiteX5690" fmla="*/ 2790973 w 11625583"/>
              <a:gd name="connsiteY5690" fmla="*/ 491334 h 6380470"/>
              <a:gd name="connsiteX5691" fmla="*/ 2855634 w 11625583"/>
              <a:gd name="connsiteY5691" fmla="*/ 426670 h 6380470"/>
              <a:gd name="connsiteX5692" fmla="*/ 2699084 w 11625583"/>
              <a:gd name="connsiteY5692" fmla="*/ 426670 h 6380470"/>
              <a:gd name="connsiteX5693" fmla="*/ 2763736 w 11625583"/>
              <a:gd name="connsiteY5693" fmla="*/ 491334 h 6380470"/>
              <a:gd name="connsiteX5694" fmla="*/ 2699084 w 11625583"/>
              <a:gd name="connsiteY5694" fmla="*/ 555997 h 6380470"/>
              <a:gd name="connsiteX5695" fmla="*/ 2634429 w 11625583"/>
              <a:gd name="connsiteY5695" fmla="*/ 491334 h 6380470"/>
              <a:gd name="connsiteX5696" fmla="*/ 2699084 w 11625583"/>
              <a:gd name="connsiteY5696" fmla="*/ 426670 h 6380470"/>
              <a:gd name="connsiteX5697" fmla="*/ 2546449 w 11625583"/>
              <a:gd name="connsiteY5697" fmla="*/ 426670 h 6380470"/>
              <a:gd name="connsiteX5698" fmla="*/ 2611108 w 11625583"/>
              <a:gd name="connsiteY5698" fmla="*/ 491334 h 6380470"/>
              <a:gd name="connsiteX5699" fmla="*/ 2546449 w 11625583"/>
              <a:gd name="connsiteY5699" fmla="*/ 555997 h 6380470"/>
              <a:gd name="connsiteX5700" fmla="*/ 2481792 w 11625583"/>
              <a:gd name="connsiteY5700" fmla="*/ 491334 h 6380470"/>
              <a:gd name="connsiteX5701" fmla="*/ 2546449 w 11625583"/>
              <a:gd name="connsiteY5701" fmla="*/ 426670 h 6380470"/>
              <a:gd name="connsiteX5702" fmla="*/ 2389866 w 11625583"/>
              <a:gd name="connsiteY5702" fmla="*/ 426670 h 6380470"/>
              <a:gd name="connsiteX5703" fmla="*/ 2454554 w 11625583"/>
              <a:gd name="connsiteY5703" fmla="*/ 491334 h 6380470"/>
              <a:gd name="connsiteX5704" fmla="*/ 2389866 w 11625583"/>
              <a:gd name="connsiteY5704" fmla="*/ 555997 h 6380470"/>
              <a:gd name="connsiteX5705" fmla="*/ 2325217 w 11625583"/>
              <a:gd name="connsiteY5705" fmla="*/ 491334 h 6380470"/>
              <a:gd name="connsiteX5706" fmla="*/ 2389866 w 11625583"/>
              <a:gd name="connsiteY5706" fmla="*/ 426670 h 6380470"/>
              <a:gd name="connsiteX5707" fmla="*/ 2237196 w 11625583"/>
              <a:gd name="connsiteY5707" fmla="*/ 426670 h 6380470"/>
              <a:gd name="connsiteX5708" fmla="*/ 2301882 w 11625583"/>
              <a:gd name="connsiteY5708" fmla="*/ 491334 h 6380470"/>
              <a:gd name="connsiteX5709" fmla="*/ 2237196 w 11625583"/>
              <a:gd name="connsiteY5709" fmla="*/ 555998 h 6380470"/>
              <a:gd name="connsiteX5710" fmla="*/ 2172511 w 11625583"/>
              <a:gd name="connsiteY5710" fmla="*/ 491334 h 6380470"/>
              <a:gd name="connsiteX5711" fmla="*/ 2237196 w 11625583"/>
              <a:gd name="connsiteY5711" fmla="*/ 426670 h 6380470"/>
              <a:gd name="connsiteX5712" fmla="*/ 2084510 w 11625583"/>
              <a:gd name="connsiteY5712" fmla="*/ 426670 h 6380470"/>
              <a:gd name="connsiteX5713" fmla="*/ 2149176 w 11625583"/>
              <a:gd name="connsiteY5713" fmla="*/ 491334 h 6380470"/>
              <a:gd name="connsiteX5714" fmla="*/ 2084510 w 11625583"/>
              <a:gd name="connsiteY5714" fmla="*/ 555998 h 6380470"/>
              <a:gd name="connsiteX5715" fmla="*/ 2019873 w 11625583"/>
              <a:gd name="connsiteY5715" fmla="*/ 491334 h 6380470"/>
              <a:gd name="connsiteX5716" fmla="*/ 2084510 w 11625583"/>
              <a:gd name="connsiteY5716" fmla="*/ 426670 h 6380470"/>
              <a:gd name="connsiteX5717" fmla="*/ 1927912 w 11625583"/>
              <a:gd name="connsiteY5717" fmla="*/ 426670 h 6380470"/>
              <a:gd name="connsiteX5718" fmla="*/ 1992614 w 11625583"/>
              <a:gd name="connsiteY5718" fmla="*/ 491334 h 6380470"/>
              <a:gd name="connsiteX5719" fmla="*/ 1927912 w 11625583"/>
              <a:gd name="connsiteY5719" fmla="*/ 555998 h 6380470"/>
              <a:gd name="connsiteX5720" fmla="*/ 1863289 w 11625583"/>
              <a:gd name="connsiteY5720" fmla="*/ 491334 h 6380470"/>
              <a:gd name="connsiteX5721" fmla="*/ 1927912 w 11625583"/>
              <a:gd name="connsiteY5721" fmla="*/ 426670 h 6380470"/>
              <a:gd name="connsiteX5722" fmla="*/ 1775269 w 11625583"/>
              <a:gd name="connsiteY5722" fmla="*/ 426670 h 6380470"/>
              <a:gd name="connsiteX5723" fmla="*/ 1839963 w 11625583"/>
              <a:gd name="connsiteY5723" fmla="*/ 491334 h 6380470"/>
              <a:gd name="connsiteX5724" fmla="*/ 1775269 w 11625583"/>
              <a:gd name="connsiteY5724" fmla="*/ 555998 h 6380470"/>
              <a:gd name="connsiteX5725" fmla="*/ 1710597 w 11625583"/>
              <a:gd name="connsiteY5725" fmla="*/ 491334 h 6380470"/>
              <a:gd name="connsiteX5726" fmla="*/ 1775269 w 11625583"/>
              <a:gd name="connsiteY5726" fmla="*/ 426670 h 6380470"/>
              <a:gd name="connsiteX5727" fmla="*/ 1618685 w 11625583"/>
              <a:gd name="connsiteY5727" fmla="*/ 426670 h 6380470"/>
              <a:gd name="connsiteX5728" fmla="*/ 1683355 w 11625583"/>
              <a:gd name="connsiteY5728" fmla="*/ 491334 h 6380470"/>
              <a:gd name="connsiteX5729" fmla="*/ 1618685 w 11625583"/>
              <a:gd name="connsiteY5729" fmla="*/ 555998 h 6380470"/>
              <a:gd name="connsiteX5730" fmla="*/ 1554023 w 11625583"/>
              <a:gd name="connsiteY5730" fmla="*/ 491334 h 6380470"/>
              <a:gd name="connsiteX5731" fmla="*/ 1618685 w 11625583"/>
              <a:gd name="connsiteY5731" fmla="*/ 426670 h 6380470"/>
              <a:gd name="connsiteX5732" fmla="*/ 10312248 w 11625583"/>
              <a:gd name="connsiteY5732" fmla="*/ 426669 h 6380470"/>
              <a:gd name="connsiteX5733" fmla="*/ 10376914 w 11625583"/>
              <a:gd name="connsiteY5733" fmla="*/ 491332 h 6380470"/>
              <a:gd name="connsiteX5734" fmla="*/ 10312248 w 11625583"/>
              <a:gd name="connsiteY5734" fmla="*/ 555997 h 6380470"/>
              <a:gd name="connsiteX5735" fmla="*/ 10247582 w 11625583"/>
              <a:gd name="connsiteY5735" fmla="*/ 491332 h 6380470"/>
              <a:gd name="connsiteX5736" fmla="*/ 10312248 w 11625583"/>
              <a:gd name="connsiteY5736" fmla="*/ 426669 h 6380470"/>
              <a:gd name="connsiteX5737" fmla="*/ 10159588 w 11625583"/>
              <a:gd name="connsiteY5737" fmla="*/ 426669 h 6380470"/>
              <a:gd name="connsiteX5738" fmla="*/ 10224254 w 11625583"/>
              <a:gd name="connsiteY5738" fmla="*/ 491332 h 6380470"/>
              <a:gd name="connsiteX5739" fmla="*/ 10159588 w 11625583"/>
              <a:gd name="connsiteY5739" fmla="*/ 555997 h 6380470"/>
              <a:gd name="connsiteX5740" fmla="*/ 10094922 w 11625583"/>
              <a:gd name="connsiteY5740" fmla="*/ 491332 h 6380470"/>
              <a:gd name="connsiteX5741" fmla="*/ 10159588 w 11625583"/>
              <a:gd name="connsiteY5741" fmla="*/ 426669 h 6380470"/>
              <a:gd name="connsiteX5742" fmla="*/ 10003016 w 11625583"/>
              <a:gd name="connsiteY5742" fmla="*/ 426669 h 6380470"/>
              <a:gd name="connsiteX5743" fmla="*/ 10067682 w 11625583"/>
              <a:gd name="connsiteY5743" fmla="*/ 491332 h 6380470"/>
              <a:gd name="connsiteX5744" fmla="*/ 10003016 w 11625583"/>
              <a:gd name="connsiteY5744" fmla="*/ 555997 h 6380470"/>
              <a:gd name="connsiteX5745" fmla="*/ 9938350 w 11625583"/>
              <a:gd name="connsiteY5745" fmla="*/ 491332 h 6380470"/>
              <a:gd name="connsiteX5746" fmla="*/ 10003016 w 11625583"/>
              <a:gd name="connsiteY5746" fmla="*/ 426669 h 6380470"/>
              <a:gd name="connsiteX5747" fmla="*/ 9075319 w 11625583"/>
              <a:gd name="connsiteY5747" fmla="*/ 426669 h 6380470"/>
              <a:gd name="connsiteX5748" fmla="*/ 9139985 w 11625583"/>
              <a:gd name="connsiteY5748" fmla="*/ 491332 h 6380470"/>
              <a:gd name="connsiteX5749" fmla="*/ 9075319 w 11625583"/>
              <a:gd name="connsiteY5749" fmla="*/ 555997 h 6380470"/>
              <a:gd name="connsiteX5750" fmla="*/ 9010653 w 11625583"/>
              <a:gd name="connsiteY5750" fmla="*/ 491332 h 6380470"/>
              <a:gd name="connsiteX5751" fmla="*/ 9075319 w 11625583"/>
              <a:gd name="connsiteY5751" fmla="*/ 426669 h 6380470"/>
              <a:gd name="connsiteX5752" fmla="*/ 8914831 w 11625583"/>
              <a:gd name="connsiteY5752" fmla="*/ 426669 h 6380470"/>
              <a:gd name="connsiteX5753" fmla="*/ 8979497 w 11625583"/>
              <a:gd name="connsiteY5753" fmla="*/ 491332 h 6380470"/>
              <a:gd name="connsiteX5754" fmla="*/ 8914831 w 11625583"/>
              <a:gd name="connsiteY5754" fmla="*/ 555997 h 6380470"/>
              <a:gd name="connsiteX5755" fmla="*/ 8850165 w 11625583"/>
              <a:gd name="connsiteY5755" fmla="*/ 491332 h 6380470"/>
              <a:gd name="connsiteX5756" fmla="*/ 8914831 w 11625583"/>
              <a:gd name="connsiteY5756" fmla="*/ 426669 h 6380470"/>
              <a:gd name="connsiteX5757" fmla="*/ 8766086 w 11625583"/>
              <a:gd name="connsiteY5757" fmla="*/ 426669 h 6380470"/>
              <a:gd name="connsiteX5758" fmla="*/ 8830752 w 11625583"/>
              <a:gd name="connsiteY5758" fmla="*/ 491332 h 6380470"/>
              <a:gd name="connsiteX5759" fmla="*/ 8766086 w 11625583"/>
              <a:gd name="connsiteY5759" fmla="*/ 555997 h 6380470"/>
              <a:gd name="connsiteX5760" fmla="*/ 8701420 w 11625583"/>
              <a:gd name="connsiteY5760" fmla="*/ 491332 h 6380470"/>
              <a:gd name="connsiteX5761" fmla="*/ 8766086 w 11625583"/>
              <a:gd name="connsiteY5761" fmla="*/ 426669 h 6380470"/>
              <a:gd name="connsiteX5762" fmla="*/ 8601685 w 11625583"/>
              <a:gd name="connsiteY5762" fmla="*/ 426669 h 6380470"/>
              <a:gd name="connsiteX5763" fmla="*/ 8666351 w 11625583"/>
              <a:gd name="connsiteY5763" fmla="*/ 491332 h 6380470"/>
              <a:gd name="connsiteX5764" fmla="*/ 8601685 w 11625583"/>
              <a:gd name="connsiteY5764" fmla="*/ 555997 h 6380470"/>
              <a:gd name="connsiteX5765" fmla="*/ 8537019 w 11625583"/>
              <a:gd name="connsiteY5765" fmla="*/ 491332 h 6380470"/>
              <a:gd name="connsiteX5766" fmla="*/ 8601685 w 11625583"/>
              <a:gd name="connsiteY5766" fmla="*/ 426669 h 6380470"/>
              <a:gd name="connsiteX5767" fmla="*/ 7677904 w 11625583"/>
              <a:gd name="connsiteY5767" fmla="*/ 426669 h 6380470"/>
              <a:gd name="connsiteX5768" fmla="*/ 7742570 w 11625583"/>
              <a:gd name="connsiteY5768" fmla="*/ 491332 h 6380470"/>
              <a:gd name="connsiteX5769" fmla="*/ 7677904 w 11625583"/>
              <a:gd name="connsiteY5769" fmla="*/ 555997 h 6380470"/>
              <a:gd name="connsiteX5770" fmla="*/ 7613238 w 11625583"/>
              <a:gd name="connsiteY5770" fmla="*/ 491332 h 6380470"/>
              <a:gd name="connsiteX5771" fmla="*/ 7677904 w 11625583"/>
              <a:gd name="connsiteY5771" fmla="*/ 426669 h 6380470"/>
              <a:gd name="connsiteX5772" fmla="*/ 7521331 w 11625583"/>
              <a:gd name="connsiteY5772" fmla="*/ 426669 h 6380470"/>
              <a:gd name="connsiteX5773" fmla="*/ 7585997 w 11625583"/>
              <a:gd name="connsiteY5773" fmla="*/ 491332 h 6380470"/>
              <a:gd name="connsiteX5774" fmla="*/ 7521331 w 11625583"/>
              <a:gd name="connsiteY5774" fmla="*/ 555997 h 6380470"/>
              <a:gd name="connsiteX5775" fmla="*/ 7456665 w 11625583"/>
              <a:gd name="connsiteY5775" fmla="*/ 491332 h 6380470"/>
              <a:gd name="connsiteX5776" fmla="*/ 7521331 w 11625583"/>
              <a:gd name="connsiteY5776" fmla="*/ 426669 h 6380470"/>
              <a:gd name="connsiteX5777" fmla="*/ 4722614 w 11625583"/>
              <a:gd name="connsiteY5777" fmla="*/ 426669 h 6380470"/>
              <a:gd name="connsiteX5778" fmla="*/ 4787277 w 11625583"/>
              <a:gd name="connsiteY5778" fmla="*/ 491332 h 6380470"/>
              <a:gd name="connsiteX5779" fmla="*/ 4722614 w 11625583"/>
              <a:gd name="connsiteY5779" fmla="*/ 555997 h 6380470"/>
              <a:gd name="connsiteX5780" fmla="*/ 4657957 w 11625583"/>
              <a:gd name="connsiteY5780" fmla="*/ 491332 h 6380470"/>
              <a:gd name="connsiteX5781" fmla="*/ 4722614 w 11625583"/>
              <a:gd name="connsiteY5781" fmla="*/ 426669 h 6380470"/>
              <a:gd name="connsiteX5782" fmla="*/ 4566030 w 11625583"/>
              <a:gd name="connsiteY5782" fmla="*/ 426669 h 6380470"/>
              <a:gd name="connsiteX5783" fmla="*/ 4630712 w 11625583"/>
              <a:gd name="connsiteY5783" fmla="*/ 491332 h 6380470"/>
              <a:gd name="connsiteX5784" fmla="*/ 4566030 w 11625583"/>
              <a:gd name="connsiteY5784" fmla="*/ 555997 h 6380470"/>
              <a:gd name="connsiteX5785" fmla="*/ 4501345 w 11625583"/>
              <a:gd name="connsiteY5785" fmla="*/ 491332 h 6380470"/>
              <a:gd name="connsiteX5786" fmla="*/ 4566030 w 11625583"/>
              <a:gd name="connsiteY5786" fmla="*/ 426669 h 6380470"/>
              <a:gd name="connsiteX5787" fmla="*/ 4409471 w 11625583"/>
              <a:gd name="connsiteY5787" fmla="*/ 426669 h 6380470"/>
              <a:gd name="connsiteX5788" fmla="*/ 4474113 w 11625583"/>
              <a:gd name="connsiteY5788" fmla="*/ 491332 h 6380470"/>
              <a:gd name="connsiteX5789" fmla="*/ 4409471 w 11625583"/>
              <a:gd name="connsiteY5789" fmla="*/ 555997 h 6380470"/>
              <a:gd name="connsiteX5790" fmla="*/ 4344809 w 11625583"/>
              <a:gd name="connsiteY5790" fmla="*/ 491332 h 6380470"/>
              <a:gd name="connsiteX5791" fmla="*/ 4409471 w 11625583"/>
              <a:gd name="connsiteY5791" fmla="*/ 426669 h 6380470"/>
              <a:gd name="connsiteX5792" fmla="*/ 4256823 w 11625583"/>
              <a:gd name="connsiteY5792" fmla="*/ 426669 h 6380470"/>
              <a:gd name="connsiteX5793" fmla="*/ 4321471 w 11625583"/>
              <a:gd name="connsiteY5793" fmla="*/ 491332 h 6380470"/>
              <a:gd name="connsiteX5794" fmla="*/ 4256823 w 11625583"/>
              <a:gd name="connsiteY5794" fmla="*/ 555997 h 6380470"/>
              <a:gd name="connsiteX5795" fmla="*/ 4192125 w 11625583"/>
              <a:gd name="connsiteY5795" fmla="*/ 491332 h 6380470"/>
              <a:gd name="connsiteX5796" fmla="*/ 4256823 w 11625583"/>
              <a:gd name="connsiteY5796" fmla="*/ 426669 h 6380470"/>
              <a:gd name="connsiteX5797" fmla="*/ 4100255 w 11625583"/>
              <a:gd name="connsiteY5797" fmla="*/ 426669 h 6380470"/>
              <a:gd name="connsiteX5798" fmla="*/ 4164923 w 11625583"/>
              <a:gd name="connsiteY5798" fmla="*/ 491332 h 6380470"/>
              <a:gd name="connsiteX5799" fmla="*/ 4100255 w 11625583"/>
              <a:gd name="connsiteY5799" fmla="*/ 555997 h 6380470"/>
              <a:gd name="connsiteX5800" fmla="*/ 4035594 w 11625583"/>
              <a:gd name="connsiteY5800" fmla="*/ 491332 h 6380470"/>
              <a:gd name="connsiteX5801" fmla="*/ 4100255 w 11625583"/>
              <a:gd name="connsiteY5801" fmla="*/ 426669 h 6380470"/>
              <a:gd name="connsiteX5802" fmla="*/ 3947579 w 11625583"/>
              <a:gd name="connsiteY5802" fmla="*/ 426669 h 6380470"/>
              <a:gd name="connsiteX5803" fmla="*/ 4012257 w 11625583"/>
              <a:gd name="connsiteY5803" fmla="*/ 491332 h 6380470"/>
              <a:gd name="connsiteX5804" fmla="*/ 3947579 w 11625583"/>
              <a:gd name="connsiteY5804" fmla="*/ 555997 h 6380470"/>
              <a:gd name="connsiteX5805" fmla="*/ 3883064 w 11625583"/>
              <a:gd name="connsiteY5805" fmla="*/ 491332 h 6380470"/>
              <a:gd name="connsiteX5806" fmla="*/ 3947579 w 11625583"/>
              <a:gd name="connsiteY5806" fmla="*/ 426669 h 6380470"/>
              <a:gd name="connsiteX5807" fmla="*/ 3791161 w 11625583"/>
              <a:gd name="connsiteY5807" fmla="*/ 426669 h 6380470"/>
              <a:gd name="connsiteX5808" fmla="*/ 3855823 w 11625583"/>
              <a:gd name="connsiteY5808" fmla="*/ 491332 h 6380470"/>
              <a:gd name="connsiteX5809" fmla="*/ 3791161 w 11625583"/>
              <a:gd name="connsiteY5809" fmla="*/ 555997 h 6380470"/>
              <a:gd name="connsiteX5810" fmla="*/ 3726486 w 11625583"/>
              <a:gd name="connsiteY5810" fmla="*/ 491332 h 6380470"/>
              <a:gd name="connsiteX5811" fmla="*/ 3791161 w 11625583"/>
              <a:gd name="connsiteY5811" fmla="*/ 426669 h 6380470"/>
              <a:gd name="connsiteX5812" fmla="*/ 3630671 w 11625583"/>
              <a:gd name="connsiteY5812" fmla="*/ 426669 h 6380470"/>
              <a:gd name="connsiteX5813" fmla="*/ 3695344 w 11625583"/>
              <a:gd name="connsiteY5813" fmla="*/ 491332 h 6380470"/>
              <a:gd name="connsiteX5814" fmla="*/ 3630671 w 11625583"/>
              <a:gd name="connsiteY5814" fmla="*/ 555997 h 6380470"/>
              <a:gd name="connsiteX5815" fmla="*/ 3565990 w 11625583"/>
              <a:gd name="connsiteY5815" fmla="*/ 491332 h 6380470"/>
              <a:gd name="connsiteX5816" fmla="*/ 3630671 w 11625583"/>
              <a:gd name="connsiteY5816" fmla="*/ 426669 h 6380470"/>
              <a:gd name="connsiteX5817" fmla="*/ 3481916 w 11625583"/>
              <a:gd name="connsiteY5817" fmla="*/ 426669 h 6380470"/>
              <a:gd name="connsiteX5818" fmla="*/ 3546591 w 11625583"/>
              <a:gd name="connsiteY5818" fmla="*/ 491332 h 6380470"/>
              <a:gd name="connsiteX5819" fmla="*/ 3481916 w 11625583"/>
              <a:gd name="connsiteY5819" fmla="*/ 555997 h 6380470"/>
              <a:gd name="connsiteX5820" fmla="*/ 3417259 w 11625583"/>
              <a:gd name="connsiteY5820" fmla="*/ 491332 h 6380470"/>
              <a:gd name="connsiteX5821" fmla="*/ 3481916 w 11625583"/>
              <a:gd name="connsiteY5821" fmla="*/ 426669 h 6380470"/>
              <a:gd name="connsiteX5822" fmla="*/ 3321451 w 11625583"/>
              <a:gd name="connsiteY5822" fmla="*/ 426669 h 6380470"/>
              <a:gd name="connsiteX5823" fmla="*/ 3386094 w 11625583"/>
              <a:gd name="connsiteY5823" fmla="*/ 491334 h 6380470"/>
              <a:gd name="connsiteX5824" fmla="*/ 3321451 w 11625583"/>
              <a:gd name="connsiteY5824" fmla="*/ 555997 h 6380470"/>
              <a:gd name="connsiteX5825" fmla="*/ 3256791 w 11625583"/>
              <a:gd name="connsiteY5825" fmla="*/ 491334 h 6380470"/>
              <a:gd name="connsiteX5826" fmla="*/ 3321451 w 11625583"/>
              <a:gd name="connsiteY5826" fmla="*/ 426669 h 6380470"/>
              <a:gd name="connsiteX5827" fmla="*/ 2855634 w 11625583"/>
              <a:gd name="connsiteY5827" fmla="*/ 289662 h 6380470"/>
              <a:gd name="connsiteX5828" fmla="*/ 2920282 w 11625583"/>
              <a:gd name="connsiteY5828" fmla="*/ 354327 h 6380470"/>
              <a:gd name="connsiteX5829" fmla="*/ 2855634 w 11625583"/>
              <a:gd name="connsiteY5829" fmla="*/ 419004 h 6380470"/>
              <a:gd name="connsiteX5830" fmla="*/ 2790973 w 11625583"/>
              <a:gd name="connsiteY5830" fmla="*/ 354327 h 6380470"/>
              <a:gd name="connsiteX5831" fmla="*/ 2855634 w 11625583"/>
              <a:gd name="connsiteY5831" fmla="*/ 289662 h 6380470"/>
              <a:gd name="connsiteX5832" fmla="*/ 2699084 w 11625583"/>
              <a:gd name="connsiteY5832" fmla="*/ 289662 h 6380470"/>
              <a:gd name="connsiteX5833" fmla="*/ 2763736 w 11625583"/>
              <a:gd name="connsiteY5833" fmla="*/ 354327 h 6380470"/>
              <a:gd name="connsiteX5834" fmla="*/ 2699084 w 11625583"/>
              <a:gd name="connsiteY5834" fmla="*/ 419004 h 6380470"/>
              <a:gd name="connsiteX5835" fmla="*/ 2634429 w 11625583"/>
              <a:gd name="connsiteY5835" fmla="*/ 354327 h 6380470"/>
              <a:gd name="connsiteX5836" fmla="*/ 2699084 w 11625583"/>
              <a:gd name="connsiteY5836" fmla="*/ 289662 h 6380470"/>
              <a:gd name="connsiteX5837" fmla="*/ 2546449 w 11625583"/>
              <a:gd name="connsiteY5837" fmla="*/ 289662 h 6380470"/>
              <a:gd name="connsiteX5838" fmla="*/ 2611108 w 11625583"/>
              <a:gd name="connsiteY5838" fmla="*/ 354327 h 6380470"/>
              <a:gd name="connsiteX5839" fmla="*/ 2546449 w 11625583"/>
              <a:gd name="connsiteY5839" fmla="*/ 419004 h 6380470"/>
              <a:gd name="connsiteX5840" fmla="*/ 2481792 w 11625583"/>
              <a:gd name="connsiteY5840" fmla="*/ 354327 h 6380470"/>
              <a:gd name="connsiteX5841" fmla="*/ 2546449 w 11625583"/>
              <a:gd name="connsiteY5841" fmla="*/ 289662 h 6380470"/>
              <a:gd name="connsiteX5842" fmla="*/ 2237196 w 11625583"/>
              <a:gd name="connsiteY5842" fmla="*/ 289662 h 6380470"/>
              <a:gd name="connsiteX5843" fmla="*/ 2301882 w 11625583"/>
              <a:gd name="connsiteY5843" fmla="*/ 354327 h 6380470"/>
              <a:gd name="connsiteX5844" fmla="*/ 2237196 w 11625583"/>
              <a:gd name="connsiteY5844" fmla="*/ 419004 h 6380470"/>
              <a:gd name="connsiteX5845" fmla="*/ 2172511 w 11625583"/>
              <a:gd name="connsiteY5845" fmla="*/ 354327 h 6380470"/>
              <a:gd name="connsiteX5846" fmla="*/ 2237196 w 11625583"/>
              <a:gd name="connsiteY5846" fmla="*/ 289662 h 6380470"/>
              <a:gd name="connsiteX5847" fmla="*/ 2084510 w 11625583"/>
              <a:gd name="connsiteY5847" fmla="*/ 289662 h 6380470"/>
              <a:gd name="connsiteX5848" fmla="*/ 2149176 w 11625583"/>
              <a:gd name="connsiteY5848" fmla="*/ 354327 h 6380470"/>
              <a:gd name="connsiteX5849" fmla="*/ 2084510 w 11625583"/>
              <a:gd name="connsiteY5849" fmla="*/ 419004 h 6380470"/>
              <a:gd name="connsiteX5850" fmla="*/ 2019873 w 11625583"/>
              <a:gd name="connsiteY5850" fmla="*/ 354327 h 6380470"/>
              <a:gd name="connsiteX5851" fmla="*/ 2084510 w 11625583"/>
              <a:gd name="connsiteY5851" fmla="*/ 289662 h 6380470"/>
              <a:gd name="connsiteX5852" fmla="*/ 1927926 w 11625583"/>
              <a:gd name="connsiteY5852" fmla="*/ 289662 h 6380470"/>
              <a:gd name="connsiteX5853" fmla="*/ 1992616 w 11625583"/>
              <a:gd name="connsiteY5853" fmla="*/ 354327 h 6380470"/>
              <a:gd name="connsiteX5854" fmla="*/ 1927926 w 11625583"/>
              <a:gd name="connsiteY5854" fmla="*/ 419004 h 6380470"/>
              <a:gd name="connsiteX5855" fmla="*/ 1863292 w 11625583"/>
              <a:gd name="connsiteY5855" fmla="*/ 354327 h 6380470"/>
              <a:gd name="connsiteX5856" fmla="*/ 1927926 w 11625583"/>
              <a:gd name="connsiteY5856" fmla="*/ 289662 h 6380470"/>
              <a:gd name="connsiteX5857" fmla="*/ 1775272 w 11625583"/>
              <a:gd name="connsiteY5857" fmla="*/ 289662 h 6380470"/>
              <a:gd name="connsiteX5858" fmla="*/ 1839963 w 11625583"/>
              <a:gd name="connsiteY5858" fmla="*/ 354327 h 6380470"/>
              <a:gd name="connsiteX5859" fmla="*/ 1775272 w 11625583"/>
              <a:gd name="connsiteY5859" fmla="*/ 419004 h 6380470"/>
              <a:gd name="connsiteX5860" fmla="*/ 1710600 w 11625583"/>
              <a:gd name="connsiteY5860" fmla="*/ 354327 h 6380470"/>
              <a:gd name="connsiteX5861" fmla="*/ 1775272 w 11625583"/>
              <a:gd name="connsiteY5861" fmla="*/ 289662 h 6380470"/>
              <a:gd name="connsiteX5862" fmla="*/ 1618690 w 11625583"/>
              <a:gd name="connsiteY5862" fmla="*/ 289662 h 6380470"/>
              <a:gd name="connsiteX5863" fmla="*/ 1683360 w 11625583"/>
              <a:gd name="connsiteY5863" fmla="*/ 354327 h 6380470"/>
              <a:gd name="connsiteX5864" fmla="*/ 1618690 w 11625583"/>
              <a:gd name="connsiteY5864" fmla="*/ 419004 h 6380470"/>
              <a:gd name="connsiteX5865" fmla="*/ 1554023 w 11625583"/>
              <a:gd name="connsiteY5865" fmla="*/ 354327 h 6380470"/>
              <a:gd name="connsiteX5866" fmla="*/ 1618690 w 11625583"/>
              <a:gd name="connsiteY5866" fmla="*/ 289662 h 6380470"/>
              <a:gd name="connsiteX5867" fmla="*/ 3791161 w 11625583"/>
              <a:gd name="connsiteY5867" fmla="*/ 289662 h 6380470"/>
              <a:gd name="connsiteX5868" fmla="*/ 3855823 w 11625583"/>
              <a:gd name="connsiteY5868" fmla="*/ 354325 h 6380470"/>
              <a:gd name="connsiteX5869" fmla="*/ 3791161 w 11625583"/>
              <a:gd name="connsiteY5869" fmla="*/ 419003 h 6380470"/>
              <a:gd name="connsiteX5870" fmla="*/ 3726486 w 11625583"/>
              <a:gd name="connsiteY5870" fmla="*/ 354325 h 6380470"/>
              <a:gd name="connsiteX5871" fmla="*/ 3791161 w 11625583"/>
              <a:gd name="connsiteY5871" fmla="*/ 289662 h 6380470"/>
              <a:gd name="connsiteX5872" fmla="*/ 3630675 w 11625583"/>
              <a:gd name="connsiteY5872" fmla="*/ 289662 h 6380470"/>
              <a:gd name="connsiteX5873" fmla="*/ 3695344 w 11625583"/>
              <a:gd name="connsiteY5873" fmla="*/ 354325 h 6380470"/>
              <a:gd name="connsiteX5874" fmla="*/ 3630675 w 11625583"/>
              <a:gd name="connsiteY5874" fmla="*/ 419003 h 6380470"/>
              <a:gd name="connsiteX5875" fmla="*/ 3565992 w 11625583"/>
              <a:gd name="connsiteY5875" fmla="*/ 354325 h 6380470"/>
              <a:gd name="connsiteX5876" fmla="*/ 3630675 w 11625583"/>
              <a:gd name="connsiteY5876" fmla="*/ 289662 h 6380470"/>
              <a:gd name="connsiteX5877" fmla="*/ 3481916 w 11625583"/>
              <a:gd name="connsiteY5877" fmla="*/ 289662 h 6380470"/>
              <a:gd name="connsiteX5878" fmla="*/ 3546591 w 11625583"/>
              <a:gd name="connsiteY5878" fmla="*/ 354325 h 6380470"/>
              <a:gd name="connsiteX5879" fmla="*/ 3481916 w 11625583"/>
              <a:gd name="connsiteY5879" fmla="*/ 419003 h 6380470"/>
              <a:gd name="connsiteX5880" fmla="*/ 3417259 w 11625583"/>
              <a:gd name="connsiteY5880" fmla="*/ 354325 h 6380470"/>
              <a:gd name="connsiteX5881" fmla="*/ 3481916 w 11625583"/>
              <a:gd name="connsiteY5881" fmla="*/ 289662 h 6380470"/>
              <a:gd name="connsiteX5882" fmla="*/ 3321451 w 11625583"/>
              <a:gd name="connsiteY5882" fmla="*/ 289662 h 6380470"/>
              <a:gd name="connsiteX5883" fmla="*/ 3386094 w 11625583"/>
              <a:gd name="connsiteY5883" fmla="*/ 354325 h 6380470"/>
              <a:gd name="connsiteX5884" fmla="*/ 3321451 w 11625583"/>
              <a:gd name="connsiteY5884" fmla="*/ 419003 h 6380470"/>
              <a:gd name="connsiteX5885" fmla="*/ 3256791 w 11625583"/>
              <a:gd name="connsiteY5885" fmla="*/ 354325 h 6380470"/>
              <a:gd name="connsiteX5886" fmla="*/ 3321451 w 11625583"/>
              <a:gd name="connsiteY5886" fmla="*/ 289662 h 6380470"/>
              <a:gd name="connsiteX5887" fmla="*/ 3012178 w 11625583"/>
              <a:gd name="connsiteY5887" fmla="*/ 289662 h 6380470"/>
              <a:gd name="connsiteX5888" fmla="*/ 3076850 w 11625583"/>
              <a:gd name="connsiteY5888" fmla="*/ 354327 h 6380470"/>
              <a:gd name="connsiteX5889" fmla="*/ 3012178 w 11625583"/>
              <a:gd name="connsiteY5889" fmla="*/ 419004 h 6380470"/>
              <a:gd name="connsiteX5890" fmla="*/ 2947522 w 11625583"/>
              <a:gd name="connsiteY5890" fmla="*/ 354327 h 6380470"/>
              <a:gd name="connsiteX5891" fmla="*/ 3012178 w 11625583"/>
              <a:gd name="connsiteY5891" fmla="*/ 289662 h 6380470"/>
              <a:gd name="connsiteX5892" fmla="*/ 4722614 w 11625583"/>
              <a:gd name="connsiteY5892" fmla="*/ 289661 h 6380470"/>
              <a:gd name="connsiteX5893" fmla="*/ 4787277 w 11625583"/>
              <a:gd name="connsiteY5893" fmla="*/ 354325 h 6380470"/>
              <a:gd name="connsiteX5894" fmla="*/ 4722614 w 11625583"/>
              <a:gd name="connsiteY5894" fmla="*/ 419003 h 6380470"/>
              <a:gd name="connsiteX5895" fmla="*/ 4657957 w 11625583"/>
              <a:gd name="connsiteY5895" fmla="*/ 354325 h 6380470"/>
              <a:gd name="connsiteX5896" fmla="*/ 4722614 w 11625583"/>
              <a:gd name="connsiteY5896" fmla="*/ 289661 h 6380470"/>
              <a:gd name="connsiteX5897" fmla="*/ 4566033 w 11625583"/>
              <a:gd name="connsiteY5897" fmla="*/ 289661 h 6380470"/>
              <a:gd name="connsiteX5898" fmla="*/ 4630719 w 11625583"/>
              <a:gd name="connsiteY5898" fmla="*/ 354325 h 6380470"/>
              <a:gd name="connsiteX5899" fmla="*/ 4566033 w 11625583"/>
              <a:gd name="connsiteY5899" fmla="*/ 419003 h 6380470"/>
              <a:gd name="connsiteX5900" fmla="*/ 4501349 w 11625583"/>
              <a:gd name="connsiteY5900" fmla="*/ 354325 h 6380470"/>
              <a:gd name="connsiteX5901" fmla="*/ 4566033 w 11625583"/>
              <a:gd name="connsiteY5901" fmla="*/ 289661 h 6380470"/>
              <a:gd name="connsiteX5902" fmla="*/ 4409471 w 11625583"/>
              <a:gd name="connsiteY5902" fmla="*/ 289661 h 6380470"/>
              <a:gd name="connsiteX5903" fmla="*/ 4474113 w 11625583"/>
              <a:gd name="connsiteY5903" fmla="*/ 354325 h 6380470"/>
              <a:gd name="connsiteX5904" fmla="*/ 4409471 w 11625583"/>
              <a:gd name="connsiteY5904" fmla="*/ 419003 h 6380470"/>
              <a:gd name="connsiteX5905" fmla="*/ 4344809 w 11625583"/>
              <a:gd name="connsiteY5905" fmla="*/ 354325 h 6380470"/>
              <a:gd name="connsiteX5906" fmla="*/ 4409471 w 11625583"/>
              <a:gd name="connsiteY5906" fmla="*/ 289661 h 6380470"/>
              <a:gd name="connsiteX5907" fmla="*/ 4256823 w 11625583"/>
              <a:gd name="connsiteY5907" fmla="*/ 289661 h 6380470"/>
              <a:gd name="connsiteX5908" fmla="*/ 4321471 w 11625583"/>
              <a:gd name="connsiteY5908" fmla="*/ 354325 h 6380470"/>
              <a:gd name="connsiteX5909" fmla="*/ 4256823 w 11625583"/>
              <a:gd name="connsiteY5909" fmla="*/ 419003 h 6380470"/>
              <a:gd name="connsiteX5910" fmla="*/ 4192125 w 11625583"/>
              <a:gd name="connsiteY5910" fmla="*/ 354325 h 6380470"/>
              <a:gd name="connsiteX5911" fmla="*/ 4256823 w 11625583"/>
              <a:gd name="connsiteY5911" fmla="*/ 289661 h 6380470"/>
              <a:gd name="connsiteX5912" fmla="*/ 4100255 w 11625583"/>
              <a:gd name="connsiteY5912" fmla="*/ 289661 h 6380470"/>
              <a:gd name="connsiteX5913" fmla="*/ 4164923 w 11625583"/>
              <a:gd name="connsiteY5913" fmla="*/ 354325 h 6380470"/>
              <a:gd name="connsiteX5914" fmla="*/ 4100255 w 11625583"/>
              <a:gd name="connsiteY5914" fmla="*/ 419003 h 6380470"/>
              <a:gd name="connsiteX5915" fmla="*/ 4035594 w 11625583"/>
              <a:gd name="connsiteY5915" fmla="*/ 354325 h 6380470"/>
              <a:gd name="connsiteX5916" fmla="*/ 4100255 w 11625583"/>
              <a:gd name="connsiteY5916" fmla="*/ 289661 h 6380470"/>
              <a:gd name="connsiteX5917" fmla="*/ 3947579 w 11625583"/>
              <a:gd name="connsiteY5917" fmla="*/ 289661 h 6380470"/>
              <a:gd name="connsiteX5918" fmla="*/ 4012257 w 11625583"/>
              <a:gd name="connsiteY5918" fmla="*/ 354325 h 6380470"/>
              <a:gd name="connsiteX5919" fmla="*/ 3947579 w 11625583"/>
              <a:gd name="connsiteY5919" fmla="*/ 419003 h 6380470"/>
              <a:gd name="connsiteX5920" fmla="*/ 3883069 w 11625583"/>
              <a:gd name="connsiteY5920" fmla="*/ 354325 h 6380470"/>
              <a:gd name="connsiteX5921" fmla="*/ 3947579 w 11625583"/>
              <a:gd name="connsiteY5921" fmla="*/ 289661 h 6380470"/>
              <a:gd name="connsiteX5922" fmla="*/ 8914831 w 11625583"/>
              <a:gd name="connsiteY5922" fmla="*/ 289661 h 6380470"/>
              <a:gd name="connsiteX5923" fmla="*/ 8979497 w 11625583"/>
              <a:gd name="connsiteY5923" fmla="*/ 354325 h 6380470"/>
              <a:gd name="connsiteX5924" fmla="*/ 8914831 w 11625583"/>
              <a:gd name="connsiteY5924" fmla="*/ 419003 h 6380470"/>
              <a:gd name="connsiteX5925" fmla="*/ 8850165 w 11625583"/>
              <a:gd name="connsiteY5925" fmla="*/ 354325 h 6380470"/>
              <a:gd name="connsiteX5926" fmla="*/ 8914831 w 11625583"/>
              <a:gd name="connsiteY5926" fmla="*/ 289661 h 6380470"/>
              <a:gd name="connsiteX5927" fmla="*/ 8766087 w 11625583"/>
              <a:gd name="connsiteY5927" fmla="*/ 289661 h 6380470"/>
              <a:gd name="connsiteX5928" fmla="*/ 8830753 w 11625583"/>
              <a:gd name="connsiteY5928" fmla="*/ 354325 h 6380470"/>
              <a:gd name="connsiteX5929" fmla="*/ 8766087 w 11625583"/>
              <a:gd name="connsiteY5929" fmla="*/ 419003 h 6380470"/>
              <a:gd name="connsiteX5930" fmla="*/ 8701421 w 11625583"/>
              <a:gd name="connsiteY5930" fmla="*/ 354325 h 6380470"/>
              <a:gd name="connsiteX5931" fmla="*/ 8766087 w 11625583"/>
              <a:gd name="connsiteY5931" fmla="*/ 289661 h 6380470"/>
              <a:gd name="connsiteX5932" fmla="*/ 5967339 w 11625583"/>
              <a:gd name="connsiteY5932" fmla="*/ 289661 h 6380470"/>
              <a:gd name="connsiteX5933" fmla="*/ 6032005 w 11625583"/>
              <a:gd name="connsiteY5933" fmla="*/ 354325 h 6380470"/>
              <a:gd name="connsiteX5934" fmla="*/ 5967339 w 11625583"/>
              <a:gd name="connsiteY5934" fmla="*/ 419003 h 6380470"/>
              <a:gd name="connsiteX5935" fmla="*/ 5902673 w 11625583"/>
              <a:gd name="connsiteY5935" fmla="*/ 354325 h 6380470"/>
              <a:gd name="connsiteX5936" fmla="*/ 5967339 w 11625583"/>
              <a:gd name="connsiteY5936" fmla="*/ 289661 h 6380470"/>
              <a:gd name="connsiteX5937" fmla="*/ 2546449 w 11625583"/>
              <a:gd name="connsiteY5937" fmla="*/ 140925 h 6380470"/>
              <a:gd name="connsiteX5938" fmla="*/ 2611108 w 11625583"/>
              <a:gd name="connsiteY5938" fmla="*/ 205590 h 6380470"/>
              <a:gd name="connsiteX5939" fmla="*/ 2546449 w 11625583"/>
              <a:gd name="connsiteY5939" fmla="*/ 270252 h 6380470"/>
              <a:gd name="connsiteX5940" fmla="*/ 2481792 w 11625583"/>
              <a:gd name="connsiteY5940" fmla="*/ 205590 h 6380470"/>
              <a:gd name="connsiteX5941" fmla="*/ 2546449 w 11625583"/>
              <a:gd name="connsiteY5941" fmla="*/ 140925 h 6380470"/>
              <a:gd name="connsiteX5942" fmla="*/ 4100255 w 11625583"/>
              <a:gd name="connsiteY5942" fmla="*/ 140924 h 6380470"/>
              <a:gd name="connsiteX5943" fmla="*/ 4164923 w 11625583"/>
              <a:gd name="connsiteY5943" fmla="*/ 205590 h 6380470"/>
              <a:gd name="connsiteX5944" fmla="*/ 4100255 w 11625583"/>
              <a:gd name="connsiteY5944" fmla="*/ 270252 h 6380470"/>
              <a:gd name="connsiteX5945" fmla="*/ 4035594 w 11625583"/>
              <a:gd name="connsiteY5945" fmla="*/ 205590 h 6380470"/>
              <a:gd name="connsiteX5946" fmla="*/ 4100255 w 11625583"/>
              <a:gd name="connsiteY5946" fmla="*/ 140924 h 6380470"/>
              <a:gd name="connsiteX5947" fmla="*/ 3947579 w 11625583"/>
              <a:gd name="connsiteY5947" fmla="*/ 140924 h 6380470"/>
              <a:gd name="connsiteX5948" fmla="*/ 4012257 w 11625583"/>
              <a:gd name="connsiteY5948" fmla="*/ 205590 h 6380470"/>
              <a:gd name="connsiteX5949" fmla="*/ 3947579 w 11625583"/>
              <a:gd name="connsiteY5949" fmla="*/ 270252 h 6380470"/>
              <a:gd name="connsiteX5950" fmla="*/ 3883072 w 11625583"/>
              <a:gd name="connsiteY5950" fmla="*/ 205590 h 6380470"/>
              <a:gd name="connsiteX5951" fmla="*/ 3947579 w 11625583"/>
              <a:gd name="connsiteY5951" fmla="*/ 140924 h 6380470"/>
              <a:gd name="connsiteX5952" fmla="*/ 3791164 w 11625583"/>
              <a:gd name="connsiteY5952" fmla="*/ 140924 h 6380470"/>
              <a:gd name="connsiteX5953" fmla="*/ 3855828 w 11625583"/>
              <a:gd name="connsiteY5953" fmla="*/ 205590 h 6380470"/>
              <a:gd name="connsiteX5954" fmla="*/ 3791164 w 11625583"/>
              <a:gd name="connsiteY5954" fmla="*/ 270252 h 6380470"/>
              <a:gd name="connsiteX5955" fmla="*/ 3726486 w 11625583"/>
              <a:gd name="connsiteY5955" fmla="*/ 205590 h 6380470"/>
              <a:gd name="connsiteX5956" fmla="*/ 3791164 w 11625583"/>
              <a:gd name="connsiteY5956" fmla="*/ 140924 h 6380470"/>
              <a:gd name="connsiteX5957" fmla="*/ 3630675 w 11625583"/>
              <a:gd name="connsiteY5957" fmla="*/ 140924 h 6380470"/>
              <a:gd name="connsiteX5958" fmla="*/ 3695344 w 11625583"/>
              <a:gd name="connsiteY5958" fmla="*/ 205590 h 6380470"/>
              <a:gd name="connsiteX5959" fmla="*/ 3630675 w 11625583"/>
              <a:gd name="connsiteY5959" fmla="*/ 270252 h 6380470"/>
              <a:gd name="connsiteX5960" fmla="*/ 3565995 w 11625583"/>
              <a:gd name="connsiteY5960" fmla="*/ 205590 h 6380470"/>
              <a:gd name="connsiteX5961" fmla="*/ 3630675 w 11625583"/>
              <a:gd name="connsiteY5961" fmla="*/ 140924 h 6380470"/>
              <a:gd name="connsiteX5962" fmla="*/ 3481918 w 11625583"/>
              <a:gd name="connsiteY5962" fmla="*/ 140924 h 6380470"/>
              <a:gd name="connsiteX5963" fmla="*/ 3546591 w 11625583"/>
              <a:gd name="connsiteY5963" fmla="*/ 205590 h 6380470"/>
              <a:gd name="connsiteX5964" fmla="*/ 3481918 w 11625583"/>
              <a:gd name="connsiteY5964" fmla="*/ 270252 h 6380470"/>
              <a:gd name="connsiteX5965" fmla="*/ 3417264 w 11625583"/>
              <a:gd name="connsiteY5965" fmla="*/ 205590 h 6380470"/>
              <a:gd name="connsiteX5966" fmla="*/ 3481918 w 11625583"/>
              <a:gd name="connsiteY5966" fmla="*/ 140924 h 6380470"/>
              <a:gd name="connsiteX5967" fmla="*/ 3172703 w 11625583"/>
              <a:gd name="connsiteY5967" fmla="*/ 140924 h 6380470"/>
              <a:gd name="connsiteX5968" fmla="*/ 3237377 w 11625583"/>
              <a:gd name="connsiteY5968" fmla="*/ 205590 h 6380470"/>
              <a:gd name="connsiteX5969" fmla="*/ 3172703 w 11625583"/>
              <a:gd name="connsiteY5969" fmla="*/ 270252 h 6380470"/>
              <a:gd name="connsiteX5970" fmla="*/ 3108016 w 11625583"/>
              <a:gd name="connsiteY5970" fmla="*/ 205590 h 6380470"/>
              <a:gd name="connsiteX5971" fmla="*/ 3172703 w 11625583"/>
              <a:gd name="connsiteY5971" fmla="*/ 140924 h 6380470"/>
              <a:gd name="connsiteX5972" fmla="*/ 3012181 w 11625583"/>
              <a:gd name="connsiteY5972" fmla="*/ 140924 h 6380470"/>
              <a:gd name="connsiteX5973" fmla="*/ 3076850 w 11625583"/>
              <a:gd name="connsiteY5973" fmla="*/ 205590 h 6380470"/>
              <a:gd name="connsiteX5974" fmla="*/ 3012181 w 11625583"/>
              <a:gd name="connsiteY5974" fmla="*/ 270252 h 6380470"/>
              <a:gd name="connsiteX5975" fmla="*/ 2947522 w 11625583"/>
              <a:gd name="connsiteY5975" fmla="*/ 205590 h 6380470"/>
              <a:gd name="connsiteX5976" fmla="*/ 3012181 w 11625583"/>
              <a:gd name="connsiteY5976" fmla="*/ 140924 h 6380470"/>
              <a:gd name="connsiteX5977" fmla="*/ 2855634 w 11625583"/>
              <a:gd name="connsiteY5977" fmla="*/ 140924 h 6380470"/>
              <a:gd name="connsiteX5978" fmla="*/ 2920282 w 11625583"/>
              <a:gd name="connsiteY5978" fmla="*/ 205590 h 6380470"/>
              <a:gd name="connsiteX5979" fmla="*/ 2855634 w 11625583"/>
              <a:gd name="connsiteY5979" fmla="*/ 270252 h 6380470"/>
              <a:gd name="connsiteX5980" fmla="*/ 2790973 w 11625583"/>
              <a:gd name="connsiteY5980" fmla="*/ 205590 h 6380470"/>
              <a:gd name="connsiteX5981" fmla="*/ 2855634 w 11625583"/>
              <a:gd name="connsiteY5981" fmla="*/ 140924 h 6380470"/>
              <a:gd name="connsiteX5982" fmla="*/ 2699084 w 11625583"/>
              <a:gd name="connsiteY5982" fmla="*/ 140924 h 6380470"/>
              <a:gd name="connsiteX5983" fmla="*/ 2763737 w 11625583"/>
              <a:gd name="connsiteY5983" fmla="*/ 205590 h 6380470"/>
              <a:gd name="connsiteX5984" fmla="*/ 2699084 w 11625583"/>
              <a:gd name="connsiteY5984" fmla="*/ 270252 h 6380470"/>
              <a:gd name="connsiteX5985" fmla="*/ 2634431 w 11625583"/>
              <a:gd name="connsiteY5985" fmla="*/ 205590 h 6380470"/>
              <a:gd name="connsiteX5986" fmla="*/ 2699084 w 11625583"/>
              <a:gd name="connsiteY5986" fmla="*/ 140924 h 6380470"/>
              <a:gd name="connsiteX5987" fmla="*/ 8601685 w 11625583"/>
              <a:gd name="connsiteY5987" fmla="*/ 140924 h 6380470"/>
              <a:gd name="connsiteX5988" fmla="*/ 8666351 w 11625583"/>
              <a:gd name="connsiteY5988" fmla="*/ 205588 h 6380470"/>
              <a:gd name="connsiteX5989" fmla="*/ 8601685 w 11625583"/>
              <a:gd name="connsiteY5989" fmla="*/ 270252 h 6380470"/>
              <a:gd name="connsiteX5990" fmla="*/ 8537019 w 11625583"/>
              <a:gd name="connsiteY5990" fmla="*/ 205588 h 6380470"/>
              <a:gd name="connsiteX5991" fmla="*/ 8601685 w 11625583"/>
              <a:gd name="connsiteY5991" fmla="*/ 140924 h 6380470"/>
              <a:gd name="connsiteX5992" fmla="*/ 8449026 w 11625583"/>
              <a:gd name="connsiteY5992" fmla="*/ 140924 h 6380470"/>
              <a:gd name="connsiteX5993" fmla="*/ 8513692 w 11625583"/>
              <a:gd name="connsiteY5993" fmla="*/ 205588 h 6380470"/>
              <a:gd name="connsiteX5994" fmla="*/ 8449026 w 11625583"/>
              <a:gd name="connsiteY5994" fmla="*/ 270252 h 6380470"/>
              <a:gd name="connsiteX5995" fmla="*/ 8384360 w 11625583"/>
              <a:gd name="connsiteY5995" fmla="*/ 205588 h 6380470"/>
              <a:gd name="connsiteX5996" fmla="*/ 8449026 w 11625583"/>
              <a:gd name="connsiteY5996" fmla="*/ 140924 h 6380470"/>
              <a:gd name="connsiteX5997" fmla="*/ 6120001 w 11625583"/>
              <a:gd name="connsiteY5997" fmla="*/ 140924 h 6380470"/>
              <a:gd name="connsiteX5998" fmla="*/ 6184667 w 11625583"/>
              <a:gd name="connsiteY5998" fmla="*/ 205588 h 6380470"/>
              <a:gd name="connsiteX5999" fmla="*/ 6120001 w 11625583"/>
              <a:gd name="connsiteY5999" fmla="*/ 270252 h 6380470"/>
              <a:gd name="connsiteX6000" fmla="*/ 6055335 w 11625583"/>
              <a:gd name="connsiteY6000" fmla="*/ 205588 h 6380470"/>
              <a:gd name="connsiteX6001" fmla="*/ 6120001 w 11625583"/>
              <a:gd name="connsiteY6001" fmla="*/ 140924 h 6380470"/>
              <a:gd name="connsiteX6002" fmla="*/ 5967339 w 11625583"/>
              <a:gd name="connsiteY6002" fmla="*/ 140924 h 6380470"/>
              <a:gd name="connsiteX6003" fmla="*/ 6032005 w 11625583"/>
              <a:gd name="connsiteY6003" fmla="*/ 205588 h 6380470"/>
              <a:gd name="connsiteX6004" fmla="*/ 5967339 w 11625583"/>
              <a:gd name="connsiteY6004" fmla="*/ 270252 h 6380470"/>
              <a:gd name="connsiteX6005" fmla="*/ 5902673 w 11625583"/>
              <a:gd name="connsiteY6005" fmla="*/ 205588 h 6380470"/>
              <a:gd name="connsiteX6006" fmla="*/ 5967339 w 11625583"/>
              <a:gd name="connsiteY6006" fmla="*/ 140924 h 6380470"/>
              <a:gd name="connsiteX6007" fmla="*/ 4875265 w 11625583"/>
              <a:gd name="connsiteY6007" fmla="*/ 140924 h 6380470"/>
              <a:gd name="connsiteX6008" fmla="*/ 4939942 w 11625583"/>
              <a:gd name="connsiteY6008" fmla="*/ 205588 h 6380470"/>
              <a:gd name="connsiteX6009" fmla="*/ 4875265 w 11625583"/>
              <a:gd name="connsiteY6009" fmla="*/ 270252 h 6380470"/>
              <a:gd name="connsiteX6010" fmla="*/ 4810599 w 11625583"/>
              <a:gd name="connsiteY6010" fmla="*/ 205588 h 6380470"/>
              <a:gd name="connsiteX6011" fmla="*/ 4875265 w 11625583"/>
              <a:gd name="connsiteY6011" fmla="*/ 140924 h 6380470"/>
              <a:gd name="connsiteX6012" fmla="*/ 4722614 w 11625583"/>
              <a:gd name="connsiteY6012" fmla="*/ 140924 h 6380470"/>
              <a:gd name="connsiteX6013" fmla="*/ 4787277 w 11625583"/>
              <a:gd name="connsiteY6013" fmla="*/ 205588 h 6380470"/>
              <a:gd name="connsiteX6014" fmla="*/ 4722614 w 11625583"/>
              <a:gd name="connsiteY6014" fmla="*/ 270252 h 6380470"/>
              <a:gd name="connsiteX6015" fmla="*/ 4657957 w 11625583"/>
              <a:gd name="connsiteY6015" fmla="*/ 205588 h 6380470"/>
              <a:gd name="connsiteX6016" fmla="*/ 4722614 w 11625583"/>
              <a:gd name="connsiteY6016" fmla="*/ 140924 h 6380470"/>
              <a:gd name="connsiteX6017" fmla="*/ 4566033 w 11625583"/>
              <a:gd name="connsiteY6017" fmla="*/ 140924 h 6380470"/>
              <a:gd name="connsiteX6018" fmla="*/ 4630719 w 11625583"/>
              <a:gd name="connsiteY6018" fmla="*/ 205590 h 6380470"/>
              <a:gd name="connsiteX6019" fmla="*/ 4566033 w 11625583"/>
              <a:gd name="connsiteY6019" fmla="*/ 270252 h 6380470"/>
              <a:gd name="connsiteX6020" fmla="*/ 4501349 w 11625583"/>
              <a:gd name="connsiteY6020" fmla="*/ 205590 h 6380470"/>
              <a:gd name="connsiteX6021" fmla="*/ 4566033 w 11625583"/>
              <a:gd name="connsiteY6021" fmla="*/ 140924 h 6380470"/>
              <a:gd name="connsiteX6022" fmla="*/ 4409471 w 11625583"/>
              <a:gd name="connsiteY6022" fmla="*/ 140924 h 6380470"/>
              <a:gd name="connsiteX6023" fmla="*/ 4474113 w 11625583"/>
              <a:gd name="connsiteY6023" fmla="*/ 205590 h 6380470"/>
              <a:gd name="connsiteX6024" fmla="*/ 4409471 w 11625583"/>
              <a:gd name="connsiteY6024" fmla="*/ 270252 h 6380470"/>
              <a:gd name="connsiteX6025" fmla="*/ 4344809 w 11625583"/>
              <a:gd name="connsiteY6025" fmla="*/ 205590 h 6380470"/>
              <a:gd name="connsiteX6026" fmla="*/ 4409471 w 11625583"/>
              <a:gd name="connsiteY6026" fmla="*/ 140924 h 6380470"/>
              <a:gd name="connsiteX6027" fmla="*/ 4256823 w 11625583"/>
              <a:gd name="connsiteY6027" fmla="*/ 140924 h 6380470"/>
              <a:gd name="connsiteX6028" fmla="*/ 4321471 w 11625583"/>
              <a:gd name="connsiteY6028" fmla="*/ 205590 h 6380470"/>
              <a:gd name="connsiteX6029" fmla="*/ 4256823 w 11625583"/>
              <a:gd name="connsiteY6029" fmla="*/ 270252 h 6380470"/>
              <a:gd name="connsiteX6030" fmla="*/ 4192125 w 11625583"/>
              <a:gd name="connsiteY6030" fmla="*/ 205590 h 6380470"/>
              <a:gd name="connsiteX6031" fmla="*/ 4256823 w 11625583"/>
              <a:gd name="connsiteY6031" fmla="*/ 140924 h 6380470"/>
              <a:gd name="connsiteX6032" fmla="*/ 8766087 w 11625583"/>
              <a:gd name="connsiteY6032" fmla="*/ 140923 h 6380470"/>
              <a:gd name="connsiteX6033" fmla="*/ 8830753 w 11625583"/>
              <a:gd name="connsiteY6033" fmla="*/ 205588 h 6380470"/>
              <a:gd name="connsiteX6034" fmla="*/ 8766087 w 11625583"/>
              <a:gd name="connsiteY6034" fmla="*/ 270252 h 6380470"/>
              <a:gd name="connsiteX6035" fmla="*/ 8701421 w 11625583"/>
              <a:gd name="connsiteY6035" fmla="*/ 205588 h 6380470"/>
              <a:gd name="connsiteX6036" fmla="*/ 8766087 w 11625583"/>
              <a:gd name="connsiteY6036" fmla="*/ 140923 h 6380470"/>
              <a:gd name="connsiteX6037" fmla="*/ 3172703 w 11625583"/>
              <a:gd name="connsiteY6037" fmla="*/ 0 h 6380470"/>
              <a:gd name="connsiteX6038" fmla="*/ 3237377 w 11625583"/>
              <a:gd name="connsiteY6038" fmla="*/ 64665 h 6380470"/>
              <a:gd name="connsiteX6039" fmla="*/ 3172703 w 11625583"/>
              <a:gd name="connsiteY6039" fmla="*/ 129330 h 6380470"/>
              <a:gd name="connsiteX6040" fmla="*/ 3108016 w 11625583"/>
              <a:gd name="connsiteY6040" fmla="*/ 64665 h 6380470"/>
              <a:gd name="connsiteX6041" fmla="*/ 3172703 w 11625583"/>
              <a:gd name="connsiteY6041" fmla="*/ 0 h 6380470"/>
              <a:gd name="connsiteX6042" fmla="*/ 3012181 w 11625583"/>
              <a:gd name="connsiteY6042" fmla="*/ 0 h 6380470"/>
              <a:gd name="connsiteX6043" fmla="*/ 3076850 w 11625583"/>
              <a:gd name="connsiteY6043" fmla="*/ 64665 h 6380470"/>
              <a:gd name="connsiteX6044" fmla="*/ 3012181 w 11625583"/>
              <a:gd name="connsiteY6044" fmla="*/ 129330 h 6380470"/>
              <a:gd name="connsiteX6045" fmla="*/ 2947522 w 11625583"/>
              <a:gd name="connsiteY6045" fmla="*/ 64665 h 6380470"/>
              <a:gd name="connsiteX6046" fmla="*/ 3012181 w 11625583"/>
              <a:gd name="connsiteY6046" fmla="*/ 0 h 6380470"/>
              <a:gd name="connsiteX6047" fmla="*/ 2855634 w 11625583"/>
              <a:gd name="connsiteY6047" fmla="*/ 0 h 6380470"/>
              <a:gd name="connsiteX6048" fmla="*/ 2920282 w 11625583"/>
              <a:gd name="connsiteY6048" fmla="*/ 64665 h 6380470"/>
              <a:gd name="connsiteX6049" fmla="*/ 2855634 w 11625583"/>
              <a:gd name="connsiteY6049" fmla="*/ 129330 h 6380470"/>
              <a:gd name="connsiteX6050" fmla="*/ 2790973 w 11625583"/>
              <a:gd name="connsiteY6050" fmla="*/ 64665 h 6380470"/>
              <a:gd name="connsiteX6051" fmla="*/ 2855634 w 11625583"/>
              <a:gd name="connsiteY6051" fmla="*/ 0 h 6380470"/>
              <a:gd name="connsiteX6052" fmla="*/ 4100255 w 11625583"/>
              <a:gd name="connsiteY6052" fmla="*/ 0 h 6380470"/>
              <a:gd name="connsiteX6053" fmla="*/ 4164923 w 11625583"/>
              <a:gd name="connsiteY6053" fmla="*/ 64665 h 6380470"/>
              <a:gd name="connsiteX6054" fmla="*/ 4100255 w 11625583"/>
              <a:gd name="connsiteY6054" fmla="*/ 129330 h 6380470"/>
              <a:gd name="connsiteX6055" fmla="*/ 4035594 w 11625583"/>
              <a:gd name="connsiteY6055" fmla="*/ 64665 h 6380470"/>
              <a:gd name="connsiteX6056" fmla="*/ 4100255 w 11625583"/>
              <a:gd name="connsiteY6056" fmla="*/ 0 h 6380470"/>
              <a:gd name="connsiteX6057" fmla="*/ 3947579 w 11625583"/>
              <a:gd name="connsiteY6057" fmla="*/ 0 h 6380470"/>
              <a:gd name="connsiteX6058" fmla="*/ 4012257 w 11625583"/>
              <a:gd name="connsiteY6058" fmla="*/ 64665 h 6380470"/>
              <a:gd name="connsiteX6059" fmla="*/ 3947579 w 11625583"/>
              <a:gd name="connsiteY6059" fmla="*/ 129330 h 6380470"/>
              <a:gd name="connsiteX6060" fmla="*/ 3883072 w 11625583"/>
              <a:gd name="connsiteY6060" fmla="*/ 64665 h 6380470"/>
              <a:gd name="connsiteX6061" fmla="*/ 3947579 w 11625583"/>
              <a:gd name="connsiteY6061" fmla="*/ 0 h 6380470"/>
              <a:gd name="connsiteX6062" fmla="*/ 3791164 w 11625583"/>
              <a:gd name="connsiteY6062" fmla="*/ 0 h 6380470"/>
              <a:gd name="connsiteX6063" fmla="*/ 3855828 w 11625583"/>
              <a:gd name="connsiteY6063" fmla="*/ 64665 h 6380470"/>
              <a:gd name="connsiteX6064" fmla="*/ 3791164 w 11625583"/>
              <a:gd name="connsiteY6064" fmla="*/ 129330 h 6380470"/>
              <a:gd name="connsiteX6065" fmla="*/ 3726486 w 11625583"/>
              <a:gd name="connsiteY6065" fmla="*/ 64665 h 6380470"/>
              <a:gd name="connsiteX6066" fmla="*/ 3791164 w 11625583"/>
              <a:gd name="connsiteY6066" fmla="*/ 0 h 6380470"/>
              <a:gd name="connsiteX6067" fmla="*/ 3321453 w 11625583"/>
              <a:gd name="connsiteY6067" fmla="*/ 0 h 6380470"/>
              <a:gd name="connsiteX6068" fmla="*/ 3386097 w 11625583"/>
              <a:gd name="connsiteY6068" fmla="*/ 64665 h 6380470"/>
              <a:gd name="connsiteX6069" fmla="*/ 3321453 w 11625583"/>
              <a:gd name="connsiteY6069" fmla="*/ 129330 h 6380470"/>
              <a:gd name="connsiteX6070" fmla="*/ 3256791 w 11625583"/>
              <a:gd name="connsiteY6070" fmla="*/ 64665 h 6380470"/>
              <a:gd name="connsiteX6071" fmla="*/ 3321453 w 11625583"/>
              <a:gd name="connsiteY6071" fmla="*/ 0 h 6380470"/>
              <a:gd name="connsiteX6072" fmla="*/ 4722614 w 11625583"/>
              <a:gd name="connsiteY6072" fmla="*/ 0 h 6380470"/>
              <a:gd name="connsiteX6073" fmla="*/ 4787277 w 11625583"/>
              <a:gd name="connsiteY6073" fmla="*/ 64665 h 6380470"/>
              <a:gd name="connsiteX6074" fmla="*/ 4722614 w 11625583"/>
              <a:gd name="connsiteY6074" fmla="*/ 129329 h 6380470"/>
              <a:gd name="connsiteX6075" fmla="*/ 4657957 w 11625583"/>
              <a:gd name="connsiteY6075" fmla="*/ 64665 h 6380470"/>
              <a:gd name="connsiteX6076" fmla="*/ 4722614 w 11625583"/>
              <a:gd name="connsiteY6076" fmla="*/ 0 h 6380470"/>
              <a:gd name="connsiteX6077" fmla="*/ 4566033 w 11625583"/>
              <a:gd name="connsiteY6077" fmla="*/ 0 h 6380470"/>
              <a:gd name="connsiteX6078" fmla="*/ 4630719 w 11625583"/>
              <a:gd name="connsiteY6078" fmla="*/ 64665 h 6380470"/>
              <a:gd name="connsiteX6079" fmla="*/ 4566033 w 11625583"/>
              <a:gd name="connsiteY6079" fmla="*/ 129329 h 6380470"/>
              <a:gd name="connsiteX6080" fmla="*/ 4501349 w 11625583"/>
              <a:gd name="connsiteY6080" fmla="*/ 64665 h 6380470"/>
              <a:gd name="connsiteX6081" fmla="*/ 4566033 w 11625583"/>
              <a:gd name="connsiteY6081" fmla="*/ 0 h 6380470"/>
              <a:gd name="connsiteX6082" fmla="*/ 4409471 w 11625583"/>
              <a:gd name="connsiteY6082" fmla="*/ 0 h 6380470"/>
              <a:gd name="connsiteX6083" fmla="*/ 4474113 w 11625583"/>
              <a:gd name="connsiteY6083" fmla="*/ 64665 h 6380470"/>
              <a:gd name="connsiteX6084" fmla="*/ 4409471 w 11625583"/>
              <a:gd name="connsiteY6084" fmla="*/ 129329 h 6380470"/>
              <a:gd name="connsiteX6085" fmla="*/ 4344809 w 11625583"/>
              <a:gd name="connsiteY6085" fmla="*/ 64665 h 6380470"/>
              <a:gd name="connsiteX6086" fmla="*/ 4409471 w 11625583"/>
              <a:gd name="connsiteY6086" fmla="*/ 0 h 6380470"/>
              <a:gd name="connsiteX6087" fmla="*/ 4256823 w 11625583"/>
              <a:gd name="connsiteY6087" fmla="*/ 0 h 6380470"/>
              <a:gd name="connsiteX6088" fmla="*/ 4321471 w 11625583"/>
              <a:gd name="connsiteY6088" fmla="*/ 64665 h 6380470"/>
              <a:gd name="connsiteX6089" fmla="*/ 4256823 w 11625583"/>
              <a:gd name="connsiteY6089" fmla="*/ 129330 h 6380470"/>
              <a:gd name="connsiteX6090" fmla="*/ 4192125 w 11625583"/>
              <a:gd name="connsiteY6090" fmla="*/ 64665 h 6380470"/>
              <a:gd name="connsiteX6091" fmla="*/ 4256823 w 11625583"/>
              <a:gd name="connsiteY6091" fmla="*/ 0 h 6380470"/>
              <a:gd name="connsiteX6092" fmla="*/ 8601685 w 11625583"/>
              <a:gd name="connsiteY6092" fmla="*/ 0 h 6380470"/>
              <a:gd name="connsiteX6093" fmla="*/ 8666351 w 11625583"/>
              <a:gd name="connsiteY6093" fmla="*/ 64665 h 6380470"/>
              <a:gd name="connsiteX6094" fmla="*/ 8601685 w 11625583"/>
              <a:gd name="connsiteY6094" fmla="*/ 129329 h 6380470"/>
              <a:gd name="connsiteX6095" fmla="*/ 8537019 w 11625583"/>
              <a:gd name="connsiteY6095" fmla="*/ 64665 h 6380470"/>
              <a:gd name="connsiteX6096" fmla="*/ 8601685 w 11625583"/>
              <a:gd name="connsiteY6096" fmla="*/ 0 h 6380470"/>
              <a:gd name="connsiteX6097" fmla="*/ 5031854 w 11625583"/>
              <a:gd name="connsiteY6097" fmla="*/ 0 h 6380470"/>
              <a:gd name="connsiteX6098" fmla="*/ 5096512 w 11625583"/>
              <a:gd name="connsiteY6098" fmla="*/ 64665 h 6380470"/>
              <a:gd name="connsiteX6099" fmla="*/ 5031854 w 11625583"/>
              <a:gd name="connsiteY6099" fmla="*/ 129329 h 6380470"/>
              <a:gd name="connsiteX6100" fmla="*/ 4967176 w 11625583"/>
              <a:gd name="connsiteY6100" fmla="*/ 64665 h 6380470"/>
              <a:gd name="connsiteX6101" fmla="*/ 5031854 w 11625583"/>
              <a:gd name="connsiteY6101" fmla="*/ 0 h 6380470"/>
              <a:gd name="connsiteX6102" fmla="*/ 4875265 w 11625583"/>
              <a:gd name="connsiteY6102" fmla="*/ 0 h 6380470"/>
              <a:gd name="connsiteX6103" fmla="*/ 4939942 w 11625583"/>
              <a:gd name="connsiteY6103" fmla="*/ 64665 h 6380470"/>
              <a:gd name="connsiteX6104" fmla="*/ 4875265 w 11625583"/>
              <a:gd name="connsiteY6104" fmla="*/ 129329 h 6380470"/>
              <a:gd name="connsiteX6105" fmla="*/ 4810599 w 11625583"/>
              <a:gd name="connsiteY6105" fmla="*/ 64665 h 6380470"/>
              <a:gd name="connsiteX6106" fmla="*/ 4875265 w 11625583"/>
              <a:gd name="connsiteY6106" fmla="*/ 0 h 638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Lst>
            <a:rect l="l" t="t" r="r" b="b"/>
            <a:pathLst>
              <a:path w="11625583" h="6380470">
                <a:moveTo>
                  <a:pt x="3172506" y="6251138"/>
                </a:moveTo>
                <a:cubicBezTo>
                  <a:pt x="3208220" y="6251138"/>
                  <a:pt x="3237172" y="6280090"/>
                  <a:pt x="3237172" y="6315804"/>
                </a:cubicBezTo>
                <a:cubicBezTo>
                  <a:pt x="3237172" y="6351518"/>
                  <a:pt x="3208220" y="6380470"/>
                  <a:pt x="3172506" y="6380470"/>
                </a:cubicBezTo>
                <a:cubicBezTo>
                  <a:pt x="3136793" y="6380470"/>
                  <a:pt x="3107840" y="6351518"/>
                  <a:pt x="3107840" y="6315804"/>
                </a:cubicBezTo>
                <a:cubicBezTo>
                  <a:pt x="3107840" y="6280090"/>
                  <a:pt x="3136793" y="6251138"/>
                  <a:pt x="3172506" y="6251138"/>
                </a:cubicBezTo>
                <a:close/>
                <a:moveTo>
                  <a:pt x="3321253" y="6251137"/>
                </a:moveTo>
                <a:cubicBezTo>
                  <a:pt x="3356967" y="6251137"/>
                  <a:pt x="3385919" y="6280089"/>
                  <a:pt x="3385919" y="6315803"/>
                </a:cubicBezTo>
                <a:cubicBezTo>
                  <a:pt x="3385919" y="6351517"/>
                  <a:pt x="3356967" y="6380469"/>
                  <a:pt x="3321253" y="6380469"/>
                </a:cubicBezTo>
                <a:cubicBezTo>
                  <a:pt x="3285539" y="6380469"/>
                  <a:pt x="3256587" y="6351517"/>
                  <a:pt x="3256587" y="6315803"/>
                </a:cubicBezTo>
                <a:cubicBezTo>
                  <a:pt x="3256587" y="6280089"/>
                  <a:pt x="3285539" y="6251137"/>
                  <a:pt x="3321253" y="6251137"/>
                </a:cubicBezTo>
                <a:close/>
                <a:moveTo>
                  <a:pt x="3172507" y="6110222"/>
                </a:moveTo>
                <a:cubicBezTo>
                  <a:pt x="3208221" y="6110222"/>
                  <a:pt x="3237173" y="6139174"/>
                  <a:pt x="3237173" y="6174888"/>
                </a:cubicBezTo>
                <a:cubicBezTo>
                  <a:pt x="3237173" y="6210602"/>
                  <a:pt x="3208221" y="6239554"/>
                  <a:pt x="3172507" y="6239554"/>
                </a:cubicBezTo>
                <a:cubicBezTo>
                  <a:pt x="3136793" y="6239554"/>
                  <a:pt x="3107841" y="6210602"/>
                  <a:pt x="3107841" y="6174888"/>
                </a:cubicBezTo>
                <a:cubicBezTo>
                  <a:pt x="3107841" y="6139174"/>
                  <a:pt x="3136793" y="6110222"/>
                  <a:pt x="3172507" y="6110222"/>
                </a:cubicBezTo>
                <a:close/>
                <a:moveTo>
                  <a:pt x="3172507" y="5965390"/>
                </a:moveTo>
                <a:cubicBezTo>
                  <a:pt x="3208221" y="5965390"/>
                  <a:pt x="3237173" y="5994342"/>
                  <a:pt x="3237173" y="6030056"/>
                </a:cubicBezTo>
                <a:cubicBezTo>
                  <a:pt x="3237173" y="6065770"/>
                  <a:pt x="3208221" y="6094722"/>
                  <a:pt x="3172507" y="6094722"/>
                </a:cubicBezTo>
                <a:cubicBezTo>
                  <a:pt x="3136793" y="6094722"/>
                  <a:pt x="3107841" y="6065770"/>
                  <a:pt x="3107841" y="6030056"/>
                </a:cubicBezTo>
                <a:cubicBezTo>
                  <a:pt x="3107841" y="5994342"/>
                  <a:pt x="3136793" y="5965390"/>
                  <a:pt x="3172507" y="5965390"/>
                </a:cubicBezTo>
                <a:close/>
                <a:moveTo>
                  <a:pt x="3321254" y="5965389"/>
                </a:moveTo>
                <a:cubicBezTo>
                  <a:pt x="3356968" y="5965389"/>
                  <a:pt x="3385920" y="5994341"/>
                  <a:pt x="3385920" y="6030055"/>
                </a:cubicBezTo>
                <a:cubicBezTo>
                  <a:pt x="3385920" y="6065769"/>
                  <a:pt x="3356968" y="6094721"/>
                  <a:pt x="3321254" y="6094721"/>
                </a:cubicBezTo>
                <a:cubicBezTo>
                  <a:pt x="3285540" y="6094721"/>
                  <a:pt x="3256588" y="6065769"/>
                  <a:pt x="3256588" y="6030055"/>
                </a:cubicBezTo>
                <a:cubicBezTo>
                  <a:pt x="3256588" y="5994341"/>
                  <a:pt x="3285540" y="5965389"/>
                  <a:pt x="3321254" y="5965389"/>
                </a:cubicBezTo>
                <a:close/>
                <a:moveTo>
                  <a:pt x="10938540" y="5824473"/>
                </a:moveTo>
                <a:cubicBezTo>
                  <a:pt x="10974254" y="5824473"/>
                  <a:pt x="11003206" y="5853425"/>
                  <a:pt x="11003206" y="5889139"/>
                </a:cubicBezTo>
                <a:cubicBezTo>
                  <a:pt x="11003206" y="5924853"/>
                  <a:pt x="10974254" y="5953805"/>
                  <a:pt x="10938540" y="5953805"/>
                </a:cubicBezTo>
                <a:cubicBezTo>
                  <a:pt x="10902826" y="5953805"/>
                  <a:pt x="10873874" y="5924853"/>
                  <a:pt x="10873874" y="5889139"/>
                </a:cubicBezTo>
                <a:cubicBezTo>
                  <a:pt x="10873874" y="5853425"/>
                  <a:pt x="10902826" y="5824473"/>
                  <a:pt x="10938540" y="5824473"/>
                </a:cubicBezTo>
                <a:close/>
                <a:moveTo>
                  <a:pt x="3321254" y="5824473"/>
                </a:moveTo>
                <a:cubicBezTo>
                  <a:pt x="3356968" y="5824473"/>
                  <a:pt x="3385920" y="5853425"/>
                  <a:pt x="3385920" y="5889139"/>
                </a:cubicBezTo>
                <a:cubicBezTo>
                  <a:pt x="3385920" y="5924853"/>
                  <a:pt x="3356968" y="5953805"/>
                  <a:pt x="3321254" y="5953805"/>
                </a:cubicBezTo>
                <a:cubicBezTo>
                  <a:pt x="3285540" y="5953805"/>
                  <a:pt x="3256588" y="5924853"/>
                  <a:pt x="3256588" y="5889139"/>
                </a:cubicBezTo>
                <a:cubicBezTo>
                  <a:pt x="3256588" y="5853425"/>
                  <a:pt x="3285540" y="5824473"/>
                  <a:pt x="3321254" y="5824473"/>
                </a:cubicBezTo>
                <a:close/>
                <a:moveTo>
                  <a:pt x="3172507" y="5824473"/>
                </a:moveTo>
                <a:cubicBezTo>
                  <a:pt x="3208221" y="5824473"/>
                  <a:pt x="3237174" y="5853425"/>
                  <a:pt x="3237174" y="5889139"/>
                </a:cubicBezTo>
                <a:cubicBezTo>
                  <a:pt x="3237174" y="5924853"/>
                  <a:pt x="3208221" y="5953805"/>
                  <a:pt x="3172507" y="5953805"/>
                </a:cubicBezTo>
                <a:cubicBezTo>
                  <a:pt x="3136793" y="5953805"/>
                  <a:pt x="3107841" y="5924853"/>
                  <a:pt x="3107841" y="5889139"/>
                </a:cubicBezTo>
                <a:cubicBezTo>
                  <a:pt x="3107841" y="5853425"/>
                  <a:pt x="3136793" y="5824473"/>
                  <a:pt x="3172507" y="5824473"/>
                </a:cubicBezTo>
                <a:close/>
                <a:moveTo>
                  <a:pt x="11095113" y="5683557"/>
                </a:moveTo>
                <a:cubicBezTo>
                  <a:pt x="11130827" y="5683557"/>
                  <a:pt x="11159779" y="5712509"/>
                  <a:pt x="11159779" y="5748223"/>
                </a:cubicBezTo>
                <a:cubicBezTo>
                  <a:pt x="11159779" y="5783937"/>
                  <a:pt x="11130827" y="5812889"/>
                  <a:pt x="11095113" y="5812889"/>
                </a:cubicBezTo>
                <a:cubicBezTo>
                  <a:pt x="11059399" y="5812889"/>
                  <a:pt x="11030447" y="5783937"/>
                  <a:pt x="11030447" y="5748223"/>
                </a:cubicBezTo>
                <a:cubicBezTo>
                  <a:pt x="11030447" y="5712509"/>
                  <a:pt x="11059399" y="5683557"/>
                  <a:pt x="11095113" y="5683557"/>
                </a:cubicBezTo>
                <a:close/>
                <a:moveTo>
                  <a:pt x="10312246" y="5683557"/>
                </a:moveTo>
                <a:cubicBezTo>
                  <a:pt x="10347960" y="5683557"/>
                  <a:pt x="10376912" y="5712509"/>
                  <a:pt x="10376912" y="5748223"/>
                </a:cubicBezTo>
                <a:cubicBezTo>
                  <a:pt x="10376912" y="5783937"/>
                  <a:pt x="10347960" y="5812889"/>
                  <a:pt x="10312246" y="5812889"/>
                </a:cubicBezTo>
                <a:cubicBezTo>
                  <a:pt x="10276532" y="5812889"/>
                  <a:pt x="10247580" y="5783937"/>
                  <a:pt x="10247580" y="5748223"/>
                </a:cubicBezTo>
                <a:cubicBezTo>
                  <a:pt x="10247580" y="5712509"/>
                  <a:pt x="10276532" y="5683557"/>
                  <a:pt x="10312246" y="5683557"/>
                </a:cubicBezTo>
                <a:close/>
                <a:moveTo>
                  <a:pt x="3321255" y="5683557"/>
                </a:moveTo>
                <a:cubicBezTo>
                  <a:pt x="3356969" y="5683557"/>
                  <a:pt x="3385921" y="5712509"/>
                  <a:pt x="3385921" y="5748223"/>
                </a:cubicBezTo>
                <a:cubicBezTo>
                  <a:pt x="3385921" y="5783937"/>
                  <a:pt x="3356969" y="5812889"/>
                  <a:pt x="3321255" y="5812889"/>
                </a:cubicBezTo>
                <a:cubicBezTo>
                  <a:pt x="3285541" y="5812889"/>
                  <a:pt x="3256590" y="5783937"/>
                  <a:pt x="3256590" y="5748223"/>
                </a:cubicBezTo>
                <a:cubicBezTo>
                  <a:pt x="3256590" y="5712509"/>
                  <a:pt x="3285541" y="5683557"/>
                  <a:pt x="3321255" y="5683557"/>
                </a:cubicBezTo>
                <a:close/>
                <a:moveTo>
                  <a:pt x="3172508" y="5683557"/>
                </a:moveTo>
                <a:cubicBezTo>
                  <a:pt x="3208222" y="5683557"/>
                  <a:pt x="3237174" y="5712509"/>
                  <a:pt x="3237174" y="5748223"/>
                </a:cubicBezTo>
                <a:cubicBezTo>
                  <a:pt x="3237174" y="5783937"/>
                  <a:pt x="3208222" y="5812889"/>
                  <a:pt x="3172508" y="5812889"/>
                </a:cubicBezTo>
                <a:cubicBezTo>
                  <a:pt x="3136793" y="5812889"/>
                  <a:pt x="3107842" y="5783937"/>
                  <a:pt x="3107842" y="5748223"/>
                </a:cubicBezTo>
                <a:cubicBezTo>
                  <a:pt x="3107842" y="5712509"/>
                  <a:pt x="3136793" y="5683557"/>
                  <a:pt x="3172508" y="5683557"/>
                </a:cubicBezTo>
                <a:close/>
                <a:moveTo>
                  <a:pt x="11251686" y="5538729"/>
                </a:moveTo>
                <a:cubicBezTo>
                  <a:pt x="11287400" y="5538729"/>
                  <a:pt x="11316352" y="5567681"/>
                  <a:pt x="11316352" y="5603395"/>
                </a:cubicBezTo>
                <a:cubicBezTo>
                  <a:pt x="11316352" y="5639109"/>
                  <a:pt x="11287400" y="5668061"/>
                  <a:pt x="11251686" y="5668061"/>
                </a:cubicBezTo>
                <a:cubicBezTo>
                  <a:pt x="11215972" y="5668061"/>
                  <a:pt x="11187020" y="5639109"/>
                  <a:pt x="11187020" y="5603395"/>
                </a:cubicBezTo>
                <a:cubicBezTo>
                  <a:pt x="11187020" y="5567681"/>
                  <a:pt x="11215972" y="5538729"/>
                  <a:pt x="11251686" y="5538729"/>
                </a:cubicBezTo>
                <a:close/>
                <a:moveTo>
                  <a:pt x="3481742" y="5538728"/>
                </a:moveTo>
                <a:cubicBezTo>
                  <a:pt x="3517456" y="5538728"/>
                  <a:pt x="3546408" y="5567680"/>
                  <a:pt x="3546408" y="5603394"/>
                </a:cubicBezTo>
                <a:cubicBezTo>
                  <a:pt x="3546408" y="5639108"/>
                  <a:pt x="3517456" y="5668060"/>
                  <a:pt x="3481742" y="5668060"/>
                </a:cubicBezTo>
                <a:cubicBezTo>
                  <a:pt x="3446028" y="5668060"/>
                  <a:pt x="3417075" y="5639108"/>
                  <a:pt x="3417075" y="5603394"/>
                </a:cubicBezTo>
                <a:cubicBezTo>
                  <a:pt x="3417075" y="5567680"/>
                  <a:pt x="3446028" y="5538728"/>
                  <a:pt x="3481742" y="5538728"/>
                </a:cubicBezTo>
                <a:close/>
                <a:moveTo>
                  <a:pt x="3172511" y="5538728"/>
                </a:moveTo>
                <a:cubicBezTo>
                  <a:pt x="3208225" y="5538728"/>
                  <a:pt x="3237177" y="5567680"/>
                  <a:pt x="3237177" y="5603394"/>
                </a:cubicBezTo>
                <a:cubicBezTo>
                  <a:pt x="3237177" y="5639108"/>
                  <a:pt x="3208225" y="5668060"/>
                  <a:pt x="3172511" y="5668060"/>
                </a:cubicBezTo>
                <a:cubicBezTo>
                  <a:pt x="3136797" y="5668060"/>
                  <a:pt x="3107844" y="5639108"/>
                  <a:pt x="3107844" y="5603394"/>
                </a:cubicBezTo>
                <a:cubicBezTo>
                  <a:pt x="3107844" y="5567680"/>
                  <a:pt x="3136797" y="5538728"/>
                  <a:pt x="3172511" y="5538728"/>
                </a:cubicBezTo>
                <a:close/>
                <a:moveTo>
                  <a:pt x="10312248" y="5538726"/>
                </a:moveTo>
                <a:cubicBezTo>
                  <a:pt x="10347962" y="5538726"/>
                  <a:pt x="10376914" y="5567678"/>
                  <a:pt x="10376914" y="5603392"/>
                </a:cubicBezTo>
                <a:cubicBezTo>
                  <a:pt x="10376914" y="5639106"/>
                  <a:pt x="10347962" y="5668058"/>
                  <a:pt x="10312248" y="5668058"/>
                </a:cubicBezTo>
                <a:cubicBezTo>
                  <a:pt x="10276534" y="5668058"/>
                  <a:pt x="10247582" y="5639106"/>
                  <a:pt x="10247582" y="5603392"/>
                </a:cubicBezTo>
                <a:cubicBezTo>
                  <a:pt x="10247582" y="5567678"/>
                  <a:pt x="10276534" y="5538726"/>
                  <a:pt x="10312248" y="5538726"/>
                </a:cubicBezTo>
                <a:close/>
                <a:moveTo>
                  <a:pt x="10159588" y="5538726"/>
                </a:moveTo>
                <a:cubicBezTo>
                  <a:pt x="10195302" y="5538726"/>
                  <a:pt x="10224254" y="5567678"/>
                  <a:pt x="10224254" y="5603392"/>
                </a:cubicBezTo>
                <a:cubicBezTo>
                  <a:pt x="10224254" y="5639106"/>
                  <a:pt x="10195302" y="5668058"/>
                  <a:pt x="10159588" y="5668058"/>
                </a:cubicBezTo>
                <a:cubicBezTo>
                  <a:pt x="10123874" y="5668058"/>
                  <a:pt x="10094922" y="5639106"/>
                  <a:pt x="10094922" y="5603392"/>
                </a:cubicBezTo>
                <a:cubicBezTo>
                  <a:pt x="10094922" y="5567678"/>
                  <a:pt x="10123874" y="5538726"/>
                  <a:pt x="10159588" y="5538726"/>
                </a:cubicBezTo>
                <a:close/>
                <a:moveTo>
                  <a:pt x="3321256" y="5538726"/>
                </a:moveTo>
                <a:cubicBezTo>
                  <a:pt x="3356970" y="5538726"/>
                  <a:pt x="3385922" y="5567678"/>
                  <a:pt x="3385922" y="5603392"/>
                </a:cubicBezTo>
                <a:cubicBezTo>
                  <a:pt x="3385922" y="5639106"/>
                  <a:pt x="3356970" y="5668058"/>
                  <a:pt x="3321256" y="5668058"/>
                </a:cubicBezTo>
                <a:cubicBezTo>
                  <a:pt x="3285542" y="5668058"/>
                  <a:pt x="3256590" y="5639106"/>
                  <a:pt x="3256590" y="5603392"/>
                </a:cubicBezTo>
                <a:cubicBezTo>
                  <a:pt x="3256590" y="5567678"/>
                  <a:pt x="3285542" y="5538726"/>
                  <a:pt x="3321256" y="5538726"/>
                </a:cubicBezTo>
                <a:close/>
                <a:moveTo>
                  <a:pt x="11251688" y="5401725"/>
                </a:moveTo>
                <a:cubicBezTo>
                  <a:pt x="11287402" y="5401725"/>
                  <a:pt x="11316354" y="5430677"/>
                  <a:pt x="11316354" y="5466391"/>
                </a:cubicBezTo>
                <a:cubicBezTo>
                  <a:pt x="11316354" y="5502105"/>
                  <a:pt x="11287402" y="5531057"/>
                  <a:pt x="11251688" y="5531057"/>
                </a:cubicBezTo>
                <a:cubicBezTo>
                  <a:pt x="11215974" y="5531057"/>
                  <a:pt x="11187022" y="5502105"/>
                  <a:pt x="11187022" y="5466391"/>
                </a:cubicBezTo>
                <a:cubicBezTo>
                  <a:pt x="11187022" y="5430677"/>
                  <a:pt x="11215974" y="5401725"/>
                  <a:pt x="11251688" y="5401725"/>
                </a:cubicBezTo>
                <a:close/>
                <a:moveTo>
                  <a:pt x="10312248" y="5401725"/>
                </a:moveTo>
                <a:cubicBezTo>
                  <a:pt x="10347962" y="5401725"/>
                  <a:pt x="10376914" y="5430677"/>
                  <a:pt x="10376914" y="5466391"/>
                </a:cubicBezTo>
                <a:cubicBezTo>
                  <a:pt x="10376914" y="5502105"/>
                  <a:pt x="10347962" y="5531057"/>
                  <a:pt x="10312248" y="5531057"/>
                </a:cubicBezTo>
                <a:cubicBezTo>
                  <a:pt x="10276534" y="5531057"/>
                  <a:pt x="10247582" y="5502105"/>
                  <a:pt x="10247582" y="5466391"/>
                </a:cubicBezTo>
                <a:cubicBezTo>
                  <a:pt x="10247582" y="5430677"/>
                  <a:pt x="10276534" y="5401725"/>
                  <a:pt x="10312248" y="5401725"/>
                </a:cubicBezTo>
                <a:close/>
                <a:moveTo>
                  <a:pt x="10159588" y="5401725"/>
                </a:moveTo>
                <a:cubicBezTo>
                  <a:pt x="10195302" y="5401725"/>
                  <a:pt x="10224254" y="5430677"/>
                  <a:pt x="10224254" y="5466391"/>
                </a:cubicBezTo>
                <a:cubicBezTo>
                  <a:pt x="10224254" y="5502105"/>
                  <a:pt x="10195302" y="5531057"/>
                  <a:pt x="10159588" y="5531057"/>
                </a:cubicBezTo>
                <a:cubicBezTo>
                  <a:pt x="10123874" y="5531057"/>
                  <a:pt x="10094922" y="5502105"/>
                  <a:pt x="10094922" y="5466391"/>
                </a:cubicBezTo>
                <a:cubicBezTo>
                  <a:pt x="10094922" y="5430677"/>
                  <a:pt x="10123874" y="5401725"/>
                  <a:pt x="10159588" y="5401725"/>
                </a:cubicBezTo>
                <a:close/>
                <a:moveTo>
                  <a:pt x="10003016" y="5401725"/>
                </a:moveTo>
                <a:cubicBezTo>
                  <a:pt x="10038730" y="5401725"/>
                  <a:pt x="10067682" y="5430677"/>
                  <a:pt x="10067682" y="5466391"/>
                </a:cubicBezTo>
                <a:cubicBezTo>
                  <a:pt x="10067682" y="5502105"/>
                  <a:pt x="10038730" y="5531057"/>
                  <a:pt x="10003016" y="5531057"/>
                </a:cubicBezTo>
                <a:cubicBezTo>
                  <a:pt x="9967302" y="5531057"/>
                  <a:pt x="9938350" y="5502105"/>
                  <a:pt x="9938350" y="5466391"/>
                </a:cubicBezTo>
                <a:cubicBezTo>
                  <a:pt x="9938350" y="5430677"/>
                  <a:pt x="9967302" y="5401725"/>
                  <a:pt x="10003016" y="5401725"/>
                </a:cubicBezTo>
                <a:close/>
                <a:moveTo>
                  <a:pt x="6119999" y="5401725"/>
                </a:moveTo>
                <a:cubicBezTo>
                  <a:pt x="6155713" y="5401725"/>
                  <a:pt x="6184665" y="5430677"/>
                  <a:pt x="6184665" y="5466391"/>
                </a:cubicBezTo>
                <a:cubicBezTo>
                  <a:pt x="6184665" y="5502105"/>
                  <a:pt x="6155713" y="5531057"/>
                  <a:pt x="6119999" y="5531057"/>
                </a:cubicBezTo>
                <a:cubicBezTo>
                  <a:pt x="6084285" y="5531057"/>
                  <a:pt x="6055333" y="5502105"/>
                  <a:pt x="6055333" y="5466391"/>
                </a:cubicBezTo>
                <a:cubicBezTo>
                  <a:pt x="6055333" y="5430677"/>
                  <a:pt x="6084285" y="5401725"/>
                  <a:pt x="6119999" y="5401725"/>
                </a:cubicBezTo>
                <a:close/>
                <a:moveTo>
                  <a:pt x="3630488" y="5401725"/>
                </a:moveTo>
                <a:cubicBezTo>
                  <a:pt x="3666202" y="5401725"/>
                  <a:pt x="3695154" y="5430677"/>
                  <a:pt x="3695154" y="5466391"/>
                </a:cubicBezTo>
                <a:cubicBezTo>
                  <a:pt x="3695154" y="5502105"/>
                  <a:pt x="3666202" y="5531057"/>
                  <a:pt x="3630488" y="5531057"/>
                </a:cubicBezTo>
                <a:cubicBezTo>
                  <a:pt x="3594774" y="5531057"/>
                  <a:pt x="3565822" y="5502105"/>
                  <a:pt x="3565822" y="5466391"/>
                </a:cubicBezTo>
                <a:cubicBezTo>
                  <a:pt x="3565822" y="5430677"/>
                  <a:pt x="3594774" y="5401725"/>
                  <a:pt x="3630488" y="5401725"/>
                </a:cubicBezTo>
                <a:close/>
                <a:moveTo>
                  <a:pt x="3481743" y="5401725"/>
                </a:moveTo>
                <a:cubicBezTo>
                  <a:pt x="3517457" y="5401725"/>
                  <a:pt x="3546410" y="5430677"/>
                  <a:pt x="3546410" y="5466391"/>
                </a:cubicBezTo>
                <a:cubicBezTo>
                  <a:pt x="3546410" y="5502105"/>
                  <a:pt x="3517457" y="5531057"/>
                  <a:pt x="3481743" y="5531057"/>
                </a:cubicBezTo>
                <a:cubicBezTo>
                  <a:pt x="3446029" y="5531057"/>
                  <a:pt x="3417077" y="5502105"/>
                  <a:pt x="3417077" y="5466391"/>
                </a:cubicBezTo>
                <a:cubicBezTo>
                  <a:pt x="3417077" y="5430677"/>
                  <a:pt x="3446029" y="5401725"/>
                  <a:pt x="3481743" y="5401725"/>
                </a:cubicBezTo>
                <a:close/>
                <a:moveTo>
                  <a:pt x="3321258" y="5401725"/>
                </a:moveTo>
                <a:cubicBezTo>
                  <a:pt x="3356971" y="5401725"/>
                  <a:pt x="3385924" y="5430677"/>
                  <a:pt x="3385924" y="5466391"/>
                </a:cubicBezTo>
                <a:cubicBezTo>
                  <a:pt x="3385924" y="5502105"/>
                  <a:pt x="3356971" y="5531057"/>
                  <a:pt x="3321258" y="5531057"/>
                </a:cubicBezTo>
                <a:cubicBezTo>
                  <a:pt x="3285544" y="5531057"/>
                  <a:pt x="3256592" y="5502105"/>
                  <a:pt x="3256592" y="5466391"/>
                </a:cubicBezTo>
                <a:cubicBezTo>
                  <a:pt x="3256592" y="5430677"/>
                  <a:pt x="3285544" y="5401725"/>
                  <a:pt x="3321258" y="5401725"/>
                </a:cubicBezTo>
                <a:close/>
                <a:moveTo>
                  <a:pt x="3172512" y="5401725"/>
                </a:moveTo>
                <a:cubicBezTo>
                  <a:pt x="3208226" y="5401725"/>
                  <a:pt x="3237179" y="5430677"/>
                  <a:pt x="3237179" y="5466391"/>
                </a:cubicBezTo>
                <a:cubicBezTo>
                  <a:pt x="3237179" y="5502105"/>
                  <a:pt x="3208226" y="5531057"/>
                  <a:pt x="3172512" y="5531057"/>
                </a:cubicBezTo>
                <a:cubicBezTo>
                  <a:pt x="3136798" y="5531057"/>
                  <a:pt x="3107846" y="5502105"/>
                  <a:pt x="3107846" y="5466391"/>
                </a:cubicBezTo>
                <a:cubicBezTo>
                  <a:pt x="3107846" y="5430677"/>
                  <a:pt x="3136798" y="5401725"/>
                  <a:pt x="3172512" y="5401725"/>
                </a:cubicBezTo>
                <a:close/>
                <a:moveTo>
                  <a:pt x="9850358" y="5256896"/>
                </a:moveTo>
                <a:cubicBezTo>
                  <a:pt x="9886072" y="5256896"/>
                  <a:pt x="9915024" y="5285848"/>
                  <a:pt x="9915024" y="5321562"/>
                </a:cubicBezTo>
                <a:cubicBezTo>
                  <a:pt x="9915024" y="5357276"/>
                  <a:pt x="9886072" y="5386228"/>
                  <a:pt x="9850358" y="5386228"/>
                </a:cubicBezTo>
                <a:cubicBezTo>
                  <a:pt x="9814644" y="5386228"/>
                  <a:pt x="9785692" y="5357276"/>
                  <a:pt x="9785692" y="5321562"/>
                </a:cubicBezTo>
                <a:cubicBezTo>
                  <a:pt x="9785692" y="5285848"/>
                  <a:pt x="9814644" y="5256896"/>
                  <a:pt x="9850358" y="5256896"/>
                </a:cubicBezTo>
                <a:close/>
                <a:moveTo>
                  <a:pt x="9227977" y="5256896"/>
                </a:moveTo>
                <a:cubicBezTo>
                  <a:pt x="9263691" y="5256896"/>
                  <a:pt x="9292643" y="5285848"/>
                  <a:pt x="9292643" y="5321562"/>
                </a:cubicBezTo>
                <a:cubicBezTo>
                  <a:pt x="9292643" y="5357276"/>
                  <a:pt x="9263691" y="5386228"/>
                  <a:pt x="9227977" y="5386228"/>
                </a:cubicBezTo>
                <a:cubicBezTo>
                  <a:pt x="9192263" y="5386228"/>
                  <a:pt x="9163311" y="5357276"/>
                  <a:pt x="9163311" y="5321562"/>
                </a:cubicBezTo>
                <a:cubicBezTo>
                  <a:pt x="9163311" y="5285848"/>
                  <a:pt x="9192263" y="5256896"/>
                  <a:pt x="9227977" y="5256896"/>
                </a:cubicBezTo>
                <a:close/>
                <a:moveTo>
                  <a:pt x="6429231" y="5256896"/>
                </a:moveTo>
                <a:cubicBezTo>
                  <a:pt x="6464945" y="5256896"/>
                  <a:pt x="6493897" y="5285848"/>
                  <a:pt x="6493897" y="5321562"/>
                </a:cubicBezTo>
                <a:cubicBezTo>
                  <a:pt x="6493897" y="5357276"/>
                  <a:pt x="6464945" y="5386228"/>
                  <a:pt x="6429231" y="5386228"/>
                </a:cubicBezTo>
                <a:cubicBezTo>
                  <a:pt x="6393517" y="5386228"/>
                  <a:pt x="6364565" y="5357276"/>
                  <a:pt x="6364565" y="5321562"/>
                </a:cubicBezTo>
                <a:cubicBezTo>
                  <a:pt x="6364565" y="5285848"/>
                  <a:pt x="6393517" y="5256896"/>
                  <a:pt x="6429231" y="5256896"/>
                </a:cubicBezTo>
                <a:close/>
                <a:moveTo>
                  <a:pt x="6276572" y="5256896"/>
                </a:moveTo>
                <a:cubicBezTo>
                  <a:pt x="6312286" y="5256896"/>
                  <a:pt x="6341238" y="5285848"/>
                  <a:pt x="6341238" y="5321562"/>
                </a:cubicBezTo>
                <a:cubicBezTo>
                  <a:pt x="6341238" y="5357276"/>
                  <a:pt x="6312286" y="5386228"/>
                  <a:pt x="6276572" y="5386228"/>
                </a:cubicBezTo>
                <a:cubicBezTo>
                  <a:pt x="6240858" y="5386228"/>
                  <a:pt x="6211906" y="5357276"/>
                  <a:pt x="6211906" y="5321562"/>
                </a:cubicBezTo>
                <a:cubicBezTo>
                  <a:pt x="6211906" y="5285848"/>
                  <a:pt x="6240858" y="5256896"/>
                  <a:pt x="6276572" y="5256896"/>
                </a:cubicBezTo>
                <a:close/>
                <a:moveTo>
                  <a:pt x="3790976" y="5256896"/>
                </a:moveTo>
                <a:cubicBezTo>
                  <a:pt x="3826690" y="5256896"/>
                  <a:pt x="3855643" y="5285848"/>
                  <a:pt x="3855643" y="5321562"/>
                </a:cubicBezTo>
                <a:cubicBezTo>
                  <a:pt x="3855643" y="5357276"/>
                  <a:pt x="3826690" y="5386228"/>
                  <a:pt x="3790976" y="5386228"/>
                </a:cubicBezTo>
                <a:cubicBezTo>
                  <a:pt x="3755262" y="5386228"/>
                  <a:pt x="3726310" y="5357276"/>
                  <a:pt x="3726310" y="5321562"/>
                </a:cubicBezTo>
                <a:cubicBezTo>
                  <a:pt x="3726310" y="5285848"/>
                  <a:pt x="3755262" y="5256896"/>
                  <a:pt x="3790976" y="5256896"/>
                </a:cubicBezTo>
                <a:close/>
                <a:moveTo>
                  <a:pt x="3481745" y="5256896"/>
                </a:moveTo>
                <a:cubicBezTo>
                  <a:pt x="3517459" y="5256896"/>
                  <a:pt x="3546411" y="5285848"/>
                  <a:pt x="3546411" y="5321562"/>
                </a:cubicBezTo>
                <a:cubicBezTo>
                  <a:pt x="3546411" y="5357276"/>
                  <a:pt x="3517459" y="5386228"/>
                  <a:pt x="3481745" y="5386228"/>
                </a:cubicBezTo>
                <a:cubicBezTo>
                  <a:pt x="3446032" y="5386228"/>
                  <a:pt x="3417080" y="5357276"/>
                  <a:pt x="3417080" y="5321562"/>
                </a:cubicBezTo>
                <a:cubicBezTo>
                  <a:pt x="3417080" y="5285848"/>
                  <a:pt x="3446032" y="5256896"/>
                  <a:pt x="3481745" y="5256896"/>
                </a:cubicBezTo>
                <a:close/>
                <a:moveTo>
                  <a:pt x="3172514" y="5256896"/>
                </a:moveTo>
                <a:cubicBezTo>
                  <a:pt x="3208229" y="5256896"/>
                  <a:pt x="3237180" y="5285848"/>
                  <a:pt x="3237180" y="5321562"/>
                </a:cubicBezTo>
                <a:cubicBezTo>
                  <a:pt x="3237180" y="5357276"/>
                  <a:pt x="3208229" y="5386228"/>
                  <a:pt x="3172514" y="5386228"/>
                </a:cubicBezTo>
                <a:cubicBezTo>
                  <a:pt x="3136800" y="5386228"/>
                  <a:pt x="3107847" y="5357276"/>
                  <a:pt x="3107847" y="5321562"/>
                </a:cubicBezTo>
                <a:cubicBezTo>
                  <a:pt x="3107847" y="5285848"/>
                  <a:pt x="3136800" y="5256896"/>
                  <a:pt x="3172514" y="5256896"/>
                </a:cubicBezTo>
                <a:close/>
                <a:moveTo>
                  <a:pt x="10312248" y="5256895"/>
                </a:moveTo>
                <a:cubicBezTo>
                  <a:pt x="10347962" y="5256895"/>
                  <a:pt x="10376914" y="5285847"/>
                  <a:pt x="10376914" y="5321561"/>
                </a:cubicBezTo>
                <a:cubicBezTo>
                  <a:pt x="10376914" y="5357275"/>
                  <a:pt x="10347962" y="5386227"/>
                  <a:pt x="10312248" y="5386227"/>
                </a:cubicBezTo>
                <a:cubicBezTo>
                  <a:pt x="10276534" y="5386227"/>
                  <a:pt x="10247582" y="5357275"/>
                  <a:pt x="10247582" y="5321561"/>
                </a:cubicBezTo>
                <a:cubicBezTo>
                  <a:pt x="10247582" y="5285847"/>
                  <a:pt x="10276534" y="5256895"/>
                  <a:pt x="10312248" y="5256895"/>
                </a:cubicBezTo>
                <a:close/>
                <a:moveTo>
                  <a:pt x="10159588" y="5256895"/>
                </a:moveTo>
                <a:cubicBezTo>
                  <a:pt x="10195302" y="5256895"/>
                  <a:pt x="10224254" y="5285847"/>
                  <a:pt x="10224254" y="5321561"/>
                </a:cubicBezTo>
                <a:cubicBezTo>
                  <a:pt x="10224254" y="5357275"/>
                  <a:pt x="10195302" y="5386227"/>
                  <a:pt x="10159588" y="5386227"/>
                </a:cubicBezTo>
                <a:cubicBezTo>
                  <a:pt x="10123874" y="5386227"/>
                  <a:pt x="10094922" y="5357275"/>
                  <a:pt x="10094922" y="5321561"/>
                </a:cubicBezTo>
                <a:cubicBezTo>
                  <a:pt x="10094922" y="5285847"/>
                  <a:pt x="10123874" y="5256895"/>
                  <a:pt x="10159588" y="5256895"/>
                </a:cubicBezTo>
                <a:close/>
                <a:moveTo>
                  <a:pt x="10003016" y="5256895"/>
                </a:moveTo>
                <a:cubicBezTo>
                  <a:pt x="10038730" y="5256895"/>
                  <a:pt x="10067682" y="5285847"/>
                  <a:pt x="10067682" y="5321561"/>
                </a:cubicBezTo>
                <a:cubicBezTo>
                  <a:pt x="10067682" y="5357275"/>
                  <a:pt x="10038730" y="5386227"/>
                  <a:pt x="10003016" y="5386227"/>
                </a:cubicBezTo>
                <a:cubicBezTo>
                  <a:pt x="9967302" y="5386227"/>
                  <a:pt x="9938350" y="5357275"/>
                  <a:pt x="9938350" y="5321561"/>
                </a:cubicBezTo>
                <a:cubicBezTo>
                  <a:pt x="9938350" y="5285847"/>
                  <a:pt x="9967302" y="5256895"/>
                  <a:pt x="10003016" y="5256895"/>
                </a:cubicBezTo>
                <a:close/>
                <a:moveTo>
                  <a:pt x="9384550" y="5256895"/>
                </a:moveTo>
                <a:cubicBezTo>
                  <a:pt x="9420264" y="5256895"/>
                  <a:pt x="9449216" y="5285847"/>
                  <a:pt x="9449216" y="5321561"/>
                </a:cubicBezTo>
                <a:cubicBezTo>
                  <a:pt x="9449216" y="5357275"/>
                  <a:pt x="9420264" y="5386227"/>
                  <a:pt x="9384550" y="5386227"/>
                </a:cubicBezTo>
                <a:cubicBezTo>
                  <a:pt x="9348836" y="5386227"/>
                  <a:pt x="9319884" y="5357275"/>
                  <a:pt x="9319884" y="5321561"/>
                </a:cubicBezTo>
                <a:cubicBezTo>
                  <a:pt x="9319884" y="5285847"/>
                  <a:pt x="9348836" y="5256895"/>
                  <a:pt x="9384550" y="5256895"/>
                </a:cubicBezTo>
                <a:close/>
                <a:moveTo>
                  <a:pt x="6119999" y="5256895"/>
                </a:moveTo>
                <a:cubicBezTo>
                  <a:pt x="6155713" y="5256895"/>
                  <a:pt x="6184665" y="5285847"/>
                  <a:pt x="6184665" y="5321561"/>
                </a:cubicBezTo>
                <a:cubicBezTo>
                  <a:pt x="6184665" y="5357275"/>
                  <a:pt x="6155713" y="5386227"/>
                  <a:pt x="6119999" y="5386227"/>
                </a:cubicBezTo>
                <a:cubicBezTo>
                  <a:pt x="6084285" y="5386227"/>
                  <a:pt x="6055333" y="5357275"/>
                  <a:pt x="6055333" y="5321561"/>
                </a:cubicBezTo>
                <a:cubicBezTo>
                  <a:pt x="6055333" y="5285847"/>
                  <a:pt x="6084285" y="5256895"/>
                  <a:pt x="6119999" y="5256895"/>
                </a:cubicBezTo>
                <a:close/>
                <a:moveTo>
                  <a:pt x="3630491" y="5256895"/>
                </a:moveTo>
                <a:cubicBezTo>
                  <a:pt x="3666205" y="5256895"/>
                  <a:pt x="3695156" y="5285847"/>
                  <a:pt x="3695156" y="5321561"/>
                </a:cubicBezTo>
                <a:cubicBezTo>
                  <a:pt x="3695156" y="5357275"/>
                  <a:pt x="3666205" y="5386227"/>
                  <a:pt x="3630491" y="5386227"/>
                </a:cubicBezTo>
                <a:cubicBezTo>
                  <a:pt x="3594776" y="5386227"/>
                  <a:pt x="3565825" y="5357275"/>
                  <a:pt x="3565825" y="5321561"/>
                </a:cubicBezTo>
                <a:cubicBezTo>
                  <a:pt x="3565825" y="5285847"/>
                  <a:pt x="3594776" y="5256895"/>
                  <a:pt x="3630491" y="5256895"/>
                </a:cubicBezTo>
                <a:close/>
                <a:moveTo>
                  <a:pt x="3321260" y="5256895"/>
                </a:moveTo>
                <a:cubicBezTo>
                  <a:pt x="3356974" y="5256895"/>
                  <a:pt x="3385925" y="5285847"/>
                  <a:pt x="3385925" y="5321561"/>
                </a:cubicBezTo>
                <a:cubicBezTo>
                  <a:pt x="3385925" y="5357275"/>
                  <a:pt x="3356974" y="5386227"/>
                  <a:pt x="3321260" y="5386227"/>
                </a:cubicBezTo>
                <a:cubicBezTo>
                  <a:pt x="3285546" y="5386227"/>
                  <a:pt x="3256594" y="5357275"/>
                  <a:pt x="3256594" y="5321561"/>
                </a:cubicBezTo>
                <a:cubicBezTo>
                  <a:pt x="3256594" y="5285847"/>
                  <a:pt x="3285546" y="5256895"/>
                  <a:pt x="3321260" y="5256895"/>
                </a:cubicBezTo>
                <a:close/>
                <a:moveTo>
                  <a:pt x="10468821" y="5115980"/>
                </a:moveTo>
                <a:cubicBezTo>
                  <a:pt x="10504535" y="5115980"/>
                  <a:pt x="10533487" y="5144932"/>
                  <a:pt x="10533487" y="5180646"/>
                </a:cubicBezTo>
                <a:cubicBezTo>
                  <a:pt x="10533487" y="5216360"/>
                  <a:pt x="10504535" y="5245312"/>
                  <a:pt x="10468821" y="5245312"/>
                </a:cubicBezTo>
                <a:cubicBezTo>
                  <a:pt x="10433107" y="5245312"/>
                  <a:pt x="10404155" y="5216360"/>
                  <a:pt x="10404155" y="5180646"/>
                </a:cubicBezTo>
                <a:cubicBezTo>
                  <a:pt x="10404155" y="5144932"/>
                  <a:pt x="10433107" y="5115980"/>
                  <a:pt x="10468821" y="5115980"/>
                </a:cubicBezTo>
                <a:close/>
                <a:moveTo>
                  <a:pt x="9850358" y="5115980"/>
                </a:moveTo>
                <a:cubicBezTo>
                  <a:pt x="9886072" y="5115980"/>
                  <a:pt x="9915024" y="5144932"/>
                  <a:pt x="9915024" y="5180646"/>
                </a:cubicBezTo>
                <a:cubicBezTo>
                  <a:pt x="9915024" y="5216360"/>
                  <a:pt x="9886072" y="5245312"/>
                  <a:pt x="9850358" y="5245312"/>
                </a:cubicBezTo>
                <a:cubicBezTo>
                  <a:pt x="9814644" y="5245312"/>
                  <a:pt x="9785692" y="5216360"/>
                  <a:pt x="9785692" y="5180646"/>
                </a:cubicBezTo>
                <a:cubicBezTo>
                  <a:pt x="9785692" y="5144932"/>
                  <a:pt x="9814644" y="5115980"/>
                  <a:pt x="9850358" y="5115980"/>
                </a:cubicBezTo>
                <a:close/>
                <a:moveTo>
                  <a:pt x="9227977" y="5115980"/>
                </a:moveTo>
                <a:cubicBezTo>
                  <a:pt x="9263691" y="5115980"/>
                  <a:pt x="9292643" y="5144932"/>
                  <a:pt x="9292643" y="5180646"/>
                </a:cubicBezTo>
                <a:cubicBezTo>
                  <a:pt x="9292643" y="5216360"/>
                  <a:pt x="9263691" y="5245312"/>
                  <a:pt x="9227977" y="5245312"/>
                </a:cubicBezTo>
                <a:cubicBezTo>
                  <a:pt x="9192263" y="5245312"/>
                  <a:pt x="9163311" y="5216360"/>
                  <a:pt x="9163311" y="5180646"/>
                </a:cubicBezTo>
                <a:cubicBezTo>
                  <a:pt x="9163311" y="5144932"/>
                  <a:pt x="9192263" y="5115980"/>
                  <a:pt x="9227977" y="5115980"/>
                </a:cubicBezTo>
                <a:close/>
                <a:moveTo>
                  <a:pt x="6429231" y="5115980"/>
                </a:moveTo>
                <a:cubicBezTo>
                  <a:pt x="6464945" y="5115980"/>
                  <a:pt x="6493897" y="5144932"/>
                  <a:pt x="6493897" y="5180646"/>
                </a:cubicBezTo>
                <a:cubicBezTo>
                  <a:pt x="6493897" y="5216360"/>
                  <a:pt x="6464945" y="5245312"/>
                  <a:pt x="6429231" y="5245312"/>
                </a:cubicBezTo>
                <a:cubicBezTo>
                  <a:pt x="6393517" y="5245312"/>
                  <a:pt x="6364565" y="5216360"/>
                  <a:pt x="6364565" y="5180646"/>
                </a:cubicBezTo>
                <a:cubicBezTo>
                  <a:pt x="6364565" y="5144932"/>
                  <a:pt x="6393517" y="5115980"/>
                  <a:pt x="6429231" y="5115980"/>
                </a:cubicBezTo>
                <a:close/>
                <a:moveTo>
                  <a:pt x="6276572" y="5115980"/>
                </a:moveTo>
                <a:cubicBezTo>
                  <a:pt x="6312286" y="5115980"/>
                  <a:pt x="6341238" y="5144932"/>
                  <a:pt x="6341238" y="5180646"/>
                </a:cubicBezTo>
                <a:cubicBezTo>
                  <a:pt x="6341238" y="5216360"/>
                  <a:pt x="6312286" y="5245312"/>
                  <a:pt x="6276572" y="5245312"/>
                </a:cubicBezTo>
                <a:cubicBezTo>
                  <a:pt x="6240858" y="5245312"/>
                  <a:pt x="6211906" y="5216360"/>
                  <a:pt x="6211906" y="5180646"/>
                </a:cubicBezTo>
                <a:cubicBezTo>
                  <a:pt x="6211906" y="5144932"/>
                  <a:pt x="6240858" y="5115980"/>
                  <a:pt x="6276572" y="5115980"/>
                </a:cubicBezTo>
                <a:close/>
                <a:moveTo>
                  <a:pt x="5967339" y="5115980"/>
                </a:moveTo>
                <a:cubicBezTo>
                  <a:pt x="6003053" y="5115980"/>
                  <a:pt x="6032005" y="5144932"/>
                  <a:pt x="6032005" y="5180646"/>
                </a:cubicBezTo>
                <a:cubicBezTo>
                  <a:pt x="6032005" y="5216360"/>
                  <a:pt x="6003053" y="5245312"/>
                  <a:pt x="5967339" y="5245312"/>
                </a:cubicBezTo>
                <a:cubicBezTo>
                  <a:pt x="5931625" y="5245312"/>
                  <a:pt x="5902673" y="5216360"/>
                  <a:pt x="5902673" y="5180646"/>
                </a:cubicBezTo>
                <a:cubicBezTo>
                  <a:pt x="5902673" y="5144932"/>
                  <a:pt x="5931625" y="5115980"/>
                  <a:pt x="5967339" y="5115980"/>
                </a:cubicBezTo>
                <a:close/>
                <a:moveTo>
                  <a:pt x="3790979" y="5115980"/>
                </a:moveTo>
                <a:cubicBezTo>
                  <a:pt x="3826693" y="5115980"/>
                  <a:pt x="3855646" y="5144932"/>
                  <a:pt x="3855646" y="5180646"/>
                </a:cubicBezTo>
                <a:cubicBezTo>
                  <a:pt x="3855646" y="5216360"/>
                  <a:pt x="3826693" y="5245312"/>
                  <a:pt x="3790979" y="5245312"/>
                </a:cubicBezTo>
                <a:cubicBezTo>
                  <a:pt x="3755264" y="5245312"/>
                  <a:pt x="3726312" y="5216360"/>
                  <a:pt x="3726312" y="5180646"/>
                </a:cubicBezTo>
                <a:cubicBezTo>
                  <a:pt x="3726312" y="5144932"/>
                  <a:pt x="3755264" y="5115980"/>
                  <a:pt x="3790979" y="5115980"/>
                </a:cubicBezTo>
                <a:close/>
                <a:moveTo>
                  <a:pt x="3481748" y="5115980"/>
                </a:moveTo>
                <a:cubicBezTo>
                  <a:pt x="3517461" y="5115980"/>
                  <a:pt x="3546415" y="5144932"/>
                  <a:pt x="3546415" y="5180646"/>
                </a:cubicBezTo>
                <a:cubicBezTo>
                  <a:pt x="3546415" y="5216360"/>
                  <a:pt x="3517461" y="5245312"/>
                  <a:pt x="3481748" y="5245312"/>
                </a:cubicBezTo>
                <a:cubicBezTo>
                  <a:pt x="3446034" y="5245312"/>
                  <a:pt x="3417082" y="5216360"/>
                  <a:pt x="3417082" y="5180646"/>
                </a:cubicBezTo>
                <a:cubicBezTo>
                  <a:pt x="3417082" y="5144932"/>
                  <a:pt x="3446034" y="5115980"/>
                  <a:pt x="3481748" y="5115980"/>
                </a:cubicBezTo>
                <a:close/>
                <a:moveTo>
                  <a:pt x="3172518" y="5115980"/>
                </a:moveTo>
                <a:cubicBezTo>
                  <a:pt x="3208232" y="5115980"/>
                  <a:pt x="3237185" y="5144932"/>
                  <a:pt x="3237185" y="5180646"/>
                </a:cubicBezTo>
                <a:cubicBezTo>
                  <a:pt x="3237185" y="5216360"/>
                  <a:pt x="3208232" y="5245312"/>
                  <a:pt x="3172518" y="5245312"/>
                </a:cubicBezTo>
                <a:cubicBezTo>
                  <a:pt x="3136803" y="5245312"/>
                  <a:pt x="3107851" y="5216360"/>
                  <a:pt x="3107851" y="5180646"/>
                </a:cubicBezTo>
                <a:cubicBezTo>
                  <a:pt x="3107851" y="5144932"/>
                  <a:pt x="3136803" y="5115980"/>
                  <a:pt x="3172518" y="5115980"/>
                </a:cubicBezTo>
                <a:close/>
                <a:moveTo>
                  <a:pt x="10312248" y="5115979"/>
                </a:moveTo>
                <a:cubicBezTo>
                  <a:pt x="10347962" y="5115979"/>
                  <a:pt x="10376914" y="5144931"/>
                  <a:pt x="10376914" y="5180645"/>
                </a:cubicBezTo>
                <a:cubicBezTo>
                  <a:pt x="10376914" y="5216359"/>
                  <a:pt x="10347962" y="5245311"/>
                  <a:pt x="10312248" y="5245311"/>
                </a:cubicBezTo>
                <a:cubicBezTo>
                  <a:pt x="10276534" y="5245311"/>
                  <a:pt x="10247582" y="5216359"/>
                  <a:pt x="10247582" y="5180645"/>
                </a:cubicBezTo>
                <a:cubicBezTo>
                  <a:pt x="10247582" y="5144931"/>
                  <a:pt x="10276534" y="5115979"/>
                  <a:pt x="10312248" y="5115979"/>
                </a:cubicBezTo>
                <a:close/>
                <a:moveTo>
                  <a:pt x="10159588" y="5115979"/>
                </a:moveTo>
                <a:cubicBezTo>
                  <a:pt x="10195302" y="5115979"/>
                  <a:pt x="10224254" y="5144931"/>
                  <a:pt x="10224254" y="5180645"/>
                </a:cubicBezTo>
                <a:cubicBezTo>
                  <a:pt x="10224254" y="5216359"/>
                  <a:pt x="10195302" y="5245311"/>
                  <a:pt x="10159588" y="5245311"/>
                </a:cubicBezTo>
                <a:cubicBezTo>
                  <a:pt x="10123874" y="5245311"/>
                  <a:pt x="10094922" y="5216359"/>
                  <a:pt x="10094922" y="5180645"/>
                </a:cubicBezTo>
                <a:cubicBezTo>
                  <a:pt x="10094922" y="5144931"/>
                  <a:pt x="10123874" y="5115979"/>
                  <a:pt x="10159588" y="5115979"/>
                </a:cubicBezTo>
                <a:close/>
                <a:moveTo>
                  <a:pt x="10003016" y="5115979"/>
                </a:moveTo>
                <a:cubicBezTo>
                  <a:pt x="10038730" y="5115979"/>
                  <a:pt x="10067682" y="5144931"/>
                  <a:pt x="10067682" y="5180645"/>
                </a:cubicBezTo>
                <a:cubicBezTo>
                  <a:pt x="10067682" y="5216359"/>
                  <a:pt x="10038730" y="5245311"/>
                  <a:pt x="10003016" y="5245311"/>
                </a:cubicBezTo>
                <a:cubicBezTo>
                  <a:pt x="9967302" y="5245311"/>
                  <a:pt x="9938350" y="5216359"/>
                  <a:pt x="9938350" y="5180645"/>
                </a:cubicBezTo>
                <a:cubicBezTo>
                  <a:pt x="9938350" y="5144931"/>
                  <a:pt x="9967302" y="5115979"/>
                  <a:pt x="10003016" y="5115979"/>
                </a:cubicBezTo>
                <a:close/>
                <a:moveTo>
                  <a:pt x="9693783" y="5115979"/>
                </a:moveTo>
                <a:cubicBezTo>
                  <a:pt x="9729497" y="5115979"/>
                  <a:pt x="9758449" y="5144931"/>
                  <a:pt x="9758449" y="5180645"/>
                </a:cubicBezTo>
                <a:cubicBezTo>
                  <a:pt x="9758449" y="5216359"/>
                  <a:pt x="9729497" y="5245311"/>
                  <a:pt x="9693783" y="5245311"/>
                </a:cubicBezTo>
                <a:cubicBezTo>
                  <a:pt x="9658069" y="5245311"/>
                  <a:pt x="9629117" y="5216359"/>
                  <a:pt x="9629117" y="5180645"/>
                </a:cubicBezTo>
                <a:cubicBezTo>
                  <a:pt x="9629117" y="5144931"/>
                  <a:pt x="9658069" y="5115979"/>
                  <a:pt x="9693783" y="5115979"/>
                </a:cubicBezTo>
                <a:close/>
                <a:moveTo>
                  <a:pt x="9541125" y="5115979"/>
                </a:moveTo>
                <a:cubicBezTo>
                  <a:pt x="9576839" y="5115979"/>
                  <a:pt x="9605791" y="5144931"/>
                  <a:pt x="9605791" y="5180645"/>
                </a:cubicBezTo>
                <a:cubicBezTo>
                  <a:pt x="9605791" y="5216359"/>
                  <a:pt x="9576839" y="5245311"/>
                  <a:pt x="9541125" y="5245311"/>
                </a:cubicBezTo>
                <a:cubicBezTo>
                  <a:pt x="9505411" y="5245311"/>
                  <a:pt x="9476459" y="5216359"/>
                  <a:pt x="9476459" y="5180645"/>
                </a:cubicBezTo>
                <a:cubicBezTo>
                  <a:pt x="9476459" y="5144931"/>
                  <a:pt x="9505411" y="5115979"/>
                  <a:pt x="9541125" y="5115979"/>
                </a:cubicBezTo>
                <a:close/>
                <a:moveTo>
                  <a:pt x="9384550" y="5115979"/>
                </a:moveTo>
                <a:cubicBezTo>
                  <a:pt x="9420264" y="5115979"/>
                  <a:pt x="9449216" y="5144931"/>
                  <a:pt x="9449216" y="5180645"/>
                </a:cubicBezTo>
                <a:cubicBezTo>
                  <a:pt x="9449216" y="5216359"/>
                  <a:pt x="9420264" y="5245311"/>
                  <a:pt x="9384550" y="5245311"/>
                </a:cubicBezTo>
                <a:cubicBezTo>
                  <a:pt x="9348836" y="5245311"/>
                  <a:pt x="9319884" y="5216359"/>
                  <a:pt x="9319884" y="5180645"/>
                </a:cubicBezTo>
                <a:cubicBezTo>
                  <a:pt x="9319884" y="5144931"/>
                  <a:pt x="9348836" y="5115979"/>
                  <a:pt x="9384550" y="5115979"/>
                </a:cubicBezTo>
                <a:close/>
                <a:moveTo>
                  <a:pt x="6119999" y="5115979"/>
                </a:moveTo>
                <a:cubicBezTo>
                  <a:pt x="6155713" y="5115979"/>
                  <a:pt x="6184665" y="5144931"/>
                  <a:pt x="6184665" y="5180645"/>
                </a:cubicBezTo>
                <a:cubicBezTo>
                  <a:pt x="6184665" y="5216359"/>
                  <a:pt x="6155713" y="5245311"/>
                  <a:pt x="6119999" y="5245311"/>
                </a:cubicBezTo>
                <a:cubicBezTo>
                  <a:pt x="6084285" y="5245311"/>
                  <a:pt x="6055333" y="5216359"/>
                  <a:pt x="6055333" y="5180645"/>
                </a:cubicBezTo>
                <a:cubicBezTo>
                  <a:pt x="6055333" y="5144931"/>
                  <a:pt x="6084285" y="5115979"/>
                  <a:pt x="6119999" y="5115979"/>
                </a:cubicBezTo>
                <a:close/>
                <a:moveTo>
                  <a:pt x="3630493" y="5115979"/>
                </a:moveTo>
                <a:cubicBezTo>
                  <a:pt x="3666207" y="5115979"/>
                  <a:pt x="3695158" y="5144931"/>
                  <a:pt x="3695158" y="5180645"/>
                </a:cubicBezTo>
                <a:cubicBezTo>
                  <a:pt x="3695158" y="5216359"/>
                  <a:pt x="3666207" y="5245311"/>
                  <a:pt x="3630493" y="5245311"/>
                </a:cubicBezTo>
                <a:cubicBezTo>
                  <a:pt x="3594778" y="5245311"/>
                  <a:pt x="3565827" y="5216359"/>
                  <a:pt x="3565827" y="5180645"/>
                </a:cubicBezTo>
                <a:cubicBezTo>
                  <a:pt x="3565827" y="5144931"/>
                  <a:pt x="3594778" y="5115979"/>
                  <a:pt x="3630493" y="5115979"/>
                </a:cubicBezTo>
                <a:close/>
                <a:moveTo>
                  <a:pt x="3321262" y="5115979"/>
                </a:moveTo>
                <a:cubicBezTo>
                  <a:pt x="3356978" y="5115979"/>
                  <a:pt x="3385929" y="5144931"/>
                  <a:pt x="3385929" y="5180645"/>
                </a:cubicBezTo>
                <a:cubicBezTo>
                  <a:pt x="3385929" y="5216359"/>
                  <a:pt x="3356978" y="5245311"/>
                  <a:pt x="3321262" y="5245311"/>
                </a:cubicBezTo>
                <a:cubicBezTo>
                  <a:pt x="3285549" y="5245311"/>
                  <a:pt x="3256596" y="5216359"/>
                  <a:pt x="3256596" y="5180645"/>
                </a:cubicBezTo>
                <a:cubicBezTo>
                  <a:pt x="3256596" y="5144931"/>
                  <a:pt x="3285549" y="5115979"/>
                  <a:pt x="3321262" y="5115979"/>
                </a:cubicBezTo>
                <a:close/>
                <a:moveTo>
                  <a:pt x="10468821" y="4975063"/>
                </a:moveTo>
                <a:cubicBezTo>
                  <a:pt x="10504535" y="4975063"/>
                  <a:pt x="10533487" y="5004015"/>
                  <a:pt x="10533487" y="5039729"/>
                </a:cubicBezTo>
                <a:cubicBezTo>
                  <a:pt x="10533487" y="5075443"/>
                  <a:pt x="10504535" y="5104395"/>
                  <a:pt x="10468821" y="5104395"/>
                </a:cubicBezTo>
                <a:cubicBezTo>
                  <a:pt x="10433107" y="5104395"/>
                  <a:pt x="10404155" y="5075443"/>
                  <a:pt x="10404155" y="5039729"/>
                </a:cubicBezTo>
                <a:cubicBezTo>
                  <a:pt x="10404155" y="5004015"/>
                  <a:pt x="10433107" y="4975063"/>
                  <a:pt x="10468821" y="4975063"/>
                </a:cubicBezTo>
                <a:close/>
                <a:moveTo>
                  <a:pt x="10312248" y="4975063"/>
                </a:moveTo>
                <a:cubicBezTo>
                  <a:pt x="10347962" y="4975063"/>
                  <a:pt x="10376914" y="5004015"/>
                  <a:pt x="10376914" y="5039729"/>
                </a:cubicBezTo>
                <a:cubicBezTo>
                  <a:pt x="10376914" y="5075443"/>
                  <a:pt x="10347962" y="5104395"/>
                  <a:pt x="10312248" y="5104395"/>
                </a:cubicBezTo>
                <a:cubicBezTo>
                  <a:pt x="10276534" y="5104395"/>
                  <a:pt x="10247582" y="5075443"/>
                  <a:pt x="10247582" y="5039729"/>
                </a:cubicBezTo>
                <a:cubicBezTo>
                  <a:pt x="10247582" y="5004015"/>
                  <a:pt x="10276534" y="4975063"/>
                  <a:pt x="10312248" y="4975063"/>
                </a:cubicBezTo>
                <a:close/>
                <a:moveTo>
                  <a:pt x="10159588" y="4975063"/>
                </a:moveTo>
                <a:cubicBezTo>
                  <a:pt x="10195302" y="4975063"/>
                  <a:pt x="10224254" y="5004015"/>
                  <a:pt x="10224254" y="5039729"/>
                </a:cubicBezTo>
                <a:cubicBezTo>
                  <a:pt x="10224254" y="5075443"/>
                  <a:pt x="10195302" y="5104395"/>
                  <a:pt x="10159588" y="5104395"/>
                </a:cubicBezTo>
                <a:cubicBezTo>
                  <a:pt x="10123874" y="5104395"/>
                  <a:pt x="10094922" y="5075443"/>
                  <a:pt x="10094922" y="5039729"/>
                </a:cubicBezTo>
                <a:cubicBezTo>
                  <a:pt x="10094922" y="5004015"/>
                  <a:pt x="10123874" y="4975063"/>
                  <a:pt x="10159588" y="4975063"/>
                </a:cubicBezTo>
                <a:close/>
                <a:moveTo>
                  <a:pt x="10003016" y="4975063"/>
                </a:moveTo>
                <a:cubicBezTo>
                  <a:pt x="10038730" y="4975063"/>
                  <a:pt x="10067682" y="5004015"/>
                  <a:pt x="10067682" y="5039729"/>
                </a:cubicBezTo>
                <a:cubicBezTo>
                  <a:pt x="10067682" y="5075443"/>
                  <a:pt x="10038730" y="5104395"/>
                  <a:pt x="10003016" y="5104395"/>
                </a:cubicBezTo>
                <a:cubicBezTo>
                  <a:pt x="9967302" y="5104395"/>
                  <a:pt x="9938350" y="5075443"/>
                  <a:pt x="9938350" y="5039729"/>
                </a:cubicBezTo>
                <a:cubicBezTo>
                  <a:pt x="9938350" y="5004015"/>
                  <a:pt x="9967302" y="4975063"/>
                  <a:pt x="10003016" y="4975063"/>
                </a:cubicBezTo>
                <a:close/>
                <a:moveTo>
                  <a:pt x="9850358" y="4975063"/>
                </a:moveTo>
                <a:cubicBezTo>
                  <a:pt x="9886072" y="4975063"/>
                  <a:pt x="9915024" y="5004015"/>
                  <a:pt x="9915024" y="5039729"/>
                </a:cubicBezTo>
                <a:cubicBezTo>
                  <a:pt x="9915024" y="5075443"/>
                  <a:pt x="9886072" y="5104395"/>
                  <a:pt x="9850358" y="5104395"/>
                </a:cubicBezTo>
                <a:cubicBezTo>
                  <a:pt x="9814644" y="5104395"/>
                  <a:pt x="9785692" y="5075443"/>
                  <a:pt x="9785692" y="5039729"/>
                </a:cubicBezTo>
                <a:cubicBezTo>
                  <a:pt x="9785692" y="5004015"/>
                  <a:pt x="9814644" y="4975063"/>
                  <a:pt x="9850358" y="4975063"/>
                </a:cubicBezTo>
                <a:close/>
                <a:moveTo>
                  <a:pt x="9693783" y="4975063"/>
                </a:moveTo>
                <a:cubicBezTo>
                  <a:pt x="9729497" y="4975063"/>
                  <a:pt x="9758449" y="5004015"/>
                  <a:pt x="9758449" y="5039729"/>
                </a:cubicBezTo>
                <a:cubicBezTo>
                  <a:pt x="9758449" y="5075443"/>
                  <a:pt x="9729497" y="5104395"/>
                  <a:pt x="9693783" y="5104395"/>
                </a:cubicBezTo>
                <a:cubicBezTo>
                  <a:pt x="9658069" y="5104395"/>
                  <a:pt x="9629117" y="5075443"/>
                  <a:pt x="9629117" y="5039729"/>
                </a:cubicBezTo>
                <a:cubicBezTo>
                  <a:pt x="9629117" y="5004015"/>
                  <a:pt x="9658069" y="4975063"/>
                  <a:pt x="9693783" y="4975063"/>
                </a:cubicBezTo>
                <a:close/>
                <a:moveTo>
                  <a:pt x="9541125" y="4975063"/>
                </a:moveTo>
                <a:cubicBezTo>
                  <a:pt x="9576839" y="4975063"/>
                  <a:pt x="9605791" y="5004015"/>
                  <a:pt x="9605791" y="5039729"/>
                </a:cubicBezTo>
                <a:cubicBezTo>
                  <a:pt x="9605791" y="5075443"/>
                  <a:pt x="9576839" y="5104395"/>
                  <a:pt x="9541125" y="5104395"/>
                </a:cubicBezTo>
                <a:cubicBezTo>
                  <a:pt x="9505411" y="5104395"/>
                  <a:pt x="9476459" y="5075443"/>
                  <a:pt x="9476459" y="5039729"/>
                </a:cubicBezTo>
                <a:cubicBezTo>
                  <a:pt x="9476459" y="5004015"/>
                  <a:pt x="9505411" y="4975063"/>
                  <a:pt x="9541125" y="4975063"/>
                </a:cubicBezTo>
                <a:close/>
                <a:moveTo>
                  <a:pt x="9384550" y="4975063"/>
                </a:moveTo>
                <a:cubicBezTo>
                  <a:pt x="9420264" y="4975063"/>
                  <a:pt x="9449216" y="5004015"/>
                  <a:pt x="9449216" y="5039729"/>
                </a:cubicBezTo>
                <a:cubicBezTo>
                  <a:pt x="9449216" y="5075443"/>
                  <a:pt x="9420264" y="5104395"/>
                  <a:pt x="9384550" y="5104395"/>
                </a:cubicBezTo>
                <a:cubicBezTo>
                  <a:pt x="9348836" y="5104395"/>
                  <a:pt x="9319884" y="5075443"/>
                  <a:pt x="9319884" y="5039729"/>
                </a:cubicBezTo>
                <a:cubicBezTo>
                  <a:pt x="9319884" y="5004015"/>
                  <a:pt x="9348836" y="4975063"/>
                  <a:pt x="9384550" y="4975063"/>
                </a:cubicBezTo>
                <a:close/>
                <a:moveTo>
                  <a:pt x="9227977" y="4975063"/>
                </a:moveTo>
                <a:cubicBezTo>
                  <a:pt x="9263691" y="4975063"/>
                  <a:pt x="9292643" y="5004015"/>
                  <a:pt x="9292643" y="5039729"/>
                </a:cubicBezTo>
                <a:cubicBezTo>
                  <a:pt x="9292643" y="5075443"/>
                  <a:pt x="9263691" y="5104395"/>
                  <a:pt x="9227977" y="5104395"/>
                </a:cubicBezTo>
                <a:cubicBezTo>
                  <a:pt x="9192263" y="5104395"/>
                  <a:pt x="9163311" y="5075443"/>
                  <a:pt x="9163311" y="5039729"/>
                </a:cubicBezTo>
                <a:cubicBezTo>
                  <a:pt x="9163311" y="5004015"/>
                  <a:pt x="9192263" y="4975063"/>
                  <a:pt x="9227977" y="4975063"/>
                </a:cubicBezTo>
                <a:close/>
                <a:moveTo>
                  <a:pt x="7055523" y="4975063"/>
                </a:moveTo>
                <a:cubicBezTo>
                  <a:pt x="7091237" y="4975063"/>
                  <a:pt x="7120189" y="5004015"/>
                  <a:pt x="7120189" y="5039729"/>
                </a:cubicBezTo>
                <a:cubicBezTo>
                  <a:pt x="7120189" y="5075443"/>
                  <a:pt x="7091237" y="5104395"/>
                  <a:pt x="7055523" y="5104395"/>
                </a:cubicBezTo>
                <a:cubicBezTo>
                  <a:pt x="7019809" y="5104395"/>
                  <a:pt x="6990857" y="5075443"/>
                  <a:pt x="6990857" y="5039729"/>
                </a:cubicBezTo>
                <a:cubicBezTo>
                  <a:pt x="6990857" y="5004015"/>
                  <a:pt x="7019809" y="4975063"/>
                  <a:pt x="7055523" y="4975063"/>
                </a:cubicBezTo>
                <a:close/>
                <a:moveTo>
                  <a:pt x="6585804" y="4975063"/>
                </a:moveTo>
                <a:cubicBezTo>
                  <a:pt x="6621518" y="4975063"/>
                  <a:pt x="6650470" y="5004015"/>
                  <a:pt x="6650470" y="5039729"/>
                </a:cubicBezTo>
                <a:cubicBezTo>
                  <a:pt x="6650470" y="5075443"/>
                  <a:pt x="6621518" y="5104395"/>
                  <a:pt x="6585804" y="5104395"/>
                </a:cubicBezTo>
                <a:cubicBezTo>
                  <a:pt x="6550090" y="5104395"/>
                  <a:pt x="6521138" y="5075443"/>
                  <a:pt x="6521138" y="5039729"/>
                </a:cubicBezTo>
                <a:cubicBezTo>
                  <a:pt x="6521138" y="5004015"/>
                  <a:pt x="6550090" y="4975063"/>
                  <a:pt x="6585804" y="4975063"/>
                </a:cubicBezTo>
                <a:close/>
                <a:moveTo>
                  <a:pt x="6429231" y="4975063"/>
                </a:moveTo>
                <a:cubicBezTo>
                  <a:pt x="6464945" y="4975063"/>
                  <a:pt x="6493897" y="5004015"/>
                  <a:pt x="6493897" y="5039729"/>
                </a:cubicBezTo>
                <a:cubicBezTo>
                  <a:pt x="6493897" y="5075443"/>
                  <a:pt x="6464945" y="5104395"/>
                  <a:pt x="6429231" y="5104395"/>
                </a:cubicBezTo>
                <a:cubicBezTo>
                  <a:pt x="6393517" y="5104395"/>
                  <a:pt x="6364565" y="5075443"/>
                  <a:pt x="6364565" y="5039729"/>
                </a:cubicBezTo>
                <a:cubicBezTo>
                  <a:pt x="6364565" y="5004015"/>
                  <a:pt x="6393517" y="4975063"/>
                  <a:pt x="6429231" y="4975063"/>
                </a:cubicBezTo>
                <a:close/>
                <a:moveTo>
                  <a:pt x="6276572" y="4975063"/>
                </a:moveTo>
                <a:cubicBezTo>
                  <a:pt x="6312286" y="4975063"/>
                  <a:pt x="6341238" y="5004015"/>
                  <a:pt x="6341238" y="5039729"/>
                </a:cubicBezTo>
                <a:cubicBezTo>
                  <a:pt x="6341238" y="5075443"/>
                  <a:pt x="6312286" y="5104395"/>
                  <a:pt x="6276572" y="5104395"/>
                </a:cubicBezTo>
                <a:cubicBezTo>
                  <a:pt x="6240858" y="5104395"/>
                  <a:pt x="6211906" y="5075443"/>
                  <a:pt x="6211906" y="5039729"/>
                </a:cubicBezTo>
                <a:cubicBezTo>
                  <a:pt x="6211906" y="5004015"/>
                  <a:pt x="6240858" y="4975063"/>
                  <a:pt x="6276572" y="4975063"/>
                </a:cubicBezTo>
                <a:close/>
                <a:moveTo>
                  <a:pt x="6119999" y="4975063"/>
                </a:moveTo>
                <a:cubicBezTo>
                  <a:pt x="6155713" y="4975063"/>
                  <a:pt x="6184665" y="5004015"/>
                  <a:pt x="6184665" y="5039729"/>
                </a:cubicBezTo>
                <a:cubicBezTo>
                  <a:pt x="6184665" y="5075443"/>
                  <a:pt x="6155713" y="5104395"/>
                  <a:pt x="6119999" y="5104395"/>
                </a:cubicBezTo>
                <a:cubicBezTo>
                  <a:pt x="6084285" y="5104395"/>
                  <a:pt x="6055333" y="5075443"/>
                  <a:pt x="6055333" y="5039729"/>
                </a:cubicBezTo>
                <a:cubicBezTo>
                  <a:pt x="6055333" y="5004015"/>
                  <a:pt x="6084285" y="4975063"/>
                  <a:pt x="6119999" y="4975063"/>
                </a:cubicBezTo>
                <a:close/>
                <a:moveTo>
                  <a:pt x="5967339" y="4975063"/>
                </a:moveTo>
                <a:cubicBezTo>
                  <a:pt x="6003053" y="4975063"/>
                  <a:pt x="6032005" y="5004015"/>
                  <a:pt x="6032005" y="5039729"/>
                </a:cubicBezTo>
                <a:cubicBezTo>
                  <a:pt x="6032005" y="5075443"/>
                  <a:pt x="6003053" y="5104395"/>
                  <a:pt x="5967339" y="5104395"/>
                </a:cubicBezTo>
                <a:cubicBezTo>
                  <a:pt x="5931625" y="5104395"/>
                  <a:pt x="5902673" y="5075443"/>
                  <a:pt x="5902673" y="5039729"/>
                </a:cubicBezTo>
                <a:cubicBezTo>
                  <a:pt x="5902673" y="5004015"/>
                  <a:pt x="5931625" y="4975063"/>
                  <a:pt x="5967339" y="4975063"/>
                </a:cubicBezTo>
                <a:close/>
                <a:moveTo>
                  <a:pt x="3947550" y="4975063"/>
                </a:moveTo>
                <a:cubicBezTo>
                  <a:pt x="3983262" y="4975063"/>
                  <a:pt x="4012217" y="5004015"/>
                  <a:pt x="4012217" y="5039729"/>
                </a:cubicBezTo>
                <a:cubicBezTo>
                  <a:pt x="4012217" y="5075443"/>
                  <a:pt x="3983262" y="5104395"/>
                  <a:pt x="3947550" y="5104395"/>
                </a:cubicBezTo>
                <a:cubicBezTo>
                  <a:pt x="3911844" y="5104395"/>
                  <a:pt x="3882891" y="5075443"/>
                  <a:pt x="3882891" y="5039729"/>
                </a:cubicBezTo>
                <a:cubicBezTo>
                  <a:pt x="3882891" y="5004015"/>
                  <a:pt x="3911844" y="4975063"/>
                  <a:pt x="3947550" y="4975063"/>
                </a:cubicBezTo>
                <a:close/>
                <a:moveTo>
                  <a:pt x="3790982" y="4975063"/>
                </a:moveTo>
                <a:cubicBezTo>
                  <a:pt x="3826696" y="4975063"/>
                  <a:pt x="3855648" y="5004015"/>
                  <a:pt x="3855648" y="5039729"/>
                </a:cubicBezTo>
                <a:cubicBezTo>
                  <a:pt x="3855648" y="5075443"/>
                  <a:pt x="3826696" y="5104395"/>
                  <a:pt x="3790982" y="5104395"/>
                </a:cubicBezTo>
                <a:cubicBezTo>
                  <a:pt x="3755268" y="5104395"/>
                  <a:pt x="3726315" y="5075443"/>
                  <a:pt x="3726315" y="5039729"/>
                </a:cubicBezTo>
                <a:cubicBezTo>
                  <a:pt x="3726315" y="5004015"/>
                  <a:pt x="3755268" y="4975063"/>
                  <a:pt x="3790982" y="4975063"/>
                </a:cubicBezTo>
                <a:close/>
                <a:moveTo>
                  <a:pt x="3630497" y="4975063"/>
                </a:moveTo>
                <a:cubicBezTo>
                  <a:pt x="3666211" y="4975063"/>
                  <a:pt x="3695163" y="5004015"/>
                  <a:pt x="3695163" y="5039729"/>
                </a:cubicBezTo>
                <a:cubicBezTo>
                  <a:pt x="3695163" y="5075443"/>
                  <a:pt x="3666211" y="5104395"/>
                  <a:pt x="3630497" y="5104395"/>
                </a:cubicBezTo>
                <a:cubicBezTo>
                  <a:pt x="3594783" y="5104395"/>
                  <a:pt x="3565829" y="5075443"/>
                  <a:pt x="3565829" y="5039729"/>
                </a:cubicBezTo>
                <a:cubicBezTo>
                  <a:pt x="3565829" y="5004015"/>
                  <a:pt x="3594783" y="4975063"/>
                  <a:pt x="3630497" y="4975063"/>
                </a:cubicBezTo>
                <a:close/>
                <a:moveTo>
                  <a:pt x="3481751" y="4975063"/>
                </a:moveTo>
                <a:cubicBezTo>
                  <a:pt x="3517466" y="4975063"/>
                  <a:pt x="3546417" y="5004015"/>
                  <a:pt x="3546417" y="5039729"/>
                </a:cubicBezTo>
                <a:cubicBezTo>
                  <a:pt x="3546417" y="5075443"/>
                  <a:pt x="3517466" y="5104395"/>
                  <a:pt x="3481751" y="5104395"/>
                </a:cubicBezTo>
                <a:cubicBezTo>
                  <a:pt x="3446039" y="5104395"/>
                  <a:pt x="3417085" y="5075443"/>
                  <a:pt x="3417085" y="5039729"/>
                </a:cubicBezTo>
                <a:cubicBezTo>
                  <a:pt x="3417085" y="5004015"/>
                  <a:pt x="3446039" y="4975063"/>
                  <a:pt x="3481751" y="4975063"/>
                </a:cubicBezTo>
                <a:close/>
                <a:moveTo>
                  <a:pt x="3321267" y="4975063"/>
                </a:moveTo>
                <a:cubicBezTo>
                  <a:pt x="3356981" y="4975063"/>
                  <a:pt x="3385932" y="5004015"/>
                  <a:pt x="3385932" y="5039729"/>
                </a:cubicBezTo>
                <a:cubicBezTo>
                  <a:pt x="3385932" y="5075443"/>
                  <a:pt x="3356981" y="5104395"/>
                  <a:pt x="3321267" y="5104395"/>
                </a:cubicBezTo>
                <a:cubicBezTo>
                  <a:pt x="3285552" y="5104395"/>
                  <a:pt x="3256602" y="5075443"/>
                  <a:pt x="3256602" y="5039729"/>
                </a:cubicBezTo>
                <a:cubicBezTo>
                  <a:pt x="3256602" y="5004015"/>
                  <a:pt x="3285552" y="4975063"/>
                  <a:pt x="3321267" y="4975063"/>
                </a:cubicBezTo>
                <a:close/>
                <a:moveTo>
                  <a:pt x="3172521" y="4975063"/>
                </a:moveTo>
                <a:cubicBezTo>
                  <a:pt x="3208235" y="4975063"/>
                  <a:pt x="3237188" y="5004015"/>
                  <a:pt x="3237188" y="5039729"/>
                </a:cubicBezTo>
                <a:cubicBezTo>
                  <a:pt x="3237188" y="5075443"/>
                  <a:pt x="3208235" y="5104395"/>
                  <a:pt x="3172521" y="5104395"/>
                </a:cubicBezTo>
                <a:cubicBezTo>
                  <a:pt x="3136806" y="5104395"/>
                  <a:pt x="3107854" y="5075443"/>
                  <a:pt x="3107854" y="5039729"/>
                </a:cubicBezTo>
                <a:cubicBezTo>
                  <a:pt x="3107854" y="5004015"/>
                  <a:pt x="3136806" y="4975063"/>
                  <a:pt x="3172521" y="4975063"/>
                </a:cubicBezTo>
                <a:close/>
                <a:moveTo>
                  <a:pt x="9850358" y="4830235"/>
                </a:moveTo>
                <a:cubicBezTo>
                  <a:pt x="9886072" y="4830235"/>
                  <a:pt x="9915024" y="4859187"/>
                  <a:pt x="9915024" y="4894901"/>
                </a:cubicBezTo>
                <a:cubicBezTo>
                  <a:pt x="9915024" y="4930615"/>
                  <a:pt x="9886072" y="4959567"/>
                  <a:pt x="9850358" y="4959567"/>
                </a:cubicBezTo>
                <a:cubicBezTo>
                  <a:pt x="9814644" y="4959567"/>
                  <a:pt x="9785692" y="4930615"/>
                  <a:pt x="9785692" y="4894901"/>
                </a:cubicBezTo>
                <a:cubicBezTo>
                  <a:pt x="9785692" y="4859187"/>
                  <a:pt x="9814644" y="4830235"/>
                  <a:pt x="9850358" y="4830235"/>
                </a:cubicBezTo>
                <a:close/>
                <a:moveTo>
                  <a:pt x="6429231" y="4830235"/>
                </a:moveTo>
                <a:cubicBezTo>
                  <a:pt x="6464945" y="4830235"/>
                  <a:pt x="6493897" y="4859187"/>
                  <a:pt x="6493897" y="4894901"/>
                </a:cubicBezTo>
                <a:cubicBezTo>
                  <a:pt x="6493897" y="4930615"/>
                  <a:pt x="6464945" y="4959567"/>
                  <a:pt x="6429231" y="4959567"/>
                </a:cubicBezTo>
                <a:cubicBezTo>
                  <a:pt x="6393517" y="4959567"/>
                  <a:pt x="6364565" y="4930615"/>
                  <a:pt x="6364565" y="4894901"/>
                </a:cubicBezTo>
                <a:cubicBezTo>
                  <a:pt x="6364565" y="4859187"/>
                  <a:pt x="6393517" y="4830235"/>
                  <a:pt x="6429231" y="4830235"/>
                </a:cubicBezTo>
                <a:close/>
                <a:moveTo>
                  <a:pt x="6276571" y="4830235"/>
                </a:moveTo>
                <a:cubicBezTo>
                  <a:pt x="6312285" y="4830235"/>
                  <a:pt x="6341237" y="4859187"/>
                  <a:pt x="6341237" y="4894901"/>
                </a:cubicBezTo>
                <a:cubicBezTo>
                  <a:pt x="6341237" y="4930615"/>
                  <a:pt x="6312285" y="4959567"/>
                  <a:pt x="6276571" y="4959567"/>
                </a:cubicBezTo>
                <a:cubicBezTo>
                  <a:pt x="6240857" y="4959567"/>
                  <a:pt x="6211905" y="4930615"/>
                  <a:pt x="6211905" y="4894901"/>
                </a:cubicBezTo>
                <a:cubicBezTo>
                  <a:pt x="6211905" y="4859187"/>
                  <a:pt x="6240857" y="4830235"/>
                  <a:pt x="6276571" y="4830235"/>
                </a:cubicBezTo>
                <a:close/>
                <a:moveTo>
                  <a:pt x="5967339" y="4830235"/>
                </a:moveTo>
                <a:cubicBezTo>
                  <a:pt x="6003053" y="4830235"/>
                  <a:pt x="6032005" y="4859187"/>
                  <a:pt x="6032005" y="4894901"/>
                </a:cubicBezTo>
                <a:cubicBezTo>
                  <a:pt x="6032005" y="4930615"/>
                  <a:pt x="6003053" y="4959567"/>
                  <a:pt x="5967339" y="4959567"/>
                </a:cubicBezTo>
                <a:cubicBezTo>
                  <a:pt x="5931625" y="4959567"/>
                  <a:pt x="5902673" y="4930615"/>
                  <a:pt x="5902673" y="4894901"/>
                </a:cubicBezTo>
                <a:cubicBezTo>
                  <a:pt x="5902673" y="4859187"/>
                  <a:pt x="5931625" y="4830235"/>
                  <a:pt x="5967339" y="4830235"/>
                </a:cubicBezTo>
                <a:close/>
                <a:moveTo>
                  <a:pt x="3947550" y="4830235"/>
                </a:moveTo>
                <a:cubicBezTo>
                  <a:pt x="3983262" y="4830235"/>
                  <a:pt x="4012217" y="4859187"/>
                  <a:pt x="4012217" y="4894901"/>
                </a:cubicBezTo>
                <a:cubicBezTo>
                  <a:pt x="4012217" y="4930615"/>
                  <a:pt x="3983262" y="4959567"/>
                  <a:pt x="3947550" y="4959567"/>
                </a:cubicBezTo>
                <a:cubicBezTo>
                  <a:pt x="3911847" y="4959567"/>
                  <a:pt x="3882895" y="4930615"/>
                  <a:pt x="3882895" y="4894901"/>
                </a:cubicBezTo>
                <a:cubicBezTo>
                  <a:pt x="3882895" y="4859187"/>
                  <a:pt x="3911847" y="4830235"/>
                  <a:pt x="3947550" y="4830235"/>
                </a:cubicBezTo>
                <a:close/>
                <a:moveTo>
                  <a:pt x="3790985" y="4830235"/>
                </a:moveTo>
                <a:cubicBezTo>
                  <a:pt x="3826700" y="4830235"/>
                  <a:pt x="3855652" y="4859187"/>
                  <a:pt x="3855652" y="4894901"/>
                </a:cubicBezTo>
                <a:cubicBezTo>
                  <a:pt x="3855652" y="4930615"/>
                  <a:pt x="3826700" y="4959567"/>
                  <a:pt x="3790985" y="4959567"/>
                </a:cubicBezTo>
                <a:cubicBezTo>
                  <a:pt x="3755271" y="4959567"/>
                  <a:pt x="3726319" y="4930615"/>
                  <a:pt x="3726319" y="4894901"/>
                </a:cubicBezTo>
                <a:cubicBezTo>
                  <a:pt x="3726319" y="4859187"/>
                  <a:pt x="3755271" y="4830235"/>
                  <a:pt x="3790985" y="4830235"/>
                </a:cubicBezTo>
                <a:close/>
                <a:moveTo>
                  <a:pt x="3481754" y="4830235"/>
                </a:moveTo>
                <a:cubicBezTo>
                  <a:pt x="3517468" y="4830235"/>
                  <a:pt x="3546420" y="4859187"/>
                  <a:pt x="3546420" y="4894901"/>
                </a:cubicBezTo>
                <a:cubicBezTo>
                  <a:pt x="3546420" y="4930615"/>
                  <a:pt x="3517468" y="4959567"/>
                  <a:pt x="3481754" y="4959567"/>
                </a:cubicBezTo>
                <a:cubicBezTo>
                  <a:pt x="3446041" y="4959567"/>
                  <a:pt x="3417090" y="4930615"/>
                  <a:pt x="3417090" y="4894901"/>
                </a:cubicBezTo>
                <a:cubicBezTo>
                  <a:pt x="3417090" y="4859187"/>
                  <a:pt x="3446041" y="4830235"/>
                  <a:pt x="3481754" y="4830235"/>
                </a:cubicBezTo>
                <a:close/>
                <a:moveTo>
                  <a:pt x="10312248" y="4830234"/>
                </a:moveTo>
                <a:cubicBezTo>
                  <a:pt x="10347962" y="4830234"/>
                  <a:pt x="10376914" y="4859186"/>
                  <a:pt x="10376914" y="4894900"/>
                </a:cubicBezTo>
                <a:cubicBezTo>
                  <a:pt x="10376914" y="4930614"/>
                  <a:pt x="10347962" y="4959566"/>
                  <a:pt x="10312248" y="4959566"/>
                </a:cubicBezTo>
                <a:cubicBezTo>
                  <a:pt x="10276534" y="4959566"/>
                  <a:pt x="10247582" y="4930614"/>
                  <a:pt x="10247582" y="4894900"/>
                </a:cubicBezTo>
                <a:cubicBezTo>
                  <a:pt x="10247582" y="4859186"/>
                  <a:pt x="10276534" y="4830234"/>
                  <a:pt x="10312248" y="4830234"/>
                </a:cubicBezTo>
                <a:close/>
                <a:moveTo>
                  <a:pt x="10159588" y="4830234"/>
                </a:moveTo>
                <a:cubicBezTo>
                  <a:pt x="10195302" y="4830234"/>
                  <a:pt x="10224254" y="4859186"/>
                  <a:pt x="10224254" y="4894900"/>
                </a:cubicBezTo>
                <a:cubicBezTo>
                  <a:pt x="10224254" y="4930614"/>
                  <a:pt x="10195302" y="4959566"/>
                  <a:pt x="10159588" y="4959566"/>
                </a:cubicBezTo>
                <a:cubicBezTo>
                  <a:pt x="10123874" y="4959566"/>
                  <a:pt x="10094922" y="4930614"/>
                  <a:pt x="10094922" y="4894900"/>
                </a:cubicBezTo>
                <a:cubicBezTo>
                  <a:pt x="10094922" y="4859186"/>
                  <a:pt x="10123874" y="4830234"/>
                  <a:pt x="10159588" y="4830234"/>
                </a:cubicBezTo>
                <a:close/>
                <a:moveTo>
                  <a:pt x="10003016" y="4830234"/>
                </a:moveTo>
                <a:cubicBezTo>
                  <a:pt x="10038730" y="4830234"/>
                  <a:pt x="10067682" y="4859186"/>
                  <a:pt x="10067682" y="4894900"/>
                </a:cubicBezTo>
                <a:cubicBezTo>
                  <a:pt x="10067682" y="4930614"/>
                  <a:pt x="10038730" y="4959566"/>
                  <a:pt x="10003016" y="4959566"/>
                </a:cubicBezTo>
                <a:cubicBezTo>
                  <a:pt x="9967302" y="4959566"/>
                  <a:pt x="9938350" y="4930614"/>
                  <a:pt x="9938350" y="4894900"/>
                </a:cubicBezTo>
                <a:cubicBezTo>
                  <a:pt x="9938350" y="4859186"/>
                  <a:pt x="9967302" y="4830234"/>
                  <a:pt x="10003016" y="4830234"/>
                </a:cubicBezTo>
                <a:close/>
                <a:moveTo>
                  <a:pt x="9693783" y="4830234"/>
                </a:moveTo>
                <a:cubicBezTo>
                  <a:pt x="9729497" y="4830234"/>
                  <a:pt x="9758449" y="4859186"/>
                  <a:pt x="9758449" y="4894900"/>
                </a:cubicBezTo>
                <a:cubicBezTo>
                  <a:pt x="9758449" y="4930614"/>
                  <a:pt x="9729497" y="4959566"/>
                  <a:pt x="9693783" y="4959566"/>
                </a:cubicBezTo>
                <a:cubicBezTo>
                  <a:pt x="9658069" y="4959566"/>
                  <a:pt x="9629117" y="4930614"/>
                  <a:pt x="9629117" y="4894900"/>
                </a:cubicBezTo>
                <a:cubicBezTo>
                  <a:pt x="9629117" y="4859186"/>
                  <a:pt x="9658069" y="4830234"/>
                  <a:pt x="9693783" y="4830234"/>
                </a:cubicBezTo>
                <a:close/>
                <a:moveTo>
                  <a:pt x="9541123" y="4830234"/>
                </a:moveTo>
                <a:cubicBezTo>
                  <a:pt x="9576837" y="4830234"/>
                  <a:pt x="9605789" y="4859186"/>
                  <a:pt x="9605789" y="4894900"/>
                </a:cubicBezTo>
                <a:cubicBezTo>
                  <a:pt x="9605789" y="4930614"/>
                  <a:pt x="9576837" y="4959566"/>
                  <a:pt x="9541123" y="4959566"/>
                </a:cubicBezTo>
                <a:cubicBezTo>
                  <a:pt x="9505409" y="4959566"/>
                  <a:pt x="9476457" y="4930614"/>
                  <a:pt x="9476457" y="4894900"/>
                </a:cubicBezTo>
                <a:cubicBezTo>
                  <a:pt x="9476457" y="4859186"/>
                  <a:pt x="9505409" y="4830234"/>
                  <a:pt x="9541123" y="4830234"/>
                </a:cubicBezTo>
                <a:close/>
                <a:moveTo>
                  <a:pt x="9384550" y="4830234"/>
                </a:moveTo>
                <a:cubicBezTo>
                  <a:pt x="9420264" y="4830234"/>
                  <a:pt x="9449216" y="4859186"/>
                  <a:pt x="9449216" y="4894900"/>
                </a:cubicBezTo>
                <a:cubicBezTo>
                  <a:pt x="9449216" y="4930614"/>
                  <a:pt x="9420264" y="4959566"/>
                  <a:pt x="9384550" y="4959566"/>
                </a:cubicBezTo>
                <a:cubicBezTo>
                  <a:pt x="9348836" y="4959566"/>
                  <a:pt x="9319884" y="4930614"/>
                  <a:pt x="9319884" y="4894900"/>
                </a:cubicBezTo>
                <a:cubicBezTo>
                  <a:pt x="9319884" y="4859186"/>
                  <a:pt x="9348836" y="4830234"/>
                  <a:pt x="9384550" y="4830234"/>
                </a:cubicBezTo>
                <a:close/>
                <a:moveTo>
                  <a:pt x="7055523" y="4830234"/>
                </a:moveTo>
                <a:cubicBezTo>
                  <a:pt x="7091237" y="4830234"/>
                  <a:pt x="7120189" y="4859186"/>
                  <a:pt x="7120189" y="4894900"/>
                </a:cubicBezTo>
                <a:cubicBezTo>
                  <a:pt x="7120189" y="4930614"/>
                  <a:pt x="7091237" y="4959566"/>
                  <a:pt x="7055523" y="4959566"/>
                </a:cubicBezTo>
                <a:cubicBezTo>
                  <a:pt x="7019809" y="4959566"/>
                  <a:pt x="6990857" y="4930614"/>
                  <a:pt x="6990857" y="4894900"/>
                </a:cubicBezTo>
                <a:cubicBezTo>
                  <a:pt x="6990857" y="4859186"/>
                  <a:pt x="7019809" y="4830234"/>
                  <a:pt x="7055523" y="4830234"/>
                </a:cubicBezTo>
                <a:close/>
                <a:moveTo>
                  <a:pt x="6585804" y="4830234"/>
                </a:moveTo>
                <a:cubicBezTo>
                  <a:pt x="6621518" y="4830234"/>
                  <a:pt x="6650470" y="4859186"/>
                  <a:pt x="6650470" y="4894900"/>
                </a:cubicBezTo>
                <a:cubicBezTo>
                  <a:pt x="6650470" y="4930614"/>
                  <a:pt x="6621518" y="4959566"/>
                  <a:pt x="6585804" y="4959566"/>
                </a:cubicBezTo>
                <a:cubicBezTo>
                  <a:pt x="6550090" y="4959566"/>
                  <a:pt x="6521138" y="4930614"/>
                  <a:pt x="6521138" y="4894900"/>
                </a:cubicBezTo>
                <a:cubicBezTo>
                  <a:pt x="6521138" y="4859186"/>
                  <a:pt x="6550090" y="4830234"/>
                  <a:pt x="6585804" y="4830234"/>
                </a:cubicBezTo>
                <a:close/>
                <a:moveTo>
                  <a:pt x="6119999" y="4830234"/>
                </a:moveTo>
                <a:cubicBezTo>
                  <a:pt x="6155713" y="4830234"/>
                  <a:pt x="6184665" y="4859186"/>
                  <a:pt x="6184665" y="4894900"/>
                </a:cubicBezTo>
                <a:cubicBezTo>
                  <a:pt x="6184665" y="4930614"/>
                  <a:pt x="6155713" y="4959566"/>
                  <a:pt x="6119999" y="4959566"/>
                </a:cubicBezTo>
                <a:cubicBezTo>
                  <a:pt x="6084285" y="4959566"/>
                  <a:pt x="6055333" y="4930614"/>
                  <a:pt x="6055333" y="4894900"/>
                </a:cubicBezTo>
                <a:cubicBezTo>
                  <a:pt x="6055333" y="4859186"/>
                  <a:pt x="6084285" y="4830234"/>
                  <a:pt x="6119999" y="4830234"/>
                </a:cubicBezTo>
                <a:close/>
                <a:moveTo>
                  <a:pt x="4100209" y="4830234"/>
                </a:moveTo>
                <a:cubicBezTo>
                  <a:pt x="4135921" y="4830234"/>
                  <a:pt x="4164876" y="4859186"/>
                  <a:pt x="4164876" y="4894900"/>
                </a:cubicBezTo>
                <a:cubicBezTo>
                  <a:pt x="4164876" y="4930614"/>
                  <a:pt x="4135921" y="4959566"/>
                  <a:pt x="4100209" y="4959566"/>
                </a:cubicBezTo>
                <a:cubicBezTo>
                  <a:pt x="4064494" y="4959566"/>
                  <a:pt x="4035544" y="4930614"/>
                  <a:pt x="4035544" y="4894900"/>
                </a:cubicBezTo>
                <a:cubicBezTo>
                  <a:pt x="4035544" y="4859186"/>
                  <a:pt x="4064494" y="4830234"/>
                  <a:pt x="4100209" y="4830234"/>
                </a:cubicBezTo>
                <a:close/>
                <a:moveTo>
                  <a:pt x="3630500" y="4830234"/>
                </a:moveTo>
                <a:cubicBezTo>
                  <a:pt x="3666214" y="4830234"/>
                  <a:pt x="3695166" y="4859186"/>
                  <a:pt x="3695166" y="4894900"/>
                </a:cubicBezTo>
                <a:cubicBezTo>
                  <a:pt x="3695166" y="4930614"/>
                  <a:pt x="3666214" y="4959566"/>
                  <a:pt x="3630500" y="4959566"/>
                </a:cubicBezTo>
                <a:cubicBezTo>
                  <a:pt x="3594785" y="4959566"/>
                  <a:pt x="3565834" y="4930614"/>
                  <a:pt x="3565834" y="4894900"/>
                </a:cubicBezTo>
                <a:cubicBezTo>
                  <a:pt x="3565834" y="4859186"/>
                  <a:pt x="3594785" y="4830234"/>
                  <a:pt x="3630500" y="4830234"/>
                </a:cubicBezTo>
                <a:close/>
                <a:moveTo>
                  <a:pt x="3321271" y="4830234"/>
                </a:moveTo>
                <a:cubicBezTo>
                  <a:pt x="3356985" y="4830234"/>
                  <a:pt x="3385935" y="4859186"/>
                  <a:pt x="3385935" y="4894900"/>
                </a:cubicBezTo>
                <a:cubicBezTo>
                  <a:pt x="3385935" y="4930614"/>
                  <a:pt x="3356985" y="4959566"/>
                  <a:pt x="3321271" y="4959566"/>
                </a:cubicBezTo>
                <a:cubicBezTo>
                  <a:pt x="3285557" y="4959566"/>
                  <a:pt x="3256604" y="4930614"/>
                  <a:pt x="3256604" y="4894900"/>
                </a:cubicBezTo>
                <a:cubicBezTo>
                  <a:pt x="3256604" y="4859186"/>
                  <a:pt x="3285557" y="4830234"/>
                  <a:pt x="3321271" y="4830234"/>
                </a:cubicBezTo>
                <a:close/>
                <a:moveTo>
                  <a:pt x="10159588" y="4685405"/>
                </a:moveTo>
                <a:cubicBezTo>
                  <a:pt x="10195302" y="4685405"/>
                  <a:pt x="10224254" y="4714357"/>
                  <a:pt x="10224254" y="4750071"/>
                </a:cubicBezTo>
                <a:cubicBezTo>
                  <a:pt x="10224254" y="4785785"/>
                  <a:pt x="10195302" y="4814737"/>
                  <a:pt x="10159588" y="4814737"/>
                </a:cubicBezTo>
                <a:cubicBezTo>
                  <a:pt x="10123874" y="4814737"/>
                  <a:pt x="10094922" y="4785785"/>
                  <a:pt x="10094922" y="4750071"/>
                </a:cubicBezTo>
                <a:cubicBezTo>
                  <a:pt x="10094922" y="4714357"/>
                  <a:pt x="10123874" y="4685405"/>
                  <a:pt x="10159588" y="4685405"/>
                </a:cubicBezTo>
                <a:close/>
                <a:moveTo>
                  <a:pt x="10003016" y="4685405"/>
                </a:moveTo>
                <a:cubicBezTo>
                  <a:pt x="10038730" y="4685405"/>
                  <a:pt x="10067682" y="4714357"/>
                  <a:pt x="10067682" y="4750071"/>
                </a:cubicBezTo>
                <a:cubicBezTo>
                  <a:pt x="10067682" y="4785785"/>
                  <a:pt x="10038730" y="4814737"/>
                  <a:pt x="10003016" y="4814737"/>
                </a:cubicBezTo>
                <a:cubicBezTo>
                  <a:pt x="9967302" y="4814737"/>
                  <a:pt x="9938350" y="4785785"/>
                  <a:pt x="9938350" y="4750071"/>
                </a:cubicBezTo>
                <a:cubicBezTo>
                  <a:pt x="9938350" y="4714357"/>
                  <a:pt x="9967302" y="4685405"/>
                  <a:pt x="10003016" y="4685405"/>
                </a:cubicBezTo>
                <a:close/>
                <a:moveTo>
                  <a:pt x="9850358" y="4685405"/>
                </a:moveTo>
                <a:cubicBezTo>
                  <a:pt x="9886072" y="4685405"/>
                  <a:pt x="9915024" y="4714357"/>
                  <a:pt x="9915024" y="4750071"/>
                </a:cubicBezTo>
                <a:cubicBezTo>
                  <a:pt x="9915024" y="4785785"/>
                  <a:pt x="9886072" y="4814737"/>
                  <a:pt x="9850358" y="4814737"/>
                </a:cubicBezTo>
                <a:cubicBezTo>
                  <a:pt x="9814644" y="4814737"/>
                  <a:pt x="9785692" y="4785785"/>
                  <a:pt x="9785692" y="4750071"/>
                </a:cubicBezTo>
                <a:cubicBezTo>
                  <a:pt x="9785692" y="4714357"/>
                  <a:pt x="9814644" y="4685405"/>
                  <a:pt x="9850358" y="4685405"/>
                </a:cubicBezTo>
                <a:close/>
                <a:moveTo>
                  <a:pt x="9693783" y="4685405"/>
                </a:moveTo>
                <a:cubicBezTo>
                  <a:pt x="9729497" y="4685405"/>
                  <a:pt x="9758449" y="4714357"/>
                  <a:pt x="9758449" y="4750071"/>
                </a:cubicBezTo>
                <a:cubicBezTo>
                  <a:pt x="9758449" y="4785785"/>
                  <a:pt x="9729497" y="4814737"/>
                  <a:pt x="9693783" y="4814737"/>
                </a:cubicBezTo>
                <a:cubicBezTo>
                  <a:pt x="9658069" y="4814737"/>
                  <a:pt x="9629117" y="4785785"/>
                  <a:pt x="9629117" y="4750071"/>
                </a:cubicBezTo>
                <a:cubicBezTo>
                  <a:pt x="9629117" y="4714357"/>
                  <a:pt x="9658069" y="4685405"/>
                  <a:pt x="9693783" y="4685405"/>
                </a:cubicBezTo>
                <a:close/>
                <a:moveTo>
                  <a:pt x="9541123" y="4685405"/>
                </a:moveTo>
                <a:cubicBezTo>
                  <a:pt x="9576837" y="4685405"/>
                  <a:pt x="9605789" y="4714357"/>
                  <a:pt x="9605789" y="4750071"/>
                </a:cubicBezTo>
                <a:cubicBezTo>
                  <a:pt x="9605789" y="4785785"/>
                  <a:pt x="9576837" y="4814737"/>
                  <a:pt x="9541123" y="4814737"/>
                </a:cubicBezTo>
                <a:cubicBezTo>
                  <a:pt x="9505409" y="4814737"/>
                  <a:pt x="9476457" y="4785785"/>
                  <a:pt x="9476457" y="4750071"/>
                </a:cubicBezTo>
                <a:cubicBezTo>
                  <a:pt x="9476457" y="4714357"/>
                  <a:pt x="9505409" y="4685405"/>
                  <a:pt x="9541123" y="4685405"/>
                </a:cubicBezTo>
                <a:close/>
                <a:moveTo>
                  <a:pt x="7055523" y="4685405"/>
                </a:moveTo>
                <a:cubicBezTo>
                  <a:pt x="7091237" y="4685405"/>
                  <a:pt x="7120189" y="4714357"/>
                  <a:pt x="7120189" y="4750071"/>
                </a:cubicBezTo>
                <a:cubicBezTo>
                  <a:pt x="7120189" y="4785785"/>
                  <a:pt x="7091237" y="4814737"/>
                  <a:pt x="7055523" y="4814737"/>
                </a:cubicBezTo>
                <a:cubicBezTo>
                  <a:pt x="7019809" y="4814737"/>
                  <a:pt x="6990857" y="4785785"/>
                  <a:pt x="6990857" y="4750071"/>
                </a:cubicBezTo>
                <a:cubicBezTo>
                  <a:pt x="6990857" y="4714357"/>
                  <a:pt x="7019809" y="4685405"/>
                  <a:pt x="7055523" y="4685405"/>
                </a:cubicBezTo>
                <a:close/>
                <a:moveTo>
                  <a:pt x="6742377" y="4685405"/>
                </a:moveTo>
                <a:cubicBezTo>
                  <a:pt x="6778091" y="4685405"/>
                  <a:pt x="6807043" y="4714357"/>
                  <a:pt x="6807043" y="4750071"/>
                </a:cubicBezTo>
                <a:cubicBezTo>
                  <a:pt x="6807043" y="4785785"/>
                  <a:pt x="6778091" y="4814737"/>
                  <a:pt x="6742377" y="4814737"/>
                </a:cubicBezTo>
                <a:cubicBezTo>
                  <a:pt x="6706663" y="4814737"/>
                  <a:pt x="6677711" y="4785785"/>
                  <a:pt x="6677711" y="4750071"/>
                </a:cubicBezTo>
                <a:cubicBezTo>
                  <a:pt x="6677711" y="4714357"/>
                  <a:pt x="6706663" y="4685405"/>
                  <a:pt x="6742377" y="4685405"/>
                </a:cubicBezTo>
                <a:close/>
                <a:moveTo>
                  <a:pt x="6585804" y="4685405"/>
                </a:moveTo>
                <a:cubicBezTo>
                  <a:pt x="6621518" y="4685405"/>
                  <a:pt x="6650470" y="4714357"/>
                  <a:pt x="6650470" y="4750071"/>
                </a:cubicBezTo>
                <a:cubicBezTo>
                  <a:pt x="6650470" y="4785785"/>
                  <a:pt x="6621518" y="4814737"/>
                  <a:pt x="6585804" y="4814737"/>
                </a:cubicBezTo>
                <a:cubicBezTo>
                  <a:pt x="6550090" y="4814737"/>
                  <a:pt x="6521138" y="4785785"/>
                  <a:pt x="6521138" y="4750071"/>
                </a:cubicBezTo>
                <a:cubicBezTo>
                  <a:pt x="6521138" y="4714357"/>
                  <a:pt x="6550090" y="4685405"/>
                  <a:pt x="6585804" y="4685405"/>
                </a:cubicBezTo>
                <a:close/>
                <a:moveTo>
                  <a:pt x="6429231" y="4685405"/>
                </a:moveTo>
                <a:cubicBezTo>
                  <a:pt x="6464945" y="4685405"/>
                  <a:pt x="6493897" y="4714357"/>
                  <a:pt x="6493897" y="4750071"/>
                </a:cubicBezTo>
                <a:cubicBezTo>
                  <a:pt x="6493897" y="4785785"/>
                  <a:pt x="6464945" y="4814737"/>
                  <a:pt x="6429231" y="4814737"/>
                </a:cubicBezTo>
                <a:cubicBezTo>
                  <a:pt x="6393517" y="4814737"/>
                  <a:pt x="6364565" y="4785785"/>
                  <a:pt x="6364565" y="4750071"/>
                </a:cubicBezTo>
                <a:cubicBezTo>
                  <a:pt x="6364565" y="4714357"/>
                  <a:pt x="6393517" y="4685405"/>
                  <a:pt x="6429231" y="4685405"/>
                </a:cubicBezTo>
                <a:close/>
                <a:moveTo>
                  <a:pt x="6276571" y="4685405"/>
                </a:moveTo>
                <a:cubicBezTo>
                  <a:pt x="6312285" y="4685405"/>
                  <a:pt x="6341237" y="4714357"/>
                  <a:pt x="6341237" y="4750071"/>
                </a:cubicBezTo>
                <a:cubicBezTo>
                  <a:pt x="6341237" y="4785785"/>
                  <a:pt x="6312285" y="4814737"/>
                  <a:pt x="6276571" y="4814737"/>
                </a:cubicBezTo>
                <a:cubicBezTo>
                  <a:pt x="6240857" y="4814737"/>
                  <a:pt x="6211905" y="4785785"/>
                  <a:pt x="6211905" y="4750071"/>
                </a:cubicBezTo>
                <a:cubicBezTo>
                  <a:pt x="6211905" y="4714357"/>
                  <a:pt x="6240857" y="4685405"/>
                  <a:pt x="6276571" y="4685405"/>
                </a:cubicBezTo>
                <a:close/>
                <a:moveTo>
                  <a:pt x="6119999" y="4685405"/>
                </a:moveTo>
                <a:cubicBezTo>
                  <a:pt x="6155713" y="4685405"/>
                  <a:pt x="6184665" y="4714357"/>
                  <a:pt x="6184665" y="4750071"/>
                </a:cubicBezTo>
                <a:cubicBezTo>
                  <a:pt x="6184665" y="4785785"/>
                  <a:pt x="6155713" y="4814737"/>
                  <a:pt x="6119999" y="4814737"/>
                </a:cubicBezTo>
                <a:cubicBezTo>
                  <a:pt x="6084285" y="4814737"/>
                  <a:pt x="6055333" y="4785785"/>
                  <a:pt x="6055333" y="4750071"/>
                </a:cubicBezTo>
                <a:cubicBezTo>
                  <a:pt x="6055333" y="4714357"/>
                  <a:pt x="6084285" y="4685405"/>
                  <a:pt x="6119999" y="4685405"/>
                </a:cubicBezTo>
                <a:close/>
                <a:moveTo>
                  <a:pt x="5967339" y="4685405"/>
                </a:moveTo>
                <a:cubicBezTo>
                  <a:pt x="6003053" y="4685405"/>
                  <a:pt x="6032005" y="4714357"/>
                  <a:pt x="6032005" y="4750071"/>
                </a:cubicBezTo>
                <a:cubicBezTo>
                  <a:pt x="6032005" y="4785785"/>
                  <a:pt x="6003053" y="4814737"/>
                  <a:pt x="5967339" y="4814737"/>
                </a:cubicBezTo>
                <a:cubicBezTo>
                  <a:pt x="5931625" y="4814737"/>
                  <a:pt x="5902673" y="4785785"/>
                  <a:pt x="5902673" y="4750071"/>
                </a:cubicBezTo>
                <a:cubicBezTo>
                  <a:pt x="5902673" y="4714357"/>
                  <a:pt x="5931625" y="4685405"/>
                  <a:pt x="5967339" y="4685405"/>
                </a:cubicBezTo>
                <a:close/>
                <a:moveTo>
                  <a:pt x="4100211" y="4685405"/>
                </a:moveTo>
                <a:cubicBezTo>
                  <a:pt x="4135925" y="4685405"/>
                  <a:pt x="4164876" y="4714357"/>
                  <a:pt x="4164876" y="4750071"/>
                </a:cubicBezTo>
                <a:cubicBezTo>
                  <a:pt x="4164876" y="4785785"/>
                  <a:pt x="4135925" y="4814737"/>
                  <a:pt x="4100211" y="4814737"/>
                </a:cubicBezTo>
                <a:cubicBezTo>
                  <a:pt x="4064497" y="4814737"/>
                  <a:pt x="4035544" y="4785785"/>
                  <a:pt x="4035544" y="4750071"/>
                </a:cubicBezTo>
                <a:cubicBezTo>
                  <a:pt x="4035544" y="4714357"/>
                  <a:pt x="4064497" y="4685405"/>
                  <a:pt x="4100211" y="4685405"/>
                </a:cubicBezTo>
                <a:close/>
                <a:moveTo>
                  <a:pt x="3947550" y="4685405"/>
                </a:moveTo>
                <a:cubicBezTo>
                  <a:pt x="3983265" y="4685405"/>
                  <a:pt x="4012217" y="4714357"/>
                  <a:pt x="4012217" y="4750071"/>
                </a:cubicBezTo>
                <a:cubicBezTo>
                  <a:pt x="4012217" y="4785785"/>
                  <a:pt x="3983265" y="4814737"/>
                  <a:pt x="3947550" y="4814737"/>
                </a:cubicBezTo>
                <a:cubicBezTo>
                  <a:pt x="3911849" y="4814737"/>
                  <a:pt x="3882897" y="4785785"/>
                  <a:pt x="3882897" y="4750071"/>
                </a:cubicBezTo>
                <a:cubicBezTo>
                  <a:pt x="3882897" y="4714357"/>
                  <a:pt x="3911849" y="4685405"/>
                  <a:pt x="3947550" y="4685405"/>
                </a:cubicBezTo>
                <a:close/>
                <a:moveTo>
                  <a:pt x="3790989" y="4685405"/>
                </a:moveTo>
                <a:cubicBezTo>
                  <a:pt x="3826702" y="4685405"/>
                  <a:pt x="3855655" y="4714357"/>
                  <a:pt x="3855655" y="4750071"/>
                </a:cubicBezTo>
                <a:cubicBezTo>
                  <a:pt x="3855655" y="4785785"/>
                  <a:pt x="3826702" y="4814737"/>
                  <a:pt x="3790989" y="4814737"/>
                </a:cubicBezTo>
                <a:cubicBezTo>
                  <a:pt x="3755274" y="4814737"/>
                  <a:pt x="3726321" y="4785785"/>
                  <a:pt x="3726321" y="4750071"/>
                </a:cubicBezTo>
                <a:cubicBezTo>
                  <a:pt x="3726321" y="4714357"/>
                  <a:pt x="3755274" y="4685405"/>
                  <a:pt x="3790989" y="4685405"/>
                </a:cubicBezTo>
                <a:close/>
                <a:moveTo>
                  <a:pt x="3630503" y="4685405"/>
                </a:moveTo>
                <a:cubicBezTo>
                  <a:pt x="3666218" y="4685405"/>
                  <a:pt x="3695169" y="4714357"/>
                  <a:pt x="3695169" y="4750071"/>
                </a:cubicBezTo>
                <a:cubicBezTo>
                  <a:pt x="3695169" y="4785785"/>
                  <a:pt x="3666218" y="4814737"/>
                  <a:pt x="3630503" y="4814737"/>
                </a:cubicBezTo>
                <a:cubicBezTo>
                  <a:pt x="3594787" y="4814737"/>
                  <a:pt x="3565836" y="4785785"/>
                  <a:pt x="3565836" y="4750071"/>
                </a:cubicBezTo>
                <a:cubicBezTo>
                  <a:pt x="3565836" y="4714357"/>
                  <a:pt x="3594787" y="4685405"/>
                  <a:pt x="3630503" y="4685405"/>
                </a:cubicBezTo>
                <a:close/>
                <a:moveTo>
                  <a:pt x="3481758" y="4685405"/>
                </a:moveTo>
                <a:cubicBezTo>
                  <a:pt x="3517472" y="4685405"/>
                  <a:pt x="3546424" y="4714357"/>
                  <a:pt x="3546424" y="4750071"/>
                </a:cubicBezTo>
                <a:cubicBezTo>
                  <a:pt x="3546424" y="4785785"/>
                  <a:pt x="3517472" y="4814737"/>
                  <a:pt x="3481758" y="4814737"/>
                </a:cubicBezTo>
                <a:cubicBezTo>
                  <a:pt x="3446044" y="4814737"/>
                  <a:pt x="3417092" y="4785785"/>
                  <a:pt x="3417092" y="4750071"/>
                </a:cubicBezTo>
                <a:cubicBezTo>
                  <a:pt x="3417092" y="4714357"/>
                  <a:pt x="3446044" y="4685405"/>
                  <a:pt x="3481758" y="4685405"/>
                </a:cubicBezTo>
                <a:close/>
                <a:moveTo>
                  <a:pt x="3321273" y="4685405"/>
                </a:moveTo>
                <a:cubicBezTo>
                  <a:pt x="3356988" y="4685405"/>
                  <a:pt x="3385938" y="4714357"/>
                  <a:pt x="3385938" y="4750071"/>
                </a:cubicBezTo>
                <a:cubicBezTo>
                  <a:pt x="3385938" y="4785785"/>
                  <a:pt x="3356988" y="4814737"/>
                  <a:pt x="3321273" y="4814737"/>
                </a:cubicBezTo>
                <a:cubicBezTo>
                  <a:pt x="3285559" y="4814737"/>
                  <a:pt x="3256607" y="4785785"/>
                  <a:pt x="3256607" y="4750071"/>
                </a:cubicBezTo>
                <a:cubicBezTo>
                  <a:pt x="3256607" y="4714357"/>
                  <a:pt x="3285559" y="4685405"/>
                  <a:pt x="3321273" y="4685405"/>
                </a:cubicBezTo>
                <a:close/>
                <a:moveTo>
                  <a:pt x="10159588" y="4536658"/>
                </a:moveTo>
                <a:cubicBezTo>
                  <a:pt x="10195302" y="4536658"/>
                  <a:pt x="10224254" y="4565610"/>
                  <a:pt x="10224254" y="4601324"/>
                </a:cubicBezTo>
                <a:cubicBezTo>
                  <a:pt x="10224254" y="4637038"/>
                  <a:pt x="10195302" y="4665990"/>
                  <a:pt x="10159588" y="4665990"/>
                </a:cubicBezTo>
                <a:cubicBezTo>
                  <a:pt x="10123874" y="4665990"/>
                  <a:pt x="10094922" y="4637038"/>
                  <a:pt x="10094922" y="4601324"/>
                </a:cubicBezTo>
                <a:cubicBezTo>
                  <a:pt x="10094922" y="4565610"/>
                  <a:pt x="10123874" y="4536658"/>
                  <a:pt x="10159588" y="4536658"/>
                </a:cubicBezTo>
                <a:close/>
                <a:moveTo>
                  <a:pt x="9693783" y="4536658"/>
                </a:moveTo>
                <a:cubicBezTo>
                  <a:pt x="9729497" y="4536658"/>
                  <a:pt x="9758449" y="4565610"/>
                  <a:pt x="9758449" y="4601324"/>
                </a:cubicBezTo>
                <a:cubicBezTo>
                  <a:pt x="9758449" y="4637038"/>
                  <a:pt x="9729497" y="4665990"/>
                  <a:pt x="9693783" y="4665990"/>
                </a:cubicBezTo>
                <a:cubicBezTo>
                  <a:pt x="9658069" y="4665990"/>
                  <a:pt x="9629117" y="4637038"/>
                  <a:pt x="9629117" y="4601324"/>
                </a:cubicBezTo>
                <a:cubicBezTo>
                  <a:pt x="9629117" y="4565610"/>
                  <a:pt x="9658069" y="4536658"/>
                  <a:pt x="9693783" y="4536658"/>
                </a:cubicBezTo>
                <a:close/>
                <a:moveTo>
                  <a:pt x="7055523" y="4536658"/>
                </a:moveTo>
                <a:cubicBezTo>
                  <a:pt x="7091237" y="4536658"/>
                  <a:pt x="7120189" y="4565610"/>
                  <a:pt x="7120189" y="4601324"/>
                </a:cubicBezTo>
                <a:cubicBezTo>
                  <a:pt x="7120189" y="4637038"/>
                  <a:pt x="7091237" y="4665990"/>
                  <a:pt x="7055523" y="4665990"/>
                </a:cubicBezTo>
                <a:cubicBezTo>
                  <a:pt x="7019809" y="4665990"/>
                  <a:pt x="6990857" y="4637038"/>
                  <a:pt x="6990857" y="4601324"/>
                </a:cubicBezTo>
                <a:cubicBezTo>
                  <a:pt x="6990857" y="4565610"/>
                  <a:pt x="7019809" y="4536658"/>
                  <a:pt x="7055523" y="4536658"/>
                </a:cubicBezTo>
                <a:close/>
                <a:moveTo>
                  <a:pt x="9850358" y="4407486"/>
                </a:moveTo>
                <a:cubicBezTo>
                  <a:pt x="9886072" y="4407486"/>
                  <a:pt x="9915024" y="4436438"/>
                  <a:pt x="9915024" y="4472152"/>
                </a:cubicBezTo>
                <a:cubicBezTo>
                  <a:pt x="9915024" y="4498938"/>
                  <a:pt x="9898738" y="4521920"/>
                  <a:pt x="9875529" y="4531736"/>
                </a:cubicBezTo>
                <a:lnTo>
                  <a:pt x="9850754" y="4536738"/>
                </a:lnTo>
                <a:lnTo>
                  <a:pt x="9875529" y="4541740"/>
                </a:lnTo>
                <a:cubicBezTo>
                  <a:pt x="9898738" y="4551557"/>
                  <a:pt x="9915024" y="4574539"/>
                  <a:pt x="9915024" y="4601324"/>
                </a:cubicBezTo>
                <a:cubicBezTo>
                  <a:pt x="9915024" y="4637038"/>
                  <a:pt x="9886072" y="4665990"/>
                  <a:pt x="9850358" y="4665990"/>
                </a:cubicBezTo>
                <a:cubicBezTo>
                  <a:pt x="9814644" y="4665990"/>
                  <a:pt x="9785692" y="4637038"/>
                  <a:pt x="9785692" y="4601324"/>
                </a:cubicBezTo>
                <a:cubicBezTo>
                  <a:pt x="9785692" y="4574539"/>
                  <a:pt x="9801977" y="4551557"/>
                  <a:pt x="9825187" y="4541740"/>
                </a:cubicBezTo>
                <a:lnTo>
                  <a:pt x="9849962" y="4536738"/>
                </a:lnTo>
                <a:lnTo>
                  <a:pt x="9825187" y="4531736"/>
                </a:lnTo>
                <a:cubicBezTo>
                  <a:pt x="9801977" y="4521920"/>
                  <a:pt x="9785692" y="4498938"/>
                  <a:pt x="9785692" y="4472152"/>
                </a:cubicBezTo>
                <a:cubicBezTo>
                  <a:pt x="9785692" y="4436438"/>
                  <a:pt x="9814644" y="4407486"/>
                  <a:pt x="9850358" y="4407486"/>
                </a:cubicBezTo>
                <a:close/>
                <a:moveTo>
                  <a:pt x="6742377" y="4407486"/>
                </a:moveTo>
                <a:cubicBezTo>
                  <a:pt x="6778091" y="4407486"/>
                  <a:pt x="6807043" y="4436438"/>
                  <a:pt x="6807043" y="4472152"/>
                </a:cubicBezTo>
                <a:cubicBezTo>
                  <a:pt x="6807043" y="4498938"/>
                  <a:pt x="6790758" y="4521920"/>
                  <a:pt x="6767548" y="4531736"/>
                </a:cubicBezTo>
                <a:lnTo>
                  <a:pt x="6742773" y="4536738"/>
                </a:lnTo>
                <a:lnTo>
                  <a:pt x="6767548" y="4541740"/>
                </a:lnTo>
                <a:cubicBezTo>
                  <a:pt x="6790758" y="4551557"/>
                  <a:pt x="6807043" y="4574539"/>
                  <a:pt x="6807043" y="4601324"/>
                </a:cubicBezTo>
                <a:cubicBezTo>
                  <a:pt x="6807043" y="4637038"/>
                  <a:pt x="6778091" y="4665990"/>
                  <a:pt x="6742377" y="4665990"/>
                </a:cubicBezTo>
                <a:cubicBezTo>
                  <a:pt x="6706663" y="4665990"/>
                  <a:pt x="6677711" y="4637038"/>
                  <a:pt x="6677711" y="4601324"/>
                </a:cubicBezTo>
                <a:cubicBezTo>
                  <a:pt x="6677711" y="4574539"/>
                  <a:pt x="6693997" y="4551557"/>
                  <a:pt x="6717206" y="4541740"/>
                </a:cubicBezTo>
                <a:lnTo>
                  <a:pt x="6741981" y="4536738"/>
                </a:lnTo>
                <a:lnTo>
                  <a:pt x="6717206" y="4531736"/>
                </a:lnTo>
                <a:cubicBezTo>
                  <a:pt x="6693997" y="4521920"/>
                  <a:pt x="6677711" y="4498938"/>
                  <a:pt x="6677711" y="4472152"/>
                </a:cubicBezTo>
                <a:cubicBezTo>
                  <a:pt x="6677711" y="4436438"/>
                  <a:pt x="6706663" y="4407486"/>
                  <a:pt x="6742377" y="4407486"/>
                </a:cubicBezTo>
                <a:close/>
                <a:moveTo>
                  <a:pt x="6429231" y="4407486"/>
                </a:moveTo>
                <a:cubicBezTo>
                  <a:pt x="6464945" y="4407486"/>
                  <a:pt x="6493897" y="4436438"/>
                  <a:pt x="6493897" y="4472152"/>
                </a:cubicBezTo>
                <a:cubicBezTo>
                  <a:pt x="6493897" y="4498938"/>
                  <a:pt x="6477612" y="4521920"/>
                  <a:pt x="6454402" y="4531736"/>
                </a:cubicBezTo>
                <a:lnTo>
                  <a:pt x="6429628" y="4536738"/>
                </a:lnTo>
                <a:lnTo>
                  <a:pt x="6454402" y="4541740"/>
                </a:lnTo>
                <a:cubicBezTo>
                  <a:pt x="6477612" y="4551557"/>
                  <a:pt x="6493897" y="4574539"/>
                  <a:pt x="6493897" y="4601324"/>
                </a:cubicBezTo>
                <a:cubicBezTo>
                  <a:pt x="6493897" y="4637038"/>
                  <a:pt x="6464945" y="4665990"/>
                  <a:pt x="6429231" y="4665990"/>
                </a:cubicBezTo>
                <a:cubicBezTo>
                  <a:pt x="6393517" y="4665990"/>
                  <a:pt x="6364565" y="4637038"/>
                  <a:pt x="6364565" y="4601324"/>
                </a:cubicBezTo>
                <a:cubicBezTo>
                  <a:pt x="6364565" y="4574539"/>
                  <a:pt x="6380851" y="4551557"/>
                  <a:pt x="6404060" y="4541740"/>
                </a:cubicBezTo>
                <a:lnTo>
                  <a:pt x="6428835" y="4536738"/>
                </a:lnTo>
                <a:lnTo>
                  <a:pt x="6404060" y="4531736"/>
                </a:lnTo>
                <a:cubicBezTo>
                  <a:pt x="6380851" y="4521920"/>
                  <a:pt x="6364565" y="4498938"/>
                  <a:pt x="6364565" y="4472152"/>
                </a:cubicBezTo>
                <a:cubicBezTo>
                  <a:pt x="6364565" y="4436438"/>
                  <a:pt x="6393517" y="4407486"/>
                  <a:pt x="6429231" y="4407486"/>
                </a:cubicBezTo>
                <a:close/>
                <a:moveTo>
                  <a:pt x="6276571" y="4407486"/>
                </a:moveTo>
                <a:cubicBezTo>
                  <a:pt x="6312285" y="4407486"/>
                  <a:pt x="6341237" y="4436438"/>
                  <a:pt x="6341237" y="4472152"/>
                </a:cubicBezTo>
                <a:cubicBezTo>
                  <a:pt x="6341237" y="4498938"/>
                  <a:pt x="6324952" y="4521920"/>
                  <a:pt x="6301742" y="4531736"/>
                </a:cubicBezTo>
                <a:lnTo>
                  <a:pt x="6276968" y="4536738"/>
                </a:lnTo>
                <a:lnTo>
                  <a:pt x="6301742" y="4541740"/>
                </a:lnTo>
                <a:cubicBezTo>
                  <a:pt x="6324952" y="4551557"/>
                  <a:pt x="6341237" y="4574539"/>
                  <a:pt x="6341237" y="4601324"/>
                </a:cubicBezTo>
                <a:cubicBezTo>
                  <a:pt x="6341237" y="4637038"/>
                  <a:pt x="6312285" y="4665990"/>
                  <a:pt x="6276571" y="4665990"/>
                </a:cubicBezTo>
                <a:cubicBezTo>
                  <a:pt x="6240857" y="4665990"/>
                  <a:pt x="6211905" y="4637038"/>
                  <a:pt x="6211905" y="4601324"/>
                </a:cubicBezTo>
                <a:cubicBezTo>
                  <a:pt x="6211905" y="4574539"/>
                  <a:pt x="6228191" y="4551557"/>
                  <a:pt x="6251400" y="4541740"/>
                </a:cubicBezTo>
                <a:lnTo>
                  <a:pt x="6276175" y="4536738"/>
                </a:lnTo>
                <a:lnTo>
                  <a:pt x="6251400" y="4531736"/>
                </a:lnTo>
                <a:cubicBezTo>
                  <a:pt x="6228191" y="4521920"/>
                  <a:pt x="6211905" y="4498938"/>
                  <a:pt x="6211905" y="4472152"/>
                </a:cubicBezTo>
                <a:cubicBezTo>
                  <a:pt x="6211905" y="4436438"/>
                  <a:pt x="6240857" y="4407486"/>
                  <a:pt x="6276571" y="4407486"/>
                </a:cubicBezTo>
                <a:close/>
                <a:moveTo>
                  <a:pt x="5967339" y="4407486"/>
                </a:moveTo>
                <a:cubicBezTo>
                  <a:pt x="6003053" y="4407486"/>
                  <a:pt x="6032005" y="4436438"/>
                  <a:pt x="6032005" y="4472152"/>
                </a:cubicBezTo>
                <a:cubicBezTo>
                  <a:pt x="6032005" y="4498938"/>
                  <a:pt x="6015720" y="4521920"/>
                  <a:pt x="5992510" y="4531736"/>
                </a:cubicBezTo>
                <a:lnTo>
                  <a:pt x="5967736" y="4536738"/>
                </a:lnTo>
                <a:lnTo>
                  <a:pt x="5992510" y="4541740"/>
                </a:lnTo>
                <a:cubicBezTo>
                  <a:pt x="6015720" y="4551557"/>
                  <a:pt x="6032005" y="4574539"/>
                  <a:pt x="6032005" y="4601324"/>
                </a:cubicBezTo>
                <a:cubicBezTo>
                  <a:pt x="6032005" y="4637038"/>
                  <a:pt x="6003053" y="4665990"/>
                  <a:pt x="5967339" y="4665990"/>
                </a:cubicBezTo>
                <a:cubicBezTo>
                  <a:pt x="5931625" y="4665990"/>
                  <a:pt x="5902673" y="4637038"/>
                  <a:pt x="5902673" y="4601324"/>
                </a:cubicBezTo>
                <a:cubicBezTo>
                  <a:pt x="5902673" y="4574539"/>
                  <a:pt x="5918959" y="4551557"/>
                  <a:pt x="5942168" y="4541740"/>
                </a:cubicBezTo>
                <a:lnTo>
                  <a:pt x="5966943" y="4536738"/>
                </a:lnTo>
                <a:lnTo>
                  <a:pt x="5942168" y="4531736"/>
                </a:lnTo>
                <a:cubicBezTo>
                  <a:pt x="5918959" y="4521920"/>
                  <a:pt x="5902673" y="4498938"/>
                  <a:pt x="5902673" y="4472152"/>
                </a:cubicBezTo>
                <a:cubicBezTo>
                  <a:pt x="5902673" y="4436438"/>
                  <a:pt x="5931625" y="4407486"/>
                  <a:pt x="5967339" y="4407486"/>
                </a:cubicBezTo>
                <a:close/>
                <a:moveTo>
                  <a:pt x="4256781" y="4407486"/>
                </a:moveTo>
                <a:cubicBezTo>
                  <a:pt x="4292500" y="4407486"/>
                  <a:pt x="4321448" y="4436438"/>
                  <a:pt x="4321448" y="4472152"/>
                </a:cubicBezTo>
                <a:cubicBezTo>
                  <a:pt x="4321448" y="4507866"/>
                  <a:pt x="4292500" y="4536818"/>
                  <a:pt x="4256781" y="4536818"/>
                </a:cubicBezTo>
                <a:cubicBezTo>
                  <a:pt x="4221067" y="4536818"/>
                  <a:pt x="4192113" y="4507866"/>
                  <a:pt x="4192113" y="4472152"/>
                </a:cubicBezTo>
                <a:cubicBezTo>
                  <a:pt x="4192113" y="4436438"/>
                  <a:pt x="4221067" y="4407486"/>
                  <a:pt x="4256781" y="4407486"/>
                </a:cubicBezTo>
                <a:close/>
                <a:moveTo>
                  <a:pt x="3947550" y="4407486"/>
                </a:moveTo>
                <a:cubicBezTo>
                  <a:pt x="3983265" y="4407486"/>
                  <a:pt x="4012217" y="4436438"/>
                  <a:pt x="4012217" y="4472152"/>
                </a:cubicBezTo>
                <a:cubicBezTo>
                  <a:pt x="4012217" y="4498938"/>
                  <a:pt x="3995929" y="4521920"/>
                  <a:pt x="3972723" y="4531736"/>
                </a:cubicBezTo>
                <a:lnTo>
                  <a:pt x="3947944" y="4536738"/>
                </a:lnTo>
                <a:lnTo>
                  <a:pt x="3972720" y="4541740"/>
                </a:lnTo>
                <a:cubicBezTo>
                  <a:pt x="3995929" y="4551557"/>
                  <a:pt x="4012217" y="4574539"/>
                  <a:pt x="4012217" y="4601324"/>
                </a:cubicBezTo>
                <a:cubicBezTo>
                  <a:pt x="4012217" y="4637038"/>
                  <a:pt x="3983265" y="4665990"/>
                  <a:pt x="3947550" y="4665990"/>
                </a:cubicBezTo>
                <a:cubicBezTo>
                  <a:pt x="3911852" y="4665990"/>
                  <a:pt x="3882901" y="4637038"/>
                  <a:pt x="3882901" y="4601324"/>
                </a:cubicBezTo>
                <a:cubicBezTo>
                  <a:pt x="3882901" y="4574539"/>
                  <a:pt x="3899185" y="4551557"/>
                  <a:pt x="3922395" y="4541740"/>
                </a:cubicBezTo>
                <a:lnTo>
                  <a:pt x="3947151" y="4536738"/>
                </a:lnTo>
                <a:lnTo>
                  <a:pt x="3922397" y="4531736"/>
                </a:lnTo>
                <a:cubicBezTo>
                  <a:pt x="3899188" y="4521920"/>
                  <a:pt x="3882903" y="4498938"/>
                  <a:pt x="3882903" y="4472152"/>
                </a:cubicBezTo>
                <a:cubicBezTo>
                  <a:pt x="3882903" y="4436438"/>
                  <a:pt x="3911854" y="4407486"/>
                  <a:pt x="3947550" y="4407486"/>
                </a:cubicBezTo>
                <a:close/>
                <a:moveTo>
                  <a:pt x="3790995" y="4407486"/>
                </a:moveTo>
                <a:cubicBezTo>
                  <a:pt x="3826707" y="4407486"/>
                  <a:pt x="3855661" y="4436438"/>
                  <a:pt x="3855661" y="4472152"/>
                </a:cubicBezTo>
                <a:cubicBezTo>
                  <a:pt x="3855661" y="4498938"/>
                  <a:pt x="3839375" y="4521920"/>
                  <a:pt x="3816166" y="4531736"/>
                </a:cubicBezTo>
                <a:lnTo>
                  <a:pt x="3791389" y="4536739"/>
                </a:lnTo>
                <a:lnTo>
                  <a:pt x="3816163" y="4541740"/>
                </a:lnTo>
                <a:cubicBezTo>
                  <a:pt x="3839372" y="4551557"/>
                  <a:pt x="3855657" y="4574539"/>
                  <a:pt x="3855657" y="4601324"/>
                </a:cubicBezTo>
                <a:cubicBezTo>
                  <a:pt x="3855657" y="4637038"/>
                  <a:pt x="3826705" y="4665990"/>
                  <a:pt x="3790992" y="4665990"/>
                </a:cubicBezTo>
                <a:cubicBezTo>
                  <a:pt x="3755276" y="4665990"/>
                  <a:pt x="3726324" y="4637038"/>
                  <a:pt x="3726324" y="4601324"/>
                </a:cubicBezTo>
                <a:cubicBezTo>
                  <a:pt x="3726324" y="4574539"/>
                  <a:pt x="3742609" y="4551557"/>
                  <a:pt x="3765820" y="4541740"/>
                </a:cubicBezTo>
                <a:lnTo>
                  <a:pt x="3790597" y="4536738"/>
                </a:lnTo>
                <a:lnTo>
                  <a:pt x="3765822" y="4531736"/>
                </a:lnTo>
                <a:cubicBezTo>
                  <a:pt x="3742611" y="4521920"/>
                  <a:pt x="3726327" y="4498938"/>
                  <a:pt x="3726327" y="4472152"/>
                </a:cubicBezTo>
                <a:cubicBezTo>
                  <a:pt x="3726327" y="4436438"/>
                  <a:pt x="3755279" y="4407486"/>
                  <a:pt x="3790995" y="4407486"/>
                </a:cubicBezTo>
                <a:close/>
                <a:moveTo>
                  <a:pt x="3481760" y="4407486"/>
                </a:moveTo>
                <a:cubicBezTo>
                  <a:pt x="3517474" y="4407486"/>
                  <a:pt x="3546426" y="4436438"/>
                  <a:pt x="3546426" y="4472152"/>
                </a:cubicBezTo>
                <a:cubicBezTo>
                  <a:pt x="3546426" y="4498938"/>
                  <a:pt x="3530141" y="4521920"/>
                  <a:pt x="3506929" y="4531736"/>
                </a:cubicBezTo>
                <a:lnTo>
                  <a:pt x="3482156" y="4536738"/>
                </a:lnTo>
                <a:lnTo>
                  <a:pt x="3506929" y="4541740"/>
                </a:lnTo>
                <a:cubicBezTo>
                  <a:pt x="3530139" y="4551557"/>
                  <a:pt x="3546426" y="4574539"/>
                  <a:pt x="3546426" y="4601324"/>
                </a:cubicBezTo>
                <a:cubicBezTo>
                  <a:pt x="3546426" y="4637038"/>
                  <a:pt x="3517474" y="4665990"/>
                  <a:pt x="3481760" y="4665990"/>
                </a:cubicBezTo>
                <a:cubicBezTo>
                  <a:pt x="3446048" y="4665990"/>
                  <a:pt x="3417095" y="4637038"/>
                  <a:pt x="3417095" y="4601324"/>
                </a:cubicBezTo>
                <a:cubicBezTo>
                  <a:pt x="3417095" y="4574539"/>
                  <a:pt x="3433381" y="4551557"/>
                  <a:pt x="3456591" y="4541740"/>
                </a:cubicBezTo>
                <a:lnTo>
                  <a:pt x="3481364" y="4536738"/>
                </a:lnTo>
                <a:lnTo>
                  <a:pt x="3456591" y="4531736"/>
                </a:lnTo>
                <a:cubicBezTo>
                  <a:pt x="3433381" y="4521920"/>
                  <a:pt x="3417096" y="4498938"/>
                  <a:pt x="3417096" y="4472152"/>
                </a:cubicBezTo>
                <a:cubicBezTo>
                  <a:pt x="3417096" y="4436438"/>
                  <a:pt x="3446048" y="4407486"/>
                  <a:pt x="3481760" y="4407486"/>
                </a:cubicBezTo>
                <a:close/>
                <a:moveTo>
                  <a:pt x="3172530" y="4407486"/>
                </a:moveTo>
                <a:cubicBezTo>
                  <a:pt x="3208246" y="4407486"/>
                  <a:pt x="3237196" y="4436438"/>
                  <a:pt x="3237196" y="4472152"/>
                </a:cubicBezTo>
                <a:cubicBezTo>
                  <a:pt x="3237196" y="4498938"/>
                  <a:pt x="3220910" y="4521920"/>
                  <a:pt x="3197701" y="4531736"/>
                </a:cubicBezTo>
                <a:lnTo>
                  <a:pt x="3172927" y="4536738"/>
                </a:lnTo>
                <a:lnTo>
                  <a:pt x="3197703" y="4541740"/>
                </a:lnTo>
                <a:cubicBezTo>
                  <a:pt x="3220910" y="4551557"/>
                  <a:pt x="3237198" y="4574539"/>
                  <a:pt x="3237198" y="4601324"/>
                </a:cubicBezTo>
                <a:cubicBezTo>
                  <a:pt x="3237198" y="4637038"/>
                  <a:pt x="3208247" y="4665990"/>
                  <a:pt x="3172531" y="4665990"/>
                </a:cubicBezTo>
                <a:cubicBezTo>
                  <a:pt x="3136815" y="4665990"/>
                  <a:pt x="3107862" y="4637038"/>
                  <a:pt x="3107862" y="4601324"/>
                </a:cubicBezTo>
                <a:cubicBezTo>
                  <a:pt x="3107862" y="4574539"/>
                  <a:pt x="3124149" y="4551557"/>
                  <a:pt x="3147359" y="4541740"/>
                </a:cubicBezTo>
                <a:lnTo>
                  <a:pt x="3172134" y="4536738"/>
                </a:lnTo>
                <a:lnTo>
                  <a:pt x="3147357" y="4531736"/>
                </a:lnTo>
                <a:cubicBezTo>
                  <a:pt x="3124146" y="4521920"/>
                  <a:pt x="3107859" y="4498938"/>
                  <a:pt x="3107859" y="4472152"/>
                </a:cubicBezTo>
                <a:cubicBezTo>
                  <a:pt x="3107859" y="4436438"/>
                  <a:pt x="3136813" y="4407486"/>
                  <a:pt x="3172530" y="4407486"/>
                </a:cubicBezTo>
                <a:close/>
                <a:moveTo>
                  <a:pt x="6585804" y="4407484"/>
                </a:moveTo>
                <a:cubicBezTo>
                  <a:pt x="6621518" y="4407484"/>
                  <a:pt x="6650470" y="4436436"/>
                  <a:pt x="6650470" y="4472150"/>
                </a:cubicBezTo>
                <a:cubicBezTo>
                  <a:pt x="6650470" y="4498936"/>
                  <a:pt x="6634185" y="4521918"/>
                  <a:pt x="6610975" y="4531734"/>
                </a:cubicBezTo>
                <a:lnTo>
                  <a:pt x="6586196" y="4536737"/>
                </a:lnTo>
                <a:lnTo>
                  <a:pt x="6610975" y="4541740"/>
                </a:lnTo>
                <a:cubicBezTo>
                  <a:pt x="6634185" y="4551557"/>
                  <a:pt x="6650470" y="4574539"/>
                  <a:pt x="6650470" y="4601324"/>
                </a:cubicBezTo>
                <a:cubicBezTo>
                  <a:pt x="6650470" y="4637038"/>
                  <a:pt x="6621518" y="4665990"/>
                  <a:pt x="6585804" y="4665990"/>
                </a:cubicBezTo>
                <a:cubicBezTo>
                  <a:pt x="6550090" y="4665990"/>
                  <a:pt x="6521138" y="4637038"/>
                  <a:pt x="6521138" y="4601324"/>
                </a:cubicBezTo>
                <a:cubicBezTo>
                  <a:pt x="6521138" y="4574539"/>
                  <a:pt x="6537424" y="4551557"/>
                  <a:pt x="6560633" y="4541740"/>
                </a:cubicBezTo>
                <a:lnTo>
                  <a:pt x="6585413" y="4536737"/>
                </a:lnTo>
                <a:lnTo>
                  <a:pt x="6560633" y="4531734"/>
                </a:lnTo>
                <a:cubicBezTo>
                  <a:pt x="6537424" y="4521918"/>
                  <a:pt x="6521138" y="4498936"/>
                  <a:pt x="6521138" y="4472150"/>
                </a:cubicBezTo>
                <a:cubicBezTo>
                  <a:pt x="6521138" y="4436436"/>
                  <a:pt x="6550090" y="4407484"/>
                  <a:pt x="6585804" y="4407484"/>
                </a:cubicBezTo>
                <a:close/>
                <a:moveTo>
                  <a:pt x="6119999" y="4407484"/>
                </a:moveTo>
                <a:cubicBezTo>
                  <a:pt x="6155713" y="4407484"/>
                  <a:pt x="6184665" y="4436436"/>
                  <a:pt x="6184665" y="4472150"/>
                </a:cubicBezTo>
                <a:cubicBezTo>
                  <a:pt x="6184665" y="4498936"/>
                  <a:pt x="6168380" y="4521918"/>
                  <a:pt x="6145170" y="4531734"/>
                </a:cubicBezTo>
                <a:lnTo>
                  <a:pt x="6120391" y="4536737"/>
                </a:lnTo>
                <a:lnTo>
                  <a:pt x="6145170" y="4541740"/>
                </a:lnTo>
                <a:cubicBezTo>
                  <a:pt x="6168380" y="4551557"/>
                  <a:pt x="6184665" y="4574539"/>
                  <a:pt x="6184665" y="4601324"/>
                </a:cubicBezTo>
                <a:cubicBezTo>
                  <a:pt x="6184665" y="4637038"/>
                  <a:pt x="6155713" y="4665990"/>
                  <a:pt x="6119999" y="4665990"/>
                </a:cubicBezTo>
                <a:cubicBezTo>
                  <a:pt x="6084285" y="4665990"/>
                  <a:pt x="6055333" y="4637038"/>
                  <a:pt x="6055333" y="4601324"/>
                </a:cubicBezTo>
                <a:cubicBezTo>
                  <a:pt x="6055333" y="4574539"/>
                  <a:pt x="6071619" y="4551557"/>
                  <a:pt x="6094828" y="4541740"/>
                </a:cubicBezTo>
                <a:lnTo>
                  <a:pt x="6119608" y="4536737"/>
                </a:lnTo>
                <a:lnTo>
                  <a:pt x="6094828" y="4531734"/>
                </a:lnTo>
                <a:cubicBezTo>
                  <a:pt x="6071619" y="4521918"/>
                  <a:pt x="6055333" y="4498936"/>
                  <a:pt x="6055333" y="4472150"/>
                </a:cubicBezTo>
                <a:cubicBezTo>
                  <a:pt x="6055333" y="4436436"/>
                  <a:pt x="6084285" y="4407484"/>
                  <a:pt x="6119999" y="4407484"/>
                </a:cubicBezTo>
                <a:close/>
                <a:moveTo>
                  <a:pt x="4100213" y="4407484"/>
                </a:moveTo>
                <a:cubicBezTo>
                  <a:pt x="4135925" y="4407484"/>
                  <a:pt x="4164879" y="4436436"/>
                  <a:pt x="4164879" y="4472150"/>
                </a:cubicBezTo>
                <a:cubicBezTo>
                  <a:pt x="4164879" y="4498936"/>
                  <a:pt x="4148592" y="4521918"/>
                  <a:pt x="4125383" y="4531734"/>
                </a:cubicBezTo>
                <a:lnTo>
                  <a:pt x="4100603" y="4536737"/>
                </a:lnTo>
                <a:lnTo>
                  <a:pt x="4125383" y="4541740"/>
                </a:lnTo>
                <a:cubicBezTo>
                  <a:pt x="4148592" y="4551557"/>
                  <a:pt x="4164876" y="4574539"/>
                  <a:pt x="4164876" y="4601324"/>
                </a:cubicBezTo>
                <a:cubicBezTo>
                  <a:pt x="4164876" y="4637038"/>
                  <a:pt x="4135925" y="4665990"/>
                  <a:pt x="4100211" y="4665990"/>
                </a:cubicBezTo>
                <a:cubicBezTo>
                  <a:pt x="4064497" y="4665990"/>
                  <a:pt x="4035548" y="4637038"/>
                  <a:pt x="4035548" y="4601324"/>
                </a:cubicBezTo>
                <a:cubicBezTo>
                  <a:pt x="4035548" y="4574539"/>
                  <a:pt x="4051831" y="4551557"/>
                  <a:pt x="4075037" y="4541740"/>
                </a:cubicBezTo>
                <a:lnTo>
                  <a:pt x="4099820" y="4536737"/>
                </a:lnTo>
                <a:lnTo>
                  <a:pt x="4075039" y="4531734"/>
                </a:lnTo>
                <a:cubicBezTo>
                  <a:pt x="4051831" y="4521918"/>
                  <a:pt x="4035548" y="4498936"/>
                  <a:pt x="4035548" y="4472150"/>
                </a:cubicBezTo>
                <a:cubicBezTo>
                  <a:pt x="4035548" y="4436436"/>
                  <a:pt x="4064497" y="4407484"/>
                  <a:pt x="4100213" y="4407484"/>
                </a:cubicBezTo>
                <a:close/>
                <a:moveTo>
                  <a:pt x="3630508" y="4407484"/>
                </a:moveTo>
                <a:cubicBezTo>
                  <a:pt x="3666222" y="4407484"/>
                  <a:pt x="3695174" y="4436436"/>
                  <a:pt x="3695174" y="4472150"/>
                </a:cubicBezTo>
                <a:cubicBezTo>
                  <a:pt x="3695174" y="4498936"/>
                  <a:pt x="3678888" y="4521918"/>
                  <a:pt x="3655679" y="4531734"/>
                </a:cubicBezTo>
                <a:lnTo>
                  <a:pt x="3630899" y="4536738"/>
                </a:lnTo>
                <a:lnTo>
                  <a:pt x="3655677" y="4541740"/>
                </a:lnTo>
                <a:cubicBezTo>
                  <a:pt x="3678886" y="4551557"/>
                  <a:pt x="3695171" y="4574539"/>
                  <a:pt x="3695171" y="4601324"/>
                </a:cubicBezTo>
                <a:cubicBezTo>
                  <a:pt x="3695171" y="4637038"/>
                  <a:pt x="3666219" y="4665990"/>
                  <a:pt x="3630506" y="4665990"/>
                </a:cubicBezTo>
                <a:cubicBezTo>
                  <a:pt x="3594790" y="4665990"/>
                  <a:pt x="3565838" y="4637038"/>
                  <a:pt x="3565838" y="4601324"/>
                </a:cubicBezTo>
                <a:cubicBezTo>
                  <a:pt x="3565838" y="4574539"/>
                  <a:pt x="3582123" y="4551557"/>
                  <a:pt x="3605333" y="4541740"/>
                </a:cubicBezTo>
                <a:lnTo>
                  <a:pt x="3630116" y="4536737"/>
                </a:lnTo>
                <a:lnTo>
                  <a:pt x="3605335" y="4531734"/>
                </a:lnTo>
                <a:cubicBezTo>
                  <a:pt x="3582125" y="4521918"/>
                  <a:pt x="3565841" y="4498936"/>
                  <a:pt x="3565841" y="4472150"/>
                </a:cubicBezTo>
                <a:cubicBezTo>
                  <a:pt x="3565841" y="4436436"/>
                  <a:pt x="3594791" y="4407484"/>
                  <a:pt x="3630508" y="4407484"/>
                </a:cubicBezTo>
                <a:close/>
                <a:moveTo>
                  <a:pt x="3321277" y="4407484"/>
                </a:moveTo>
                <a:cubicBezTo>
                  <a:pt x="3356991" y="4407484"/>
                  <a:pt x="3385940" y="4436436"/>
                  <a:pt x="3385940" y="4472150"/>
                </a:cubicBezTo>
                <a:cubicBezTo>
                  <a:pt x="3385940" y="4498936"/>
                  <a:pt x="3369657" y="4521918"/>
                  <a:pt x="3346447" y="4531734"/>
                </a:cubicBezTo>
                <a:lnTo>
                  <a:pt x="3321669" y="4536737"/>
                </a:lnTo>
                <a:lnTo>
                  <a:pt x="3346446" y="4541740"/>
                </a:lnTo>
                <a:cubicBezTo>
                  <a:pt x="3369657" y="4551557"/>
                  <a:pt x="3385940" y="4574539"/>
                  <a:pt x="3385940" y="4601324"/>
                </a:cubicBezTo>
                <a:cubicBezTo>
                  <a:pt x="3385940" y="4637038"/>
                  <a:pt x="3356991" y="4665990"/>
                  <a:pt x="3321277" y="4665990"/>
                </a:cubicBezTo>
                <a:cubicBezTo>
                  <a:pt x="3285561" y="4665990"/>
                  <a:pt x="3256612" y="4637038"/>
                  <a:pt x="3256612" y="4601324"/>
                </a:cubicBezTo>
                <a:cubicBezTo>
                  <a:pt x="3256612" y="4574539"/>
                  <a:pt x="3272897" y="4551557"/>
                  <a:pt x="3296104" y="4541740"/>
                </a:cubicBezTo>
                <a:lnTo>
                  <a:pt x="3320887" y="4536737"/>
                </a:lnTo>
                <a:lnTo>
                  <a:pt x="3296104" y="4531734"/>
                </a:lnTo>
                <a:cubicBezTo>
                  <a:pt x="3272897" y="4521918"/>
                  <a:pt x="3256612" y="4498936"/>
                  <a:pt x="3256612" y="4472150"/>
                </a:cubicBezTo>
                <a:cubicBezTo>
                  <a:pt x="3256612" y="4436436"/>
                  <a:pt x="3285561" y="4407484"/>
                  <a:pt x="3321277" y="4407484"/>
                </a:cubicBezTo>
                <a:close/>
                <a:moveTo>
                  <a:pt x="3012037" y="4407484"/>
                </a:moveTo>
                <a:cubicBezTo>
                  <a:pt x="3047750" y="4407484"/>
                  <a:pt x="3076704" y="4436436"/>
                  <a:pt x="3076704" y="4472150"/>
                </a:cubicBezTo>
                <a:cubicBezTo>
                  <a:pt x="3076704" y="4507864"/>
                  <a:pt x="3047750" y="4536816"/>
                  <a:pt x="3012037" y="4536816"/>
                </a:cubicBezTo>
                <a:cubicBezTo>
                  <a:pt x="2976324" y="4536816"/>
                  <a:pt x="2947373" y="4507864"/>
                  <a:pt x="2947373" y="4472150"/>
                </a:cubicBezTo>
                <a:cubicBezTo>
                  <a:pt x="2947373" y="4436436"/>
                  <a:pt x="2976324" y="4407484"/>
                  <a:pt x="3012037" y="4407484"/>
                </a:cubicBezTo>
                <a:close/>
                <a:moveTo>
                  <a:pt x="10159586" y="4266568"/>
                </a:moveTo>
                <a:cubicBezTo>
                  <a:pt x="10195300" y="4266568"/>
                  <a:pt x="10224252" y="4295520"/>
                  <a:pt x="10224252" y="4331234"/>
                </a:cubicBezTo>
                <a:cubicBezTo>
                  <a:pt x="10224252" y="4366948"/>
                  <a:pt x="10195300" y="4395900"/>
                  <a:pt x="10159586" y="4395900"/>
                </a:cubicBezTo>
                <a:cubicBezTo>
                  <a:pt x="10123872" y="4395900"/>
                  <a:pt x="10094920" y="4366948"/>
                  <a:pt x="10094920" y="4331234"/>
                </a:cubicBezTo>
                <a:cubicBezTo>
                  <a:pt x="10094920" y="4295520"/>
                  <a:pt x="10123872" y="4266568"/>
                  <a:pt x="10159586" y="4266568"/>
                </a:cubicBezTo>
                <a:close/>
                <a:moveTo>
                  <a:pt x="9227976" y="4266568"/>
                </a:moveTo>
                <a:cubicBezTo>
                  <a:pt x="9263690" y="4266568"/>
                  <a:pt x="9292642" y="4295520"/>
                  <a:pt x="9292642" y="4331234"/>
                </a:cubicBezTo>
                <a:cubicBezTo>
                  <a:pt x="9292642" y="4366948"/>
                  <a:pt x="9263690" y="4395900"/>
                  <a:pt x="9227976" y="4395900"/>
                </a:cubicBezTo>
                <a:cubicBezTo>
                  <a:pt x="9192262" y="4395900"/>
                  <a:pt x="9163310" y="4366948"/>
                  <a:pt x="9163310" y="4331234"/>
                </a:cubicBezTo>
                <a:cubicBezTo>
                  <a:pt x="9163310" y="4295520"/>
                  <a:pt x="9192262" y="4266568"/>
                  <a:pt x="9227976" y="4266568"/>
                </a:cubicBezTo>
                <a:close/>
                <a:moveTo>
                  <a:pt x="9075316" y="4266568"/>
                </a:moveTo>
                <a:cubicBezTo>
                  <a:pt x="9111030" y="4266568"/>
                  <a:pt x="9139982" y="4295520"/>
                  <a:pt x="9139982" y="4331234"/>
                </a:cubicBezTo>
                <a:cubicBezTo>
                  <a:pt x="9139982" y="4366948"/>
                  <a:pt x="9111030" y="4395900"/>
                  <a:pt x="9075316" y="4395900"/>
                </a:cubicBezTo>
                <a:cubicBezTo>
                  <a:pt x="9039602" y="4395900"/>
                  <a:pt x="9010650" y="4366948"/>
                  <a:pt x="9010650" y="4331234"/>
                </a:cubicBezTo>
                <a:cubicBezTo>
                  <a:pt x="9010650" y="4295520"/>
                  <a:pt x="9039602" y="4266568"/>
                  <a:pt x="9075316" y="4266568"/>
                </a:cubicBezTo>
                <a:close/>
                <a:moveTo>
                  <a:pt x="6742375" y="4266568"/>
                </a:moveTo>
                <a:cubicBezTo>
                  <a:pt x="6778089" y="4266568"/>
                  <a:pt x="6807041" y="4295520"/>
                  <a:pt x="6807041" y="4331234"/>
                </a:cubicBezTo>
                <a:cubicBezTo>
                  <a:pt x="6807041" y="4366948"/>
                  <a:pt x="6778089" y="4395900"/>
                  <a:pt x="6742375" y="4395900"/>
                </a:cubicBezTo>
                <a:cubicBezTo>
                  <a:pt x="6706661" y="4395900"/>
                  <a:pt x="6677709" y="4366948"/>
                  <a:pt x="6677709" y="4331234"/>
                </a:cubicBezTo>
                <a:cubicBezTo>
                  <a:pt x="6677709" y="4295520"/>
                  <a:pt x="6706661" y="4266568"/>
                  <a:pt x="6742375" y="4266568"/>
                </a:cubicBezTo>
                <a:close/>
                <a:moveTo>
                  <a:pt x="6585802" y="4266568"/>
                </a:moveTo>
                <a:cubicBezTo>
                  <a:pt x="6621516" y="4266568"/>
                  <a:pt x="6650468" y="4295520"/>
                  <a:pt x="6650468" y="4331234"/>
                </a:cubicBezTo>
                <a:cubicBezTo>
                  <a:pt x="6650468" y="4366948"/>
                  <a:pt x="6621516" y="4395900"/>
                  <a:pt x="6585802" y="4395900"/>
                </a:cubicBezTo>
                <a:cubicBezTo>
                  <a:pt x="6550088" y="4395900"/>
                  <a:pt x="6521136" y="4366948"/>
                  <a:pt x="6521136" y="4331234"/>
                </a:cubicBezTo>
                <a:cubicBezTo>
                  <a:pt x="6521136" y="4295520"/>
                  <a:pt x="6550088" y="4266568"/>
                  <a:pt x="6585802" y="4266568"/>
                </a:cubicBezTo>
                <a:close/>
                <a:moveTo>
                  <a:pt x="6429228" y="4266568"/>
                </a:moveTo>
                <a:cubicBezTo>
                  <a:pt x="6464942" y="4266568"/>
                  <a:pt x="6493894" y="4295520"/>
                  <a:pt x="6493894" y="4331234"/>
                </a:cubicBezTo>
                <a:cubicBezTo>
                  <a:pt x="6493894" y="4366948"/>
                  <a:pt x="6464942" y="4395900"/>
                  <a:pt x="6429228" y="4395900"/>
                </a:cubicBezTo>
                <a:cubicBezTo>
                  <a:pt x="6393514" y="4395900"/>
                  <a:pt x="6364562" y="4366948"/>
                  <a:pt x="6364562" y="4331234"/>
                </a:cubicBezTo>
                <a:cubicBezTo>
                  <a:pt x="6364562" y="4295520"/>
                  <a:pt x="6393514" y="4266568"/>
                  <a:pt x="6429228" y="4266568"/>
                </a:cubicBezTo>
                <a:close/>
                <a:moveTo>
                  <a:pt x="6276569" y="4266568"/>
                </a:moveTo>
                <a:cubicBezTo>
                  <a:pt x="6312283" y="4266568"/>
                  <a:pt x="6341235" y="4295520"/>
                  <a:pt x="6341235" y="4331234"/>
                </a:cubicBezTo>
                <a:cubicBezTo>
                  <a:pt x="6341235" y="4366948"/>
                  <a:pt x="6312283" y="4395900"/>
                  <a:pt x="6276569" y="4395900"/>
                </a:cubicBezTo>
                <a:cubicBezTo>
                  <a:pt x="6240855" y="4395900"/>
                  <a:pt x="6211903" y="4366948"/>
                  <a:pt x="6211903" y="4331234"/>
                </a:cubicBezTo>
                <a:cubicBezTo>
                  <a:pt x="6211903" y="4295520"/>
                  <a:pt x="6240855" y="4266568"/>
                  <a:pt x="6276569" y="4266568"/>
                </a:cubicBezTo>
                <a:close/>
                <a:moveTo>
                  <a:pt x="6119998" y="4266568"/>
                </a:moveTo>
                <a:cubicBezTo>
                  <a:pt x="6155712" y="4266568"/>
                  <a:pt x="6184664" y="4295520"/>
                  <a:pt x="6184664" y="4331234"/>
                </a:cubicBezTo>
                <a:cubicBezTo>
                  <a:pt x="6184664" y="4366948"/>
                  <a:pt x="6155712" y="4395900"/>
                  <a:pt x="6119998" y="4395900"/>
                </a:cubicBezTo>
                <a:cubicBezTo>
                  <a:pt x="6084284" y="4395900"/>
                  <a:pt x="6055332" y="4366948"/>
                  <a:pt x="6055332" y="4331234"/>
                </a:cubicBezTo>
                <a:cubicBezTo>
                  <a:pt x="6055332" y="4295520"/>
                  <a:pt x="6084284" y="4266568"/>
                  <a:pt x="6119998" y="4266568"/>
                </a:cubicBezTo>
                <a:close/>
                <a:moveTo>
                  <a:pt x="5967338" y="4266568"/>
                </a:moveTo>
                <a:cubicBezTo>
                  <a:pt x="6003052" y="4266568"/>
                  <a:pt x="6032004" y="4295520"/>
                  <a:pt x="6032004" y="4331234"/>
                </a:cubicBezTo>
                <a:cubicBezTo>
                  <a:pt x="6032004" y="4366948"/>
                  <a:pt x="6003052" y="4395900"/>
                  <a:pt x="5967338" y="4395900"/>
                </a:cubicBezTo>
                <a:cubicBezTo>
                  <a:pt x="5931624" y="4395900"/>
                  <a:pt x="5902672" y="4366948"/>
                  <a:pt x="5902672" y="4331234"/>
                </a:cubicBezTo>
                <a:cubicBezTo>
                  <a:pt x="5902672" y="4295520"/>
                  <a:pt x="5931624" y="4266568"/>
                  <a:pt x="5967338" y="4266568"/>
                </a:cubicBezTo>
                <a:close/>
                <a:moveTo>
                  <a:pt x="4256780" y="4266568"/>
                </a:moveTo>
                <a:cubicBezTo>
                  <a:pt x="4292500" y="4266568"/>
                  <a:pt x="4321446" y="4295520"/>
                  <a:pt x="4321446" y="4331234"/>
                </a:cubicBezTo>
                <a:cubicBezTo>
                  <a:pt x="4321446" y="4366948"/>
                  <a:pt x="4292500" y="4395900"/>
                  <a:pt x="4256780" y="4395900"/>
                </a:cubicBezTo>
                <a:cubicBezTo>
                  <a:pt x="4221067" y="4395900"/>
                  <a:pt x="4192113" y="4366948"/>
                  <a:pt x="4192113" y="4331234"/>
                </a:cubicBezTo>
                <a:cubicBezTo>
                  <a:pt x="4192113" y="4295520"/>
                  <a:pt x="4221067" y="4266568"/>
                  <a:pt x="4256780" y="4266568"/>
                </a:cubicBezTo>
                <a:close/>
                <a:moveTo>
                  <a:pt x="4100211" y="4266568"/>
                </a:moveTo>
                <a:cubicBezTo>
                  <a:pt x="4135921" y="4266568"/>
                  <a:pt x="4164879" y="4295520"/>
                  <a:pt x="4164879" y="4331234"/>
                </a:cubicBezTo>
                <a:cubicBezTo>
                  <a:pt x="4164879" y="4366948"/>
                  <a:pt x="4135921" y="4395900"/>
                  <a:pt x="4100211" y="4395900"/>
                </a:cubicBezTo>
                <a:cubicBezTo>
                  <a:pt x="4064497" y="4395900"/>
                  <a:pt x="4035548" y="4366948"/>
                  <a:pt x="4035548" y="4331234"/>
                </a:cubicBezTo>
                <a:cubicBezTo>
                  <a:pt x="4035548" y="4295520"/>
                  <a:pt x="4064497" y="4266568"/>
                  <a:pt x="4100211" y="4266568"/>
                </a:cubicBezTo>
                <a:close/>
                <a:moveTo>
                  <a:pt x="3947545" y="4266568"/>
                </a:moveTo>
                <a:cubicBezTo>
                  <a:pt x="3983262" y="4266568"/>
                  <a:pt x="4012217" y="4295520"/>
                  <a:pt x="4012217" y="4331234"/>
                </a:cubicBezTo>
                <a:cubicBezTo>
                  <a:pt x="4012217" y="4366948"/>
                  <a:pt x="3983262" y="4395900"/>
                  <a:pt x="3947545" y="4395900"/>
                </a:cubicBezTo>
                <a:cubicBezTo>
                  <a:pt x="3911853" y="4395900"/>
                  <a:pt x="3882903" y="4366948"/>
                  <a:pt x="3882903" y="4331234"/>
                </a:cubicBezTo>
                <a:cubicBezTo>
                  <a:pt x="3882903" y="4295520"/>
                  <a:pt x="3911853" y="4266568"/>
                  <a:pt x="3947545" y="4266568"/>
                </a:cubicBezTo>
                <a:close/>
                <a:moveTo>
                  <a:pt x="3790995" y="4266568"/>
                </a:moveTo>
                <a:cubicBezTo>
                  <a:pt x="3826709" y="4266568"/>
                  <a:pt x="3855662" y="4295520"/>
                  <a:pt x="3855662" y="4331234"/>
                </a:cubicBezTo>
                <a:cubicBezTo>
                  <a:pt x="3855662" y="4366948"/>
                  <a:pt x="3826709" y="4395900"/>
                  <a:pt x="3790995" y="4395900"/>
                </a:cubicBezTo>
                <a:cubicBezTo>
                  <a:pt x="3755281" y="4395900"/>
                  <a:pt x="3726328" y="4366948"/>
                  <a:pt x="3726328" y="4331234"/>
                </a:cubicBezTo>
                <a:cubicBezTo>
                  <a:pt x="3726328" y="4295520"/>
                  <a:pt x="3755281" y="4266568"/>
                  <a:pt x="3790995" y="4266568"/>
                </a:cubicBezTo>
                <a:close/>
                <a:moveTo>
                  <a:pt x="3630508" y="4266568"/>
                </a:moveTo>
                <a:cubicBezTo>
                  <a:pt x="3666222" y="4266568"/>
                  <a:pt x="3695175" y="4295520"/>
                  <a:pt x="3695175" y="4331234"/>
                </a:cubicBezTo>
                <a:cubicBezTo>
                  <a:pt x="3695175" y="4366948"/>
                  <a:pt x="3666222" y="4395900"/>
                  <a:pt x="3630508" y="4395900"/>
                </a:cubicBezTo>
                <a:cubicBezTo>
                  <a:pt x="3594791" y="4395900"/>
                  <a:pt x="3565840" y="4366948"/>
                  <a:pt x="3565840" y="4331234"/>
                </a:cubicBezTo>
                <a:cubicBezTo>
                  <a:pt x="3565840" y="4295520"/>
                  <a:pt x="3594791" y="4266568"/>
                  <a:pt x="3630508" y="4266568"/>
                </a:cubicBezTo>
                <a:close/>
                <a:moveTo>
                  <a:pt x="3481762" y="4266568"/>
                </a:moveTo>
                <a:cubicBezTo>
                  <a:pt x="3517475" y="4266568"/>
                  <a:pt x="3546428" y="4295520"/>
                  <a:pt x="3546428" y="4331234"/>
                </a:cubicBezTo>
                <a:cubicBezTo>
                  <a:pt x="3546428" y="4366948"/>
                  <a:pt x="3517475" y="4395900"/>
                  <a:pt x="3481762" y="4395900"/>
                </a:cubicBezTo>
                <a:cubicBezTo>
                  <a:pt x="3446050" y="4395900"/>
                  <a:pt x="3417099" y="4366948"/>
                  <a:pt x="3417099" y="4331234"/>
                </a:cubicBezTo>
                <a:cubicBezTo>
                  <a:pt x="3417099" y="4295520"/>
                  <a:pt x="3446050" y="4266568"/>
                  <a:pt x="3481762" y="4266568"/>
                </a:cubicBezTo>
                <a:close/>
                <a:moveTo>
                  <a:pt x="3321282" y="4266568"/>
                </a:moveTo>
                <a:cubicBezTo>
                  <a:pt x="3356996" y="4266568"/>
                  <a:pt x="3385942" y="4295520"/>
                  <a:pt x="3385942" y="4331234"/>
                </a:cubicBezTo>
                <a:cubicBezTo>
                  <a:pt x="3385942" y="4366948"/>
                  <a:pt x="3356996" y="4395900"/>
                  <a:pt x="3321282" y="4395900"/>
                </a:cubicBezTo>
                <a:cubicBezTo>
                  <a:pt x="3285566" y="4395900"/>
                  <a:pt x="3256617" y="4366948"/>
                  <a:pt x="3256617" y="4331234"/>
                </a:cubicBezTo>
                <a:cubicBezTo>
                  <a:pt x="3256617" y="4295520"/>
                  <a:pt x="3285566" y="4266568"/>
                  <a:pt x="3321282" y="4266568"/>
                </a:cubicBezTo>
                <a:close/>
                <a:moveTo>
                  <a:pt x="3172532" y="4266568"/>
                </a:moveTo>
                <a:cubicBezTo>
                  <a:pt x="3208248" y="4266568"/>
                  <a:pt x="3237198" y="4295520"/>
                  <a:pt x="3237198" y="4331234"/>
                </a:cubicBezTo>
                <a:cubicBezTo>
                  <a:pt x="3237198" y="4366948"/>
                  <a:pt x="3208248" y="4395900"/>
                  <a:pt x="3172532" y="4395900"/>
                </a:cubicBezTo>
                <a:cubicBezTo>
                  <a:pt x="3136816" y="4395900"/>
                  <a:pt x="3107863" y="4366948"/>
                  <a:pt x="3107863" y="4331234"/>
                </a:cubicBezTo>
                <a:cubicBezTo>
                  <a:pt x="3107863" y="4295520"/>
                  <a:pt x="3136816" y="4266568"/>
                  <a:pt x="3172532" y="4266568"/>
                </a:cubicBezTo>
                <a:close/>
                <a:moveTo>
                  <a:pt x="3012039" y="4266568"/>
                </a:moveTo>
                <a:cubicBezTo>
                  <a:pt x="3047752" y="4266568"/>
                  <a:pt x="3076706" y="4295520"/>
                  <a:pt x="3076706" y="4331234"/>
                </a:cubicBezTo>
                <a:cubicBezTo>
                  <a:pt x="3076706" y="4366948"/>
                  <a:pt x="3047752" y="4395900"/>
                  <a:pt x="3012039" y="4395900"/>
                </a:cubicBezTo>
                <a:cubicBezTo>
                  <a:pt x="2976326" y="4395900"/>
                  <a:pt x="2947375" y="4366948"/>
                  <a:pt x="2947375" y="4331234"/>
                </a:cubicBezTo>
                <a:cubicBezTo>
                  <a:pt x="2947375" y="4295520"/>
                  <a:pt x="2976326" y="4266568"/>
                  <a:pt x="3012039" y="4266568"/>
                </a:cubicBezTo>
                <a:close/>
                <a:moveTo>
                  <a:pt x="10159586" y="4113910"/>
                </a:moveTo>
                <a:cubicBezTo>
                  <a:pt x="10195300" y="4113910"/>
                  <a:pt x="10224252" y="4142862"/>
                  <a:pt x="10224252" y="4178576"/>
                </a:cubicBezTo>
                <a:cubicBezTo>
                  <a:pt x="10224252" y="4214290"/>
                  <a:pt x="10195300" y="4243242"/>
                  <a:pt x="10159586" y="4243242"/>
                </a:cubicBezTo>
                <a:cubicBezTo>
                  <a:pt x="10123872" y="4243242"/>
                  <a:pt x="10094920" y="4214290"/>
                  <a:pt x="10094920" y="4178576"/>
                </a:cubicBezTo>
                <a:cubicBezTo>
                  <a:pt x="10094920" y="4142862"/>
                  <a:pt x="10123872" y="4113910"/>
                  <a:pt x="10159586" y="4113910"/>
                </a:cubicBezTo>
                <a:close/>
                <a:moveTo>
                  <a:pt x="10003015" y="4113910"/>
                </a:moveTo>
                <a:cubicBezTo>
                  <a:pt x="10038729" y="4113910"/>
                  <a:pt x="10067681" y="4142862"/>
                  <a:pt x="10067681" y="4178576"/>
                </a:cubicBezTo>
                <a:cubicBezTo>
                  <a:pt x="10067681" y="4214290"/>
                  <a:pt x="10038729" y="4243242"/>
                  <a:pt x="10003015" y="4243242"/>
                </a:cubicBezTo>
                <a:cubicBezTo>
                  <a:pt x="9967301" y="4243242"/>
                  <a:pt x="9938349" y="4214290"/>
                  <a:pt x="9938349" y="4178576"/>
                </a:cubicBezTo>
                <a:cubicBezTo>
                  <a:pt x="9938349" y="4142862"/>
                  <a:pt x="9967301" y="4113910"/>
                  <a:pt x="10003015" y="4113910"/>
                </a:cubicBezTo>
                <a:close/>
                <a:moveTo>
                  <a:pt x="9850355" y="4113910"/>
                </a:moveTo>
                <a:cubicBezTo>
                  <a:pt x="9886069" y="4113910"/>
                  <a:pt x="9915021" y="4142862"/>
                  <a:pt x="9915021" y="4178576"/>
                </a:cubicBezTo>
                <a:cubicBezTo>
                  <a:pt x="9915021" y="4214290"/>
                  <a:pt x="9886069" y="4243242"/>
                  <a:pt x="9850355" y="4243242"/>
                </a:cubicBezTo>
                <a:cubicBezTo>
                  <a:pt x="9814641" y="4243242"/>
                  <a:pt x="9785689" y="4214290"/>
                  <a:pt x="9785689" y="4178576"/>
                </a:cubicBezTo>
                <a:cubicBezTo>
                  <a:pt x="9785689" y="4142862"/>
                  <a:pt x="9814641" y="4113910"/>
                  <a:pt x="9850355" y="4113910"/>
                </a:cubicBezTo>
                <a:close/>
                <a:moveTo>
                  <a:pt x="9384549" y="4113910"/>
                </a:moveTo>
                <a:cubicBezTo>
                  <a:pt x="9420263" y="4113910"/>
                  <a:pt x="9449215" y="4142862"/>
                  <a:pt x="9449215" y="4178576"/>
                </a:cubicBezTo>
                <a:cubicBezTo>
                  <a:pt x="9449215" y="4214290"/>
                  <a:pt x="9420263" y="4243242"/>
                  <a:pt x="9384549" y="4243242"/>
                </a:cubicBezTo>
                <a:cubicBezTo>
                  <a:pt x="9348835" y="4243242"/>
                  <a:pt x="9319883" y="4214290"/>
                  <a:pt x="9319883" y="4178576"/>
                </a:cubicBezTo>
                <a:cubicBezTo>
                  <a:pt x="9319883" y="4142862"/>
                  <a:pt x="9348835" y="4113910"/>
                  <a:pt x="9384549" y="4113910"/>
                </a:cubicBezTo>
                <a:close/>
                <a:moveTo>
                  <a:pt x="8914828" y="4113910"/>
                </a:moveTo>
                <a:cubicBezTo>
                  <a:pt x="8950542" y="4113910"/>
                  <a:pt x="8979494" y="4142862"/>
                  <a:pt x="8979494" y="4178576"/>
                </a:cubicBezTo>
                <a:cubicBezTo>
                  <a:pt x="8979494" y="4214290"/>
                  <a:pt x="8950542" y="4243242"/>
                  <a:pt x="8914828" y="4243242"/>
                </a:cubicBezTo>
                <a:cubicBezTo>
                  <a:pt x="8879114" y="4243242"/>
                  <a:pt x="8850162" y="4214290"/>
                  <a:pt x="8850162" y="4178576"/>
                </a:cubicBezTo>
                <a:cubicBezTo>
                  <a:pt x="8850162" y="4142862"/>
                  <a:pt x="8879114" y="4113910"/>
                  <a:pt x="8914828" y="4113910"/>
                </a:cubicBezTo>
                <a:close/>
                <a:moveTo>
                  <a:pt x="6742375" y="4113910"/>
                </a:moveTo>
                <a:cubicBezTo>
                  <a:pt x="6778089" y="4113910"/>
                  <a:pt x="6807041" y="4142862"/>
                  <a:pt x="6807041" y="4178576"/>
                </a:cubicBezTo>
                <a:cubicBezTo>
                  <a:pt x="6807041" y="4214290"/>
                  <a:pt x="6778089" y="4243242"/>
                  <a:pt x="6742375" y="4243242"/>
                </a:cubicBezTo>
                <a:cubicBezTo>
                  <a:pt x="6706661" y="4243242"/>
                  <a:pt x="6677709" y="4214290"/>
                  <a:pt x="6677709" y="4178576"/>
                </a:cubicBezTo>
                <a:cubicBezTo>
                  <a:pt x="6677709" y="4142862"/>
                  <a:pt x="6706661" y="4113910"/>
                  <a:pt x="6742375" y="4113910"/>
                </a:cubicBezTo>
                <a:close/>
                <a:moveTo>
                  <a:pt x="6585802" y="4113910"/>
                </a:moveTo>
                <a:cubicBezTo>
                  <a:pt x="6621516" y="4113910"/>
                  <a:pt x="6650468" y="4142862"/>
                  <a:pt x="6650468" y="4178576"/>
                </a:cubicBezTo>
                <a:cubicBezTo>
                  <a:pt x="6650468" y="4214290"/>
                  <a:pt x="6621516" y="4243242"/>
                  <a:pt x="6585802" y="4243242"/>
                </a:cubicBezTo>
                <a:cubicBezTo>
                  <a:pt x="6550088" y="4243242"/>
                  <a:pt x="6521136" y="4214290"/>
                  <a:pt x="6521136" y="4178576"/>
                </a:cubicBezTo>
                <a:cubicBezTo>
                  <a:pt x="6521136" y="4142862"/>
                  <a:pt x="6550088" y="4113910"/>
                  <a:pt x="6585802" y="4113910"/>
                </a:cubicBezTo>
                <a:close/>
                <a:moveTo>
                  <a:pt x="6429228" y="4113910"/>
                </a:moveTo>
                <a:cubicBezTo>
                  <a:pt x="6464942" y="4113910"/>
                  <a:pt x="6493894" y="4142862"/>
                  <a:pt x="6493894" y="4178576"/>
                </a:cubicBezTo>
                <a:cubicBezTo>
                  <a:pt x="6493894" y="4214290"/>
                  <a:pt x="6464942" y="4243242"/>
                  <a:pt x="6429228" y="4243242"/>
                </a:cubicBezTo>
                <a:cubicBezTo>
                  <a:pt x="6393514" y="4243242"/>
                  <a:pt x="6364562" y="4214290"/>
                  <a:pt x="6364562" y="4178576"/>
                </a:cubicBezTo>
                <a:cubicBezTo>
                  <a:pt x="6364562" y="4142862"/>
                  <a:pt x="6393514" y="4113910"/>
                  <a:pt x="6429228" y="4113910"/>
                </a:cubicBezTo>
                <a:close/>
                <a:moveTo>
                  <a:pt x="6276569" y="4113910"/>
                </a:moveTo>
                <a:cubicBezTo>
                  <a:pt x="6312283" y="4113910"/>
                  <a:pt x="6341235" y="4142862"/>
                  <a:pt x="6341235" y="4178576"/>
                </a:cubicBezTo>
                <a:cubicBezTo>
                  <a:pt x="6341235" y="4214290"/>
                  <a:pt x="6312283" y="4243242"/>
                  <a:pt x="6276569" y="4243242"/>
                </a:cubicBezTo>
                <a:cubicBezTo>
                  <a:pt x="6240855" y="4243242"/>
                  <a:pt x="6211903" y="4214290"/>
                  <a:pt x="6211903" y="4178576"/>
                </a:cubicBezTo>
                <a:cubicBezTo>
                  <a:pt x="6211903" y="4142862"/>
                  <a:pt x="6240855" y="4113910"/>
                  <a:pt x="6276569" y="4113910"/>
                </a:cubicBezTo>
                <a:close/>
                <a:moveTo>
                  <a:pt x="6119998" y="4113910"/>
                </a:moveTo>
                <a:cubicBezTo>
                  <a:pt x="6155712" y="4113910"/>
                  <a:pt x="6184664" y="4142862"/>
                  <a:pt x="6184664" y="4178576"/>
                </a:cubicBezTo>
                <a:cubicBezTo>
                  <a:pt x="6184664" y="4214290"/>
                  <a:pt x="6155712" y="4243242"/>
                  <a:pt x="6119998" y="4243242"/>
                </a:cubicBezTo>
                <a:cubicBezTo>
                  <a:pt x="6084284" y="4243242"/>
                  <a:pt x="6055332" y="4214290"/>
                  <a:pt x="6055332" y="4178576"/>
                </a:cubicBezTo>
                <a:cubicBezTo>
                  <a:pt x="6055332" y="4142862"/>
                  <a:pt x="6084284" y="4113910"/>
                  <a:pt x="6119998" y="4113910"/>
                </a:cubicBezTo>
                <a:close/>
                <a:moveTo>
                  <a:pt x="5967338" y="4113910"/>
                </a:moveTo>
                <a:cubicBezTo>
                  <a:pt x="6003052" y="4113910"/>
                  <a:pt x="6032004" y="4142862"/>
                  <a:pt x="6032004" y="4178576"/>
                </a:cubicBezTo>
                <a:cubicBezTo>
                  <a:pt x="6032004" y="4214290"/>
                  <a:pt x="6003052" y="4243242"/>
                  <a:pt x="5967338" y="4243242"/>
                </a:cubicBezTo>
                <a:cubicBezTo>
                  <a:pt x="5931624" y="4243242"/>
                  <a:pt x="5902672" y="4214290"/>
                  <a:pt x="5902672" y="4178576"/>
                </a:cubicBezTo>
                <a:cubicBezTo>
                  <a:pt x="5902672" y="4142862"/>
                  <a:pt x="5931624" y="4113910"/>
                  <a:pt x="5967338" y="4113910"/>
                </a:cubicBezTo>
                <a:close/>
                <a:moveTo>
                  <a:pt x="4256780" y="4113910"/>
                </a:moveTo>
                <a:cubicBezTo>
                  <a:pt x="4292500" y="4113910"/>
                  <a:pt x="4321446" y="4142862"/>
                  <a:pt x="4321446" y="4178576"/>
                </a:cubicBezTo>
                <a:cubicBezTo>
                  <a:pt x="4321446" y="4214290"/>
                  <a:pt x="4292500" y="4243242"/>
                  <a:pt x="4256780" y="4243242"/>
                </a:cubicBezTo>
                <a:cubicBezTo>
                  <a:pt x="4221067" y="4243242"/>
                  <a:pt x="4192119" y="4214290"/>
                  <a:pt x="4192119" y="4178576"/>
                </a:cubicBezTo>
                <a:cubicBezTo>
                  <a:pt x="4192119" y="4142862"/>
                  <a:pt x="4221067" y="4113910"/>
                  <a:pt x="4256780" y="4113910"/>
                </a:cubicBezTo>
                <a:close/>
                <a:moveTo>
                  <a:pt x="4100213" y="4113910"/>
                </a:moveTo>
                <a:cubicBezTo>
                  <a:pt x="4135925" y="4113910"/>
                  <a:pt x="4164879" y="4142862"/>
                  <a:pt x="4164879" y="4178576"/>
                </a:cubicBezTo>
                <a:cubicBezTo>
                  <a:pt x="4164879" y="4214290"/>
                  <a:pt x="4135925" y="4243242"/>
                  <a:pt x="4100213" y="4243242"/>
                </a:cubicBezTo>
                <a:cubicBezTo>
                  <a:pt x="4064497" y="4243242"/>
                  <a:pt x="4035548" y="4214290"/>
                  <a:pt x="4035548" y="4178576"/>
                </a:cubicBezTo>
                <a:cubicBezTo>
                  <a:pt x="4035548" y="4142862"/>
                  <a:pt x="4064497" y="4113910"/>
                  <a:pt x="4100213" y="4113910"/>
                </a:cubicBezTo>
                <a:close/>
                <a:moveTo>
                  <a:pt x="3947550" y="4113910"/>
                </a:moveTo>
                <a:cubicBezTo>
                  <a:pt x="3983265" y="4113910"/>
                  <a:pt x="4012217" y="4142862"/>
                  <a:pt x="4012217" y="4178576"/>
                </a:cubicBezTo>
                <a:cubicBezTo>
                  <a:pt x="4012217" y="4214290"/>
                  <a:pt x="3983265" y="4243242"/>
                  <a:pt x="3947550" y="4243242"/>
                </a:cubicBezTo>
                <a:cubicBezTo>
                  <a:pt x="3911857" y="4243242"/>
                  <a:pt x="3882906" y="4214290"/>
                  <a:pt x="3882906" y="4178576"/>
                </a:cubicBezTo>
                <a:cubicBezTo>
                  <a:pt x="3882906" y="4142862"/>
                  <a:pt x="3911857" y="4113910"/>
                  <a:pt x="3947550" y="4113910"/>
                </a:cubicBezTo>
                <a:close/>
                <a:moveTo>
                  <a:pt x="3791000" y="4113910"/>
                </a:moveTo>
                <a:cubicBezTo>
                  <a:pt x="3826712" y="4113910"/>
                  <a:pt x="3855665" y="4142862"/>
                  <a:pt x="3855665" y="4178576"/>
                </a:cubicBezTo>
                <a:cubicBezTo>
                  <a:pt x="3855665" y="4214290"/>
                  <a:pt x="3826712" y="4243242"/>
                  <a:pt x="3791000" y="4243242"/>
                </a:cubicBezTo>
                <a:cubicBezTo>
                  <a:pt x="3755284" y="4243242"/>
                  <a:pt x="3726332" y="4214290"/>
                  <a:pt x="3726332" y="4178576"/>
                </a:cubicBezTo>
                <a:cubicBezTo>
                  <a:pt x="3726332" y="4142862"/>
                  <a:pt x="3755284" y="4113910"/>
                  <a:pt x="3791000" y="4113910"/>
                </a:cubicBezTo>
                <a:close/>
                <a:moveTo>
                  <a:pt x="3630513" y="4113910"/>
                </a:moveTo>
                <a:cubicBezTo>
                  <a:pt x="3666226" y="4113910"/>
                  <a:pt x="3695178" y="4142862"/>
                  <a:pt x="3695178" y="4178576"/>
                </a:cubicBezTo>
                <a:cubicBezTo>
                  <a:pt x="3695178" y="4214290"/>
                  <a:pt x="3666226" y="4243242"/>
                  <a:pt x="3630513" y="4243242"/>
                </a:cubicBezTo>
                <a:cubicBezTo>
                  <a:pt x="3594796" y="4243242"/>
                  <a:pt x="3565843" y="4214290"/>
                  <a:pt x="3565843" y="4178576"/>
                </a:cubicBezTo>
                <a:cubicBezTo>
                  <a:pt x="3565843" y="4142862"/>
                  <a:pt x="3594796" y="4113910"/>
                  <a:pt x="3630513" y="4113910"/>
                </a:cubicBezTo>
                <a:close/>
                <a:moveTo>
                  <a:pt x="3481765" y="4113910"/>
                </a:moveTo>
                <a:cubicBezTo>
                  <a:pt x="3517478" y="4113910"/>
                  <a:pt x="3546432" y="4142862"/>
                  <a:pt x="3546432" y="4178576"/>
                </a:cubicBezTo>
                <a:cubicBezTo>
                  <a:pt x="3546432" y="4214290"/>
                  <a:pt x="3517478" y="4243242"/>
                  <a:pt x="3481765" y="4243242"/>
                </a:cubicBezTo>
                <a:cubicBezTo>
                  <a:pt x="3446054" y="4243242"/>
                  <a:pt x="3417102" y="4214290"/>
                  <a:pt x="3417102" y="4178576"/>
                </a:cubicBezTo>
                <a:cubicBezTo>
                  <a:pt x="3417102" y="4142862"/>
                  <a:pt x="3446054" y="4113910"/>
                  <a:pt x="3481765" y="4113910"/>
                </a:cubicBezTo>
                <a:close/>
                <a:moveTo>
                  <a:pt x="3321284" y="4113910"/>
                </a:moveTo>
                <a:cubicBezTo>
                  <a:pt x="3357000" y="4113910"/>
                  <a:pt x="3385944" y="4142862"/>
                  <a:pt x="3385944" y="4178576"/>
                </a:cubicBezTo>
                <a:cubicBezTo>
                  <a:pt x="3385944" y="4214290"/>
                  <a:pt x="3357000" y="4243242"/>
                  <a:pt x="3321284" y="4243242"/>
                </a:cubicBezTo>
                <a:cubicBezTo>
                  <a:pt x="3285568" y="4243242"/>
                  <a:pt x="3256621" y="4214290"/>
                  <a:pt x="3256621" y="4178576"/>
                </a:cubicBezTo>
                <a:cubicBezTo>
                  <a:pt x="3256621" y="4142862"/>
                  <a:pt x="3285568" y="4113910"/>
                  <a:pt x="3321284" y="4113910"/>
                </a:cubicBezTo>
                <a:close/>
                <a:moveTo>
                  <a:pt x="3172536" y="4113910"/>
                </a:moveTo>
                <a:cubicBezTo>
                  <a:pt x="3208251" y="4113910"/>
                  <a:pt x="3237201" y="4142862"/>
                  <a:pt x="3237201" y="4178576"/>
                </a:cubicBezTo>
                <a:cubicBezTo>
                  <a:pt x="3237201" y="4214290"/>
                  <a:pt x="3208251" y="4243242"/>
                  <a:pt x="3172536" y="4243242"/>
                </a:cubicBezTo>
                <a:cubicBezTo>
                  <a:pt x="3136820" y="4243242"/>
                  <a:pt x="3107865" y="4214290"/>
                  <a:pt x="3107865" y="4178576"/>
                </a:cubicBezTo>
                <a:cubicBezTo>
                  <a:pt x="3107865" y="4142862"/>
                  <a:pt x="3136820" y="4113910"/>
                  <a:pt x="3172536" y="4113910"/>
                </a:cubicBezTo>
                <a:close/>
                <a:moveTo>
                  <a:pt x="3012042" y="4113910"/>
                </a:moveTo>
                <a:cubicBezTo>
                  <a:pt x="3047754" y="4113910"/>
                  <a:pt x="3076709" y="4142862"/>
                  <a:pt x="3076709" y="4178576"/>
                </a:cubicBezTo>
                <a:cubicBezTo>
                  <a:pt x="3076709" y="4214290"/>
                  <a:pt x="3047754" y="4243242"/>
                  <a:pt x="3012042" y="4243242"/>
                </a:cubicBezTo>
                <a:cubicBezTo>
                  <a:pt x="2976329" y="4243242"/>
                  <a:pt x="2947378" y="4214290"/>
                  <a:pt x="2947378" y="4178576"/>
                </a:cubicBezTo>
                <a:cubicBezTo>
                  <a:pt x="2947378" y="4142862"/>
                  <a:pt x="2976329" y="4113910"/>
                  <a:pt x="3012042" y="4113910"/>
                </a:cubicBezTo>
                <a:close/>
                <a:moveTo>
                  <a:pt x="2855474" y="4113910"/>
                </a:moveTo>
                <a:cubicBezTo>
                  <a:pt x="2891188" y="4113910"/>
                  <a:pt x="2920138" y="4142862"/>
                  <a:pt x="2920138" y="4178576"/>
                </a:cubicBezTo>
                <a:cubicBezTo>
                  <a:pt x="2920138" y="4214290"/>
                  <a:pt x="2891188" y="4243242"/>
                  <a:pt x="2855474" y="4243242"/>
                </a:cubicBezTo>
                <a:cubicBezTo>
                  <a:pt x="2819762" y="4243242"/>
                  <a:pt x="2790811" y="4214290"/>
                  <a:pt x="2790811" y="4178576"/>
                </a:cubicBezTo>
                <a:cubicBezTo>
                  <a:pt x="2790811" y="4142862"/>
                  <a:pt x="2819762" y="4113910"/>
                  <a:pt x="2855474" y="4113910"/>
                </a:cubicBezTo>
                <a:close/>
                <a:moveTo>
                  <a:pt x="9384549" y="3972994"/>
                </a:moveTo>
                <a:cubicBezTo>
                  <a:pt x="9420263" y="3972994"/>
                  <a:pt x="9449215" y="4001946"/>
                  <a:pt x="9449215" y="4037660"/>
                </a:cubicBezTo>
                <a:cubicBezTo>
                  <a:pt x="9449215" y="4073374"/>
                  <a:pt x="9420263" y="4102326"/>
                  <a:pt x="9384549" y="4102326"/>
                </a:cubicBezTo>
                <a:cubicBezTo>
                  <a:pt x="9348835" y="4102326"/>
                  <a:pt x="9319883" y="4073374"/>
                  <a:pt x="9319883" y="4037660"/>
                </a:cubicBezTo>
                <a:cubicBezTo>
                  <a:pt x="9319883" y="4001946"/>
                  <a:pt x="9348835" y="3972994"/>
                  <a:pt x="9384549" y="3972994"/>
                </a:cubicBezTo>
                <a:close/>
                <a:moveTo>
                  <a:pt x="9227976" y="3972994"/>
                </a:moveTo>
                <a:cubicBezTo>
                  <a:pt x="9263690" y="3972994"/>
                  <a:pt x="9292642" y="4001946"/>
                  <a:pt x="9292642" y="4037660"/>
                </a:cubicBezTo>
                <a:cubicBezTo>
                  <a:pt x="9292642" y="4073374"/>
                  <a:pt x="9263690" y="4102326"/>
                  <a:pt x="9227976" y="4102326"/>
                </a:cubicBezTo>
                <a:cubicBezTo>
                  <a:pt x="9192262" y="4102326"/>
                  <a:pt x="9163310" y="4073374"/>
                  <a:pt x="9163310" y="4037660"/>
                </a:cubicBezTo>
                <a:cubicBezTo>
                  <a:pt x="9163310" y="4001946"/>
                  <a:pt x="9192262" y="3972994"/>
                  <a:pt x="9227976" y="3972994"/>
                </a:cubicBezTo>
                <a:close/>
                <a:moveTo>
                  <a:pt x="9075316" y="3972994"/>
                </a:moveTo>
                <a:cubicBezTo>
                  <a:pt x="9111030" y="3972994"/>
                  <a:pt x="9139982" y="4001946"/>
                  <a:pt x="9139982" y="4037660"/>
                </a:cubicBezTo>
                <a:cubicBezTo>
                  <a:pt x="9139982" y="4073374"/>
                  <a:pt x="9111030" y="4102326"/>
                  <a:pt x="9075316" y="4102326"/>
                </a:cubicBezTo>
                <a:cubicBezTo>
                  <a:pt x="9039602" y="4102326"/>
                  <a:pt x="9010650" y="4073374"/>
                  <a:pt x="9010650" y="4037660"/>
                </a:cubicBezTo>
                <a:cubicBezTo>
                  <a:pt x="9010650" y="4001946"/>
                  <a:pt x="9039602" y="3972994"/>
                  <a:pt x="9075316" y="3972994"/>
                </a:cubicBezTo>
                <a:close/>
                <a:moveTo>
                  <a:pt x="8766084" y="3972994"/>
                </a:moveTo>
                <a:cubicBezTo>
                  <a:pt x="8801798" y="3972994"/>
                  <a:pt x="8830750" y="4001946"/>
                  <a:pt x="8830750" y="4037660"/>
                </a:cubicBezTo>
                <a:cubicBezTo>
                  <a:pt x="8830750" y="4073374"/>
                  <a:pt x="8801798" y="4102326"/>
                  <a:pt x="8766084" y="4102326"/>
                </a:cubicBezTo>
                <a:cubicBezTo>
                  <a:pt x="8730370" y="4102326"/>
                  <a:pt x="8701418" y="4073374"/>
                  <a:pt x="8701418" y="4037660"/>
                </a:cubicBezTo>
                <a:cubicBezTo>
                  <a:pt x="8701418" y="4001946"/>
                  <a:pt x="8730370" y="3972994"/>
                  <a:pt x="8766084" y="3972994"/>
                </a:cubicBezTo>
                <a:close/>
                <a:moveTo>
                  <a:pt x="6895035" y="3972994"/>
                </a:moveTo>
                <a:cubicBezTo>
                  <a:pt x="6930749" y="3972994"/>
                  <a:pt x="6959701" y="4001946"/>
                  <a:pt x="6959701" y="4037660"/>
                </a:cubicBezTo>
                <a:cubicBezTo>
                  <a:pt x="6959701" y="4073374"/>
                  <a:pt x="6930749" y="4102326"/>
                  <a:pt x="6895035" y="4102326"/>
                </a:cubicBezTo>
                <a:cubicBezTo>
                  <a:pt x="6859321" y="4102326"/>
                  <a:pt x="6830369" y="4073374"/>
                  <a:pt x="6830369" y="4037660"/>
                </a:cubicBezTo>
                <a:cubicBezTo>
                  <a:pt x="6830369" y="4001946"/>
                  <a:pt x="6859321" y="3972994"/>
                  <a:pt x="6895035" y="3972994"/>
                </a:cubicBezTo>
                <a:close/>
                <a:moveTo>
                  <a:pt x="6742375" y="3972994"/>
                </a:moveTo>
                <a:cubicBezTo>
                  <a:pt x="6778089" y="3972994"/>
                  <a:pt x="6807041" y="4001946"/>
                  <a:pt x="6807041" y="4037660"/>
                </a:cubicBezTo>
                <a:cubicBezTo>
                  <a:pt x="6807041" y="4073374"/>
                  <a:pt x="6778089" y="4102326"/>
                  <a:pt x="6742375" y="4102326"/>
                </a:cubicBezTo>
                <a:cubicBezTo>
                  <a:pt x="6706661" y="4102326"/>
                  <a:pt x="6677709" y="4073374"/>
                  <a:pt x="6677709" y="4037660"/>
                </a:cubicBezTo>
                <a:cubicBezTo>
                  <a:pt x="6677709" y="4001946"/>
                  <a:pt x="6706661" y="3972994"/>
                  <a:pt x="6742375" y="3972994"/>
                </a:cubicBezTo>
                <a:close/>
                <a:moveTo>
                  <a:pt x="6585802" y="3972994"/>
                </a:moveTo>
                <a:cubicBezTo>
                  <a:pt x="6621516" y="3972994"/>
                  <a:pt x="6650468" y="4001946"/>
                  <a:pt x="6650468" y="4037660"/>
                </a:cubicBezTo>
                <a:cubicBezTo>
                  <a:pt x="6650468" y="4073374"/>
                  <a:pt x="6621516" y="4102326"/>
                  <a:pt x="6585802" y="4102326"/>
                </a:cubicBezTo>
                <a:cubicBezTo>
                  <a:pt x="6550088" y="4102326"/>
                  <a:pt x="6521136" y="4073374"/>
                  <a:pt x="6521136" y="4037660"/>
                </a:cubicBezTo>
                <a:cubicBezTo>
                  <a:pt x="6521136" y="4001946"/>
                  <a:pt x="6550088" y="3972994"/>
                  <a:pt x="6585802" y="3972994"/>
                </a:cubicBezTo>
                <a:close/>
                <a:moveTo>
                  <a:pt x="6429228" y="3972994"/>
                </a:moveTo>
                <a:cubicBezTo>
                  <a:pt x="6464942" y="3972994"/>
                  <a:pt x="6493894" y="4001946"/>
                  <a:pt x="6493894" y="4037660"/>
                </a:cubicBezTo>
                <a:cubicBezTo>
                  <a:pt x="6493894" y="4073374"/>
                  <a:pt x="6464942" y="4102326"/>
                  <a:pt x="6429228" y="4102326"/>
                </a:cubicBezTo>
                <a:cubicBezTo>
                  <a:pt x="6393514" y="4102326"/>
                  <a:pt x="6364562" y="4073374"/>
                  <a:pt x="6364562" y="4037660"/>
                </a:cubicBezTo>
                <a:cubicBezTo>
                  <a:pt x="6364562" y="4001946"/>
                  <a:pt x="6393514" y="3972994"/>
                  <a:pt x="6429228" y="3972994"/>
                </a:cubicBezTo>
                <a:close/>
                <a:moveTo>
                  <a:pt x="6276569" y="3972994"/>
                </a:moveTo>
                <a:cubicBezTo>
                  <a:pt x="6312283" y="3972994"/>
                  <a:pt x="6341235" y="4001946"/>
                  <a:pt x="6341235" y="4037660"/>
                </a:cubicBezTo>
                <a:cubicBezTo>
                  <a:pt x="6341235" y="4073374"/>
                  <a:pt x="6312283" y="4102326"/>
                  <a:pt x="6276569" y="4102326"/>
                </a:cubicBezTo>
                <a:cubicBezTo>
                  <a:pt x="6240855" y="4102326"/>
                  <a:pt x="6211903" y="4073374"/>
                  <a:pt x="6211903" y="4037660"/>
                </a:cubicBezTo>
                <a:cubicBezTo>
                  <a:pt x="6211903" y="4001946"/>
                  <a:pt x="6240855" y="3972994"/>
                  <a:pt x="6276569" y="3972994"/>
                </a:cubicBezTo>
                <a:close/>
                <a:moveTo>
                  <a:pt x="6119998" y="3972994"/>
                </a:moveTo>
                <a:cubicBezTo>
                  <a:pt x="6155712" y="3972994"/>
                  <a:pt x="6184664" y="4001946"/>
                  <a:pt x="6184664" y="4037660"/>
                </a:cubicBezTo>
                <a:cubicBezTo>
                  <a:pt x="6184664" y="4073374"/>
                  <a:pt x="6155712" y="4102326"/>
                  <a:pt x="6119998" y="4102326"/>
                </a:cubicBezTo>
                <a:cubicBezTo>
                  <a:pt x="6084284" y="4102326"/>
                  <a:pt x="6055332" y="4073374"/>
                  <a:pt x="6055332" y="4037660"/>
                </a:cubicBezTo>
                <a:cubicBezTo>
                  <a:pt x="6055332" y="4001946"/>
                  <a:pt x="6084284" y="3972994"/>
                  <a:pt x="6119998" y="3972994"/>
                </a:cubicBezTo>
                <a:close/>
                <a:moveTo>
                  <a:pt x="5967338" y="3972994"/>
                </a:moveTo>
                <a:cubicBezTo>
                  <a:pt x="6003052" y="3972994"/>
                  <a:pt x="6032004" y="4001946"/>
                  <a:pt x="6032004" y="4037660"/>
                </a:cubicBezTo>
                <a:cubicBezTo>
                  <a:pt x="6032004" y="4073374"/>
                  <a:pt x="6003052" y="4102326"/>
                  <a:pt x="5967338" y="4102326"/>
                </a:cubicBezTo>
                <a:cubicBezTo>
                  <a:pt x="5931624" y="4102326"/>
                  <a:pt x="5902672" y="4073374"/>
                  <a:pt x="5902672" y="4037660"/>
                </a:cubicBezTo>
                <a:cubicBezTo>
                  <a:pt x="5902672" y="4001946"/>
                  <a:pt x="5931624" y="3972994"/>
                  <a:pt x="5967338" y="3972994"/>
                </a:cubicBezTo>
                <a:close/>
                <a:moveTo>
                  <a:pt x="5810774" y="3972994"/>
                </a:moveTo>
                <a:cubicBezTo>
                  <a:pt x="5846479" y="3972994"/>
                  <a:pt x="5875431" y="4001946"/>
                  <a:pt x="5875431" y="4037660"/>
                </a:cubicBezTo>
                <a:cubicBezTo>
                  <a:pt x="5875431" y="4073374"/>
                  <a:pt x="5846479" y="4102326"/>
                  <a:pt x="5810774" y="4102326"/>
                </a:cubicBezTo>
                <a:cubicBezTo>
                  <a:pt x="5775057" y="4102326"/>
                  <a:pt x="5746103" y="4073374"/>
                  <a:pt x="5746103" y="4037660"/>
                </a:cubicBezTo>
                <a:cubicBezTo>
                  <a:pt x="5746103" y="4001946"/>
                  <a:pt x="5775057" y="3972994"/>
                  <a:pt x="5810774" y="3972994"/>
                </a:cubicBezTo>
                <a:close/>
                <a:moveTo>
                  <a:pt x="3947550" y="3972994"/>
                </a:moveTo>
                <a:cubicBezTo>
                  <a:pt x="3983265" y="3972994"/>
                  <a:pt x="4012219" y="4001946"/>
                  <a:pt x="4012219" y="4037660"/>
                </a:cubicBezTo>
                <a:cubicBezTo>
                  <a:pt x="4012219" y="4073374"/>
                  <a:pt x="3983265" y="4102326"/>
                  <a:pt x="3947550" y="4102326"/>
                </a:cubicBezTo>
                <a:cubicBezTo>
                  <a:pt x="3911861" y="4102326"/>
                  <a:pt x="3882909" y="4073374"/>
                  <a:pt x="3882909" y="4037660"/>
                </a:cubicBezTo>
                <a:cubicBezTo>
                  <a:pt x="3882909" y="4001946"/>
                  <a:pt x="3911861" y="3972994"/>
                  <a:pt x="3947550" y="3972994"/>
                </a:cubicBezTo>
                <a:close/>
                <a:moveTo>
                  <a:pt x="3791003" y="3972994"/>
                </a:moveTo>
                <a:cubicBezTo>
                  <a:pt x="3826715" y="3972994"/>
                  <a:pt x="3855668" y="4001946"/>
                  <a:pt x="3855668" y="4037660"/>
                </a:cubicBezTo>
                <a:cubicBezTo>
                  <a:pt x="3855668" y="4073374"/>
                  <a:pt x="3826715" y="4102326"/>
                  <a:pt x="3791003" y="4102326"/>
                </a:cubicBezTo>
                <a:cubicBezTo>
                  <a:pt x="3755287" y="4102326"/>
                  <a:pt x="3726335" y="4073374"/>
                  <a:pt x="3726335" y="4037660"/>
                </a:cubicBezTo>
                <a:cubicBezTo>
                  <a:pt x="3726335" y="4001946"/>
                  <a:pt x="3755287" y="3972994"/>
                  <a:pt x="3791003" y="3972994"/>
                </a:cubicBezTo>
                <a:close/>
                <a:moveTo>
                  <a:pt x="3630515" y="3972994"/>
                </a:moveTo>
                <a:cubicBezTo>
                  <a:pt x="3666227" y="3972994"/>
                  <a:pt x="3695180" y="4001946"/>
                  <a:pt x="3695180" y="4037660"/>
                </a:cubicBezTo>
                <a:cubicBezTo>
                  <a:pt x="3695180" y="4073374"/>
                  <a:pt x="3666227" y="4102326"/>
                  <a:pt x="3630515" y="4102326"/>
                </a:cubicBezTo>
                <a:cubicBezTo>
                  <a:pt x="3594798" y="4102326"/>
                  <a:pt x="3565845" y="4073374"/>
                  <a:pt x="3565845" y="4037660"/>
                </a:cubicBezTo>
                <a:cubicBezTo>
                  <a:pt x="3565845" y="4001946"/>
                  <a:pt x="3594798" y="3972994"/>
                  <a:pt x="3630515" y="3972994"/>
                </a:cubicBezTo>
                <a:close/>
                <a:moveTo>
                  <a:pt x="3481768" y="3972994"/>
                </a:moveTo>
                <a:cubicBezTo>
                  <a:pt x="3517481" y="3972994"/>
                  <a:pt x="3546437" y="4001946"/>
                  <a:pt x="3546437" y="4037660"/>
                </a:cubicBezTo>
                <a:cubicBezTo>
                  <a:pt x="3546437" y="4073374"/>
                  <a:pt x="3517481" y="4102326"/>
                  <a:pt x="3481768" y="4102326"/>
                </a:cubicBezTo>
                <a:cubicBezTo>
                  <a:pt x="3446056" y="4102326"/>
                  <a:pt x="3417106" y="4073374"/>
                  <a:pt x="3417106" y="4037660"/>
                </a:cubicBezTo>
                <a:cubicBezTo>
                  <a:pt x="3417106" y="4001946"/>
                  <a:pt x="3446056" y="3972994"/>
                  <a:pt x="3481768" y="3972994"/>
                </a:cubicBezTo>
                <a:close/>
                <a:moveTo>
                  <a:pt x="3321288" y="3972994"/>
                </a:moveTo>
                <a:cubicBezTo>
                  <a:pt x="3357002" y="3972994"/>
                  <a:pt x="3385949" y="4001946"/>
                  <a:pt x="3385949" y="4037660"/>
                </a:cubicBezTo>
                <a:cubicBezTo>
                  <a:pt x="3385949" y="4073374"/>
                  <a:pt x="3357002" y="4102326"/>
                  <a:pt x="3321288" y="4102326"/>
                </a:cubicBezTo>
                <a:cubicBezTo>
                  <a:pt x="3285571" y="4102326"/>
                  <a:pt x="3256626" y="4073374"/>
                  <a:pt x="3256626" y="4037660"/>
                </a:cubicBezTo>
                <a:cubicBezTo>
                  <a:pt x="3256626" y="4001946"/>
                  <a:pt x="3285571" y="3972994"/>
                  <a:pt x="3321288" y="3972994"/>
                </a:cubicBezTo>
                <a:close/>
                <a:moveTo>
                  <a:pt x="3172540" y="3972994"/>
                </a:moveTo>
                <a:cubicBezTo>
                  <a:pt x="3208257" y="3972994"/>
                  <a:pt x="3237208" y="4001946"/>
                  <a:pt x="3237208" y="4037660"/>
                </a:cubicBezTo>
                <a:cubicBezTo>
                  <a:pt x="3237208" y="4073374"/>
                  <a:pt x="3208257" y="4102326"/>
                  <a:pt x="3172540" y="4102326"/>
                </a:cubicBezTo>
                <a:cubicBezTo>
                  <a:pt x="3136823" y="4102326"/>
                  <a:pt x="3107868" y="4073374"/>
                  <a:pt x="3107868" y="4037660"/>
                </a:cubicBezTo>
                <a:cubicBezTo>
                  <a:pt x="3107868" y="4001946"/>
                  <a:pt x="3136823" y="3972994"/>
                  <a:pt x="3172540" y="3972994"/>
                </a:cubicBezTo>
                <a:close/>
                <a:moveTo>
                  <a:pt x="3012045" y="3972994"/>
                </a:moveTo>
                <a:cubicBezTo>
                  <a:pt x="3047758" y="3972994"/>
                  <a:pt x="3076711" y="4001946"/>
                  <a:pt x="3076711" y="4037660"/>
                </a:cubicBezTo>
                <a:cubicBezTo>
                  <a:pt x="3076711" y="4073374"/>
                  <a:pt x="3047758" y="4102326"/>
                  <a:pt x="3012045" y="4102326"/>
                </a:cubicBezTo>
                <a:cubicBezTo>
                  <a:pt x="2976332" y="4102326"/>
                  <a:pt x="2947381" y="4073374"/>
                  <a:pt x="2947381" y="4037660"/>
                </a:cubicBezTo>
                <a:cubicBezTo>
                  <a:pt x="2947381" y="4001946"/>
                  <a:pt x="2976332" y="3972994"/>
                  <a:pt x="3012045" y="3972994"/>
                </a:cubicBezTo>
                <a:close/>
                <a:moveTo>
                  <a:pt x="2855478" y="3972994"/>
                </a:moveTo>
                <a:cubicBezTo>
                  <a:pt x="2891191" y="3972994"/>
                  <a:pt x="2920141" y="4001946"/>
                  <a:pt x="2920141" y="4037660"/>
                </a:cubicBezTo>
                <a:cubicBezTo>
                  <a:pt x="2920141" y="4073374"/>
                  <a:pt x="2891191" y="4102326"/>
                  <a:pt x="2855478" y="4102326"/>
                </a:cubicBezTo>
                <a:cubicBezTo>
                  <a:pt x="2819765" y="4102326"/>
                  <a:pt x="2790815" y="4073374"/>
                  <a:pt x="2790815" y="4037660"/>
                </a:cubicBezTo>
                <a:cubicBezTo>
                  <a:pt x="2790815" y="4001946"/>
                  <a:pt x="2819765" y="3972994"/>
                  <a:pt x="2855478" y="3972994"/>
                </a:cubicBezTo>
                <a:close/>
                <a:moveTo>
                  <a:pt x="6742377" y="3835996"/>
                </a:moveTo>
                <a:cubicBezTo>
                  <a:pt x="6778091" y="3835996"/>
                  <a:pt x="6807043" y="3864948"/>
                  <a:pt x="6807043" y="3900662"/>
                </a:cubicBezTo>
                <a:cubicBezTo>
                  <a:pt x="6807043" y="3936376"/>
                  <a:pt x="6778091" y="3965328"/>
                  <a:pt x="6742377" y="3965328"/>
                </a:cubicBezTo>
                <a:cubicBezTo>
                  <a:pt x="6706663" y="3965328"/>
                  <a:pt x="6677711" y="3936376"/>
                  <a:pt x="6677711" y="3900662"/>
                </a:cubicBezTo>
                <a:cubicBezTo>
                  <a:pt x="6677711" y="3864948"/>
                  <a:pt x="6706663" y="3835996"/>
                  <a:pt x="6742377" y="3835996"/>
                </a:cubicBezTo>
                <a:close/>
                <a:moveTo>
                  <a:pt x="6585804" y="3835996"/>
                </a:moveTo>
                <a:cubicBezTo>
                  <a:pt x="6621518" y="3835996"/>
                  <a:pt x="6650470" y="3864948"/>
                  <a:pt x="6650470" y="3900662"/>
                </a:cubicBezTo>
                <a:cubicBezTo>
                  <a:pt x="6650470" y="3936376"/>
                  <a:pt x="6621518" y="3965328"/>
                  <a:pt x="6585804" y="3965328"/>
                </a:cubicBezTo>
                <a:cubicBezTo>
                  <a:pt x="6550090" y="3965328"/>
                  <a:pt x="6521138" y="3936376"/>
                  <a:pt x="6521138" y="3900662"/>
                </a:cubicBezTo>
                <a:cubicBezTo>
                  <a:pt x="6521138" y="3864948"/>
                  <a:pt x="6550090" y="3835996"/>
                  <a:pt x="6585804" y="3835996"/>
                </a:cubicBezTo>
                <a:close/>
                <a:moveTo>
                  <a:pt x="6429231" y="3835996"/>
                </a:moveTo>
                <a:cubicBezTo>
                  <a:pt x="6464945" y="3835996"/>
                  <a:pt x="6493897" y="3864948"/>
                  <a:pt x="6493897" y="3900662"/>
                </a:cubicBezTo>
                <a:cubicBezTo>
                  <a:pt x="6493897" y="3936376"/>
                  <a:pt x="6464945" y="3965328"/>
                  <a:pt x="6429231" y="3965328"/>
                </a:cubicBezTo>
                <a:cubicBezTo>
                  <a:pt x="6393517" y="3965328"/>
                  <a:pt x="6364565" y="3936376"/>
                  <a:pt x="6364565" y="3900662"/>
                </a:cubicBezTo>
                <a:cubicBezTo>
                  <a:pt x="6364565" y="3864948"/>
                  <a:pt x="6393517" y="3835996"/>
                  <a:pt x="6429231" y="3835996"/>
                </a:cubicBezTo>
                <a:close/>
                <a:moveTo>
                  <a:pt x="6276571" y="3835996"/>
                </a:moveTo>
                <a:cubicBezTo>
                  <a:pt x="6312285" y="3835996"/>
                  <a:pt x="6341237" y="3864948"/>
                  <a:pt x="6341237" y="3900662"/>
                </a:cubicBezTo>
                <a:cubicBezTo>
                  <a:pt x="6341237" y="3936376"/>
                  <a:pt x="6312285" y="3965328"/>
                  <a:pt x="6276571" y="3965328"/>
                </a:cubicBezTo>
                <a:cubicBezTo>
                  <a:pt x="6240857" y="3965328"/>
                  <a:pt x="6211905" y="3936376"/>
                  <a:pt x="6211905" y="3900662"/>
                </a:cubicBezTo>
                <a:cubicBezTo>
                  <a:pt x="6211905" y="3864948"/>
                  <a:pt x="6240857" y="3835996"/>
                  <a:pt x="6276571" y="3835996"/>
                </a:cubicBezTo>
                <a:close/>
                <a:moveTo>
                  <a:pt x="6119999" y="3835996"/>
                </a:moveTo>
                <a:cubicBezTo>
                  <a:pt x="6155713" y="3835996"/>
                  <a:pt x="6184665" y="3864948"/>
                  <a:pt x="6184665" y="3900662"/>
                </a:cubicBezTo>
                <a:cubicBezTo>
                  <a:pt x="6184665" y="3936376"/>
                  <a:pt x="6155713" y="3965328"/>
                  <a:pt x="6119999" y="3965328"/>
                </a:cubicBezTo>
                <a:cubicBezTo>
                  <a:pt x="6084285" y="3965328"/>
                  <a:pt x="6055333" y="3936376"/>
                  <a:pt x="6055333" y="3900662"/>
                </a:cubicBezTo>
                <a:cubicBezTo>
                  <a:pt x="6055333" y="3864948"/>
                  <a:pt x="6084285" y="3835996"/>
                  <a:pt x="6119999" y="3835996"/>
                </a:cubicBezTo>
                <a:close/>
                <a:moveTo>
                  <a:pt x="5967339" y="3835996"/>
                </a:moveTo>
                <a:cubicBezTo>
                  <a:pt x="6003053" y="3835996"/>
                  <a:pt x="6032005" y="3864948"/>
                  <a:pt x="6032005" y="3900662"/>
                </a:cubicBezTo>
                <a:cubicBezTo>
                  <a:pt x="6032005" y="3936376"/>
                  <a:pt x="6003053" y="3965328"/>
                  <a:pt x="5967339" y="3965328"/>
                </a:cubicBezTo>
                <a:cubicBezTo>
                  <a:pt x="5931625" y="3965328"/>
                  <a:pt x="5902673" y="3936376"/>
                  <a:pt x="5902673" y="3900662"/>
                </a:cubicBezTo>
                <a:cubicBezTo>
                  <a:pt x="5902673" y="3864948"/>
                  <a:pt x="5931625" y="3835996"/>
                  <a:pt x="5967339" y="3835996"/>
                </a:cubicBezTo>
                <a:close/>
                <a:moveTo>
                  <a:pt x="5810776" y="3835996"/>
                </a:moveTo>
                <a:cubicBezTo>
                  <a:pt x="5846480" y="3835996"/>
                  <a:pt x="5875432" y="3864948"/>
                  <a:pt x="5875432" y="3900662"/>
                </a:cubicBezTo>
                <a:cubicBezTo>
                  <a:pt x="5875432" y="3936376"/>
                  <a:pt x="5846480" y="3965328"/>
                  <a:pt x="5810776" y="3965328"/>
                </a:cubicBezTo>
                <a:cubicBezTo>
                  <a:pt x="5775059" y="3965328"/>
                  <a:pt x="5746106" y="3936376"/>
                  <a:pt x="5746106" y="3900662"/>
                </a:cubicBezTo>
                <a:cubicBezTo>
                  <a:pt x="5746106" y="3864948"/>
                  <a:pt x="5775059" y="3835996"/>
                  <a:pt x="5810776" y="3835996"/>
                </a:cubicBezTo>
                <a:close/>
                <a:moveTo>
                  <a:pt x="3791007" y="3835996"/>
                </a:moveTo>
                <a:cubicBezTo>
                  <a:pt x="3826720" y="3835996"/>
                  <a:pt x="3855672" y="3864948"/>
                  <a:pt x="3855672" y="3900662"/>
                </a:cubicBezTo>
                <a:cubicBezTo>
                  <a:pt x="3855672" y="3936376"/>
                  <a:pt x="3826720" y="3965328"/>
                  <a:pt x="3791007" y="3965328"/>
                </a:cubicBezTo>
                <a:cubicBezTo>
                  <a:pt x="3755291" y="3965328"/>
                  <a:pt x="3726338" y="3936376"/>
                  <a:pt x="3726338" y="3900662"/>
                </a:cubicBezTo>
                <a:cubicBezTo>
                  <a:pt x="3726338" y="3864948"/>
                  <a:pt x="3755291" y="3835996"/>
                  <a:pt x="3791007" y="3835996"/>
                </a:cubicBezTo>
                <a:close/>
                <a:moveTo>
                  <a:pt x="3630520" y="3835996"/>
                </a:moveTo>
                <a:cubicBezTo>
                  <a:pt x="3666234" y="3835996"/>
                  <a:pt x="3695188" y="3864948"/>
                  <a:pt x="3695188" y="3900662"/>
                </a:cubicBezTo>
                <a:cubicBezTo>
                  <a:pt x="3695188" y="3936376"/>
                  <a:pt x="3666234" y="3965328"/>
                  <a:pt x="3630520" y="3965328"/>
                </a:cubicBezTo>
                <a:cubicBezTo>
                  <a:pt x="3594803" y="3965328"/>
                  <a:pt x="3565851" y="3936376"/>
                  <a:pt x="3565851" y="3900662"/>
                </a:cubicBezTo>
                <a:cubicBezTo>
                  <a:pt x="3565851" y="3864948"/>
                  <a:pt x="3594803" y="3835996"/>
                  <a:pt x="3630520" y="3835996"/>
                </a:cubicBezTo>
                <a:close/>
                <a:moveTo>
                  <a:pt x="3481771" y="3835996"/>
                </a:moveTo>
                <a:cubicBezTo>
                  <a:pt x="3517485" y="3835996"/>
                  <a:pt x="3546439" y="3864948"/>
                  <a:pt x="3546439" y="3900662"/>
                </a:cubicBezTo>
                <a:cubicBezTo>
                  <a:pt x="3546439" y="3936376"/>
                  <a:pt x="3517485" y="3965328"/>
                  <a:pt x="3481771" y="3965328"/>
                </a:cubicBezTo>
                <a:cubicBezTo>
                  <a:pt x="3446060" y="3965328"/>
                  <a:pt x="3417108" y="3936376"/>
                  <a:pt x="3417108" y="3900662"/>
                </a:cubicBezTo>
                <a:cubicBezTo>
                  <a:pt x="3417108" y="3864948"/>
                  <a:pt x="3446060" y="3835996"/>
                  <a:pt x="3481771" y="3835996"/>
                </a:cubicBezTo>
                <a:close/>
                <a:moveTo>
                  <a:pt x="3321291" y="3835996"/>
                </a:moveTo>
                <a:cubicBezTo>
                  <a:pt x="3357003" y="3835996"/>
                  <a:pt x="3385951" y="3864948"/>
                  <a:pt x="3385951" y="3900662"/>
                </a:cubicBezTo>
                <a:cubicBezTo>
                  <a:pt x="3385951" y="3936376"/>
                  <a:pt x="3357003" y="3965328"/>
                  <a:pt x="3321291" y="3965328"/>
                </a:cubicBezTo>
                <a:cubicBezTo>
                  <a:pt x="3285576" y="3965328"/>
                  <a:pt x="3256626" y="3936376"/>
                  <a:pt x="3256626" y="3900662"/>
                </a:cubicBezTo>
                <a:cubicBezTo>
                  <a:pt x="3256626" y="3864948"/>
                  <a:pt x="3285576" y="3835996"/>
                  <a:pt x="3321291" y="3835996"/>
                </a:cubicBezTo>
                <a:close/>
                <a:moveTo>
                  <a:pt x="3172544" y="3835996"/>
                </a:moveTo>
                <a:cubicBezTo>
                  <a:pt x="3208260" y="3835996"/>
                  <a:pt x="3237212" y="3864948"/>
                  <a:pt x="3237212" y="3900662"/>
                </a:cubicBezTo>
                <a:cubicBezTo>
                  <a:pt x="3237212" y="3936376"/>
                  <a:pt x="3208260" y="3965328"/>
                  <a:pt x="3172544" y="3965328"/>
                </a:cubicBezTo>
                <a:cubicBezTo>
                  <a:pt x="3136828" y="3965328"/>
                  <a:pt x="3107874" y="3936376"/>
                  <a:pt x="3107874" y="3900662"/>
                </a:cubicBezTo>
                <a:cubicBezTo>
                  <a:pt x="3107874" y="3864948"/>
                  <a:pt x="3136828" y="3835996"/>
                  <a:pt x="3172544" y="3835996"/>
                </a:cubicBezTo>
                <a:close/>
                <a:moveTo>
                  <a:pt x="3012048" y="3835996"/>
                </a:moveTo>
                <a:cubicBezTo>
                  <a:pt x="3047760" y="3835996"/>
                  <a:pt x="3076714" y="3864948"/>
                  <a:pt x="3076714" y="3900662"/>
                </a:cubicBezTo>
                <a:cubicBezTo>
                  <a:pt x="3076714" y="3936376"/>
                  <a:pt x="3047760" y="3965328"/>
                  <a:pt x="3012048" y="3965328"/>
                </a:cubicBezTo>
                <a:cubicBezTo>
                  <a:pt x="2976335" y="3965328"/>
                  <a:pt x="2947384" y="3936376"/>
                  <a:pt x="2947384" y="3900662"/>
                </a:cubicBezTo>
                <a:cubicBezTo>
                  <a:pt x="2947384" y="3864948"/>
                  <a:pt x="2976335" y="3835996"/>
                  <a:pt x="3012048" y="3835996"/>
                </a:cubicBezTo>
                <a:close/>
                <a:moveTo>
                  <a:pt x="9227976" y="3835993"/>
                </a:moveTo>
                <a:cubicBezTo>
                  <a:pt x="9263690" y="3835993"/>
                  <a:pt x="9292642" y="3864945"/>
                  <a:pt x="9292642" y="3900659"/>
                </a:cubicBezTo>
                <a:cubicBezTo>
                  <a:pt x="9292642" y="3936373"/>
                  <a:pt x="9263690" y="3965325"/>
                  <a:pt x="9227976" y="3965325"/>
                </a:cubicBezTo>
                <a:cubicBezTo>
                  <a:pt x="9192262" y="3965325"/>
                  <a:pt x="9163310" y="3936373"/>
                  <a:pt x="9163310" y="3900659"/>
                </a:cubicBezTo>
                <a:cubicBezTo>
                  <a:pt x="9163310" y="3864945"/>
                  <a:pt x="9192262" y="3835993"/>
                  <a:pt x="9227976" y="3835993"/>
                </a:cubicBezTo>
                <a:close/>
                <a:moveTo>
                  <a:pt x="8766084" y="3835993"/>
                </a:moveTo>
                <a:cubicBezTo>
                  <a:pt x="8801798" y="3835993"/>
                  <a:pt x="8830750" y="3864945"/>
                  <a:pt x="8830750" y="3900659"/>
                </a:cubicBezTo>
                <a:cubicBezTo>
                  <a:pt x="8830750" y="3936373"/>
                  <a:pt x="8801798" y="3965325"/>
                  <a:pt x="8766084" y="3965325"/>
                </a:cubicBezTo>
                <a:cubicBezTo>
                  <a:pt x="8730370" y="3965325"/>
                  <a:pt x="8701418" y="3936373"/>
                  <a:pt x="8701418" y="3900659"/>
                </a:cubicBezTo>
                <a:cubicBezTo>
                  <a:pt x="8701418" y="3864945"/>
                  <a:pt x="8730370" y="3835993"/>
                  <a:pt x="8766084" y="3835993"/>
                </a:cubicBezTo>
                <a:close/>
                <a:moveTo>
                  <a:pt x="7055521" y="3835993"/>
                </a:moveTo>
                <a:cubicBezTo>
                  <a:pt x="7091235" y="3835993"/>
                  <a:pt x="7120187" y="3864945"/>
                  <a:pt x="7120187" y="3900659"/>
                </a:cubicBezTo>
                <a:cubicBezTo>
                  <a:pt x="7120187" y="3936373"/>
                  <a:pt x="7091235" y="3965325"/>
                  <a:pt x="7055521" y="3965325"/>
                </a:cubicBezTo>
                <a:cubicBezTo>
                  <a:pt x="7019807" y="3965325"/>
                  <a:pt x="6990855" y="3936373"/>
                  <a:pt x="6990855" y="3900659"/>
                </a:cubicBezTo>
                <a:cubicBezTo>
                  <a:pt x="6990855" y="3864945"/>
                  <a:pt x="7019807" y="3835993"/>
                  <a:pt x="7055521" y="3835993"/>
                </a:cubicBezTo>
                <a:close/>
                <a:moveTo>
                  <a:pt x="6895035" y="3835993"/>
                </a:moveTo>
                <a:cubicBezTo>
                  <a:pt x="6930749" y="3835993"/>
                  <a:pt x="6959701" y="3864945"/>
                  <a:pt x="6959701" y="3900659"/>
                </a:cubicBezTo>
                <a:cubicBezTo>
                  <a:pt x="6959701" y="3936373"/>
                  <a:pt x="6930749" y="3965325"/>
                  <a:pt x="6895035" y="3965325"/>
                </a:cubicBezTo>
                <a:cubicBezTo>
                  <a:pt x="6859321" y="3965325"/>
                  <a:pt x="6830369" y="3936373"/>
                  <a:pt x="6830369" y="3900659"/>
                </a:cubicBezTo>
                <a:cubicBezTo>
                  <a:pt x="6830369" y="3864945"/>
                  <a:pt x="6859321" y="3835993"/>
                  <a:pt x="6895035" y="3835993"/>
                </a:cubicBezTo>
                <a:close/>
                <a:moveTo>
                  <a:pt x="9541125" y="3695080"/>
                </a:moveTo>
                <a:cubicBezTo>
                  <a:pt x="9576839" y="3695080"/>
                  <a:pt x="9605791" y="3724032"/>
                  <a:pt x="9605791" y="3759746"/>
                </a:cubicBezTo>
                <a:cubicBezTo>
                  <a:pt x="9605791" y="3795460"/>
                  <a:pt x="9576839" y="3824412"/>
                  <a:pt x="9541125" y="3824412"/>
                </a:cubicBezTo>
                <a:cubicBezTo>
                  <a:pt x="9505411" y="3824412"/>
                  <a:pt x="9476459" y="3795460"/>
                  <a:pt x="9476459" y="3759746"/>
                </a:cubicBezTo>
                <a:cubicBezTo>
                  <a:pt x="9476459" y="3724032"/>
                  <a:pt x="9505411" y="3695080"/>
                  <a:pt x="9541125" y="3695080"/>
                </a:cubicBezTo>
                <a:close/>
                <a:moveTo>
                  <a:pt x="8766086" y="3695080"/>
                </a:moveTo>
                <a:cubicBezTo>
                  <a:pt x="8801800" y="3695080"/>
                  <a:pt x="8830752" y="3724032"/>
                  <a:pt x="8830752" y="3759746"/>
                </a:cubicBezTo>
                <a:cubicBezTo>
                  <a:pt x="8830752" y="3795460"/>
                  <a:pt x="8801800" y="3824412"/>
                  <a:pt x="8766086" y="3824412"/>
                </a:cubicBezTo>
                <a:cubicBezTo>
                  <a:pt x="8730372" y="3824412"/>
                  <a:pt x="8701420" y="3795460"/>
                  <a:pt x="8701420" y="3759746"/>
                </a:cubicBezTo>
                <a:cubicBezTo>
                  <a:pt x="8701420" y="3724032"/>
                  <a:pt x="8730372" y="3695080"/>
                  <a:pt x="8766086" y="3695080"/>
                </a:cubicBezTo>
                <a:close/>
                <a:moveTo>
                  <a:pt x="8139793" y="3695080"/>
                </a:moveTo>
                <a:cubicBezTo>
                  <a:pt x="8175507" y="3695080"/>
                  <a:pt x="8204459" y="3724032"/>
                  <a:pt x="8204459" y="3759746"/>
                </a:cubicBezTo>
                <a:cubicBezTo>
                  <a:pt x="8204459" y="3795460"/>
                  <a:pt x="8175507" y="3824412"/>
                  <a:pt x="8139793" y="3824412"/>
                </a:cubicBezTo>
                <a:cubicBezTo>
                  <a:pt x="8104079" y="3824412"/>
                  <a:pt x="8075127" y="3795460"/>
                  <a:pt x="8075127" y="3759746"/>
                </a:cubicBezTo>
                <a:cubicBezTo>
                  <a:pt x="8075127" y="3724032"/>
                  <a:pt x="8104079" y="3695080"/>
                  <a:pt x="8139793" y="3695080"/>
                </a:cubicBezTo>
                <a:close/>
                <a:moveTo>
                  <a:pt x="7055523" y="3695080"/>
                </a:moveTo>
                <a:cubicBezTo>
                  <a:pt x="7091237" y="3695080"/>
                  <a:pt x="7120189" y="3724032"/>
                  <a:pt x="7120189" y="3759746"/>
                </a:cubicBezTo>
                <a:cubicBezTo>
                  <a:pt x="7120189" y="3795460"/>
                  <a:pt x="7091237" y="3824412"/>
                  <a:pt x="7055523" y="3824412"/>
                </a:cubicBezTo>
                <a:cubicBezTo>
                  <a:pt x="7019809" y="3824412"/>
                  <a:pt x="6990857" y="3795460"/>
                  <a:pt x="6990857" y="3759746"/>
                </a:cubicBezTo>
                <a:cubicBezTo>
                  <a:pt x="6990857" y="3724032"/>
                  <a:pt x="7019809" y="3695080"/>
                  <a:pt x="7055523" y="3695080"/>
                </a:cubicBezTo>
                <a:close/>
                <a:moveTo>
                  <a:pt x="6895037" y="3695080"/>
                </a:moveTo>
                <a:cubicBezTo>
                  <a:pt x="6930751" y="3695080"/>
                  <a:pt x="6959703" y="3724032"/>
                  <a:pt x="6959703" y="3759746"/>
                </a:cubicBezTo>
                <a:cubicBezTo>
                  <a:pt x="6959703" y="3795460"/>
                  <a:pt x="6930751" y="3824412"/>
                  <a:pt x="6895037" y="3824412"/>
                </a:cubicBezTo>
                <a:cubicBezTo>
                  <a:pt x="6859323" y="3824412"/>
                  <a:pt x="6830371" y="3795460"/>
                  <a:pt x="6830371" y="3759746"/>
                </a:cubicBezTo>
                <a:cubicBezTo>
                  <a:pt x="6830371" y="3724032"/>
                  <a:pt x="6859323" y="3695080"/>
                  <a:pt x="6895037" y="3695080"/>
                </a:cubicBezTo>
                <a:close/>
                <a:moveTo>
                  <a:pt x="6742377" y="3695080"/>
                </a:moveTo>
                <a:cubicBezTo>
                  <a:pt x="6778091" y="3695080"/>
                  <a:pt x="6807043" y="3724032"/>
                  <a:pt x="6807043" y="3759746"/>
                </a:cubicBezTo>
                <a:cubicBezTo>
                  <a:pt x="6807043" y="3795460"/>
                  <a:pt x="6778091" y="3824412"/>
                  <a:pt x="6742377" y="3824412"/>
                </a:cubicBezTo>
                <a:cubicBezTo>
                  <a:pt x="6706663" y="3824412"/>
                  <a:pt x="6677711" y="3795460"/>
                  <a:pt x="6677711" y="3759746"/>
                </a:cubicBezTo>
                <a:cubicBezTo>
                  <a:pt x="6677711" y="3724032"/>
                  <a:pt x="6706663" y="3695080"/>
                  <a:pt x="6742377" y="3695080"/>
                </a:cubicBezTo>
                <a:close/>
                <a:moveTo>
                  <a:pt x="6585804" y="3695080"/>
                </a:moveTo>
                <a:cubicBezTo>
                  <a:pt x="6621518" y="3695080"/>
                  <a:pt x="6650470" y="3724032"/>
                  <a:pt x="6650470" y="3759746"/>
                </a:cubicBezTo>
                <a:cubicBezTo>
                  <a:pt x="6650470" y="3795460"/>
                  <a:pt x="6621518" y="3824412"/>
                  <a:pt x="6585804" y="3824412"/>
                </a:cubicBezTo>
                <a:cubicBezTo>
                  <a:pt x="6550090" y="3824412"/>
                  <a:pt x="6521138" y="3795460"/>
                  <a:pt x="6521138" y="3759746"/>
                </a:cubicBezTo>
                <a:cubicBezTo>
                  <a:pt x="6521138" y="3724032"/>
                  <a:pt x="6550090" y="3695080"/>
                  <a:pt x="6585804" y="3695080"/>
                </a:cubicBezTo>
                <a:close/>
                <a:moveTo>
                  <a:pt x="6429231" y="3695080"/>
                </a:moveTo>
                <a:cubicBezTo>
                  <a:pt x="6464945" y="3695080"/>
                  <a:pt x="6493897" y="3724032"/>
                  <a:pt x="6493897" y="3759746"/>
                </a:cubicBezTo>
                <a:cubicBezTo>
                  <a:pt x="6493897" y="3795460"/>
                  <a:pt x="6464945" y="3824412"/>
                  <a:pt x="6429231" y="3824412"/>
                </a:cubicBezTo>
                <a:cubicBezTo>
                  <a:pt x="6393517" y="3824412"/>
                  <a:pt x="6364565" y="3795460"/>
                  <a:pt x="6364565" y="3759746"/>
                </a:cubicBezTo>
                <a:cubicBezTo>
                  <a:pt x="6364565" y="3724032"/>
                  <a:pt x="6393517" y="3695080"/>
                  <a:pt x="6429231" y="3695080"/>
                </a:cubicBezTo>
                <a:close/>
                <a:moveTo>
                  <a:pt x="6276571" y="3695080"/>
                </a:moveTo>
                <a:cubicBezTo>
                  <a:pt x="6312285" y="3695080"/>
                  <a:pt x="6341237" y="3724032"/>
                  <a:pt x="6341237" y="3759746"/>
                </a:cubicBezTo>
                <a:cubicBezTo>
                  <a:pt x="6341237" y="3795460"/>
                  <a:pt x="6312285" y="3824412"/>
                  <a:pt x="6276571" y="3824412"/>
                </a:cubicBezTo>
                <a:cubicBezTo>
                  <a:pt x="6240857" y="3824412"/>
                  <a:pt x="6211905" y="3795460"/>
                  <a:pt x="6211905" y="3759746"/>
                </a:cubicBezTo>
                <a:cubicBezTo>
                  <a:pt x="6211905" y="3724032"/>
                  <a:pt x="6240857" y="3695080"/>
                  <a:pt x="6276571" y="3695080"/>
                </a:cubicBezTo>
                <a:close/>
                <a:moveTo>
                  <a:pt x="6119999" y="3695080"/>
                </a:moveTo>
                <a:cubicBezTo>
                  <a:pt x="6155713" y="3695080"/>
                  <a:pt x="6184665" y="3724032"/>
                  <a:pt x="6184665" y="3759746"/>
                </a:cubicBezTo>
                <a:cubicBezTo>
                  <a:pt x="6184665" y="3795460"/>
                  <a:pt x="6155713" y="3824412"/>
                  <a:pt x="6119999" y="3824412"/>
                </a:cubicBezTo>
                <a:cubicBezTo>
                  <a:pt x="6084285" y="3824412"/>
                  <a:pt x="6055333" y="3795460"/>
                  <a:pt x="6055333" y="3759746"/>
                </a:cubicBezTo>
                <a:cubicBezTo>
                  <a:pt x="6055333" y="3724032"/>
                  <a:pt x="6084285" y="3695080"/>
                  <a:pt x="6119999" y="3695080"/>
                </a:cubicBezTo>
                <a:close/>
                <a:moveTo>
                  <a:pt x="5967339" y="3695080"/>
                </a:moveTo>
                <a:cubicBezTo>
                  <a:pt x="6003053" y="3695080"/>
                  <a:pt x="6032005" y="3724032"/>
                  <a:pt x="6032005" y="3759746"/>
                </a:cubicBezTo>
                <a:cubicBezTo>
                  <a:pt x="6032005" y="3795460"/>
                  <a:pt x="6003053" y="3824412"/>
                  <a:pt x="5967339" y="3824412"/>
                </a:cubicBezTo>
                <a:cubicBezTo>
                  <a:pt x="5931625" y="3824412"/>
                  <a:pt x="5902673" y="3795460"/>
                  <a:pt x="5902673" y="3759746"/>
                </a:cubicBezTo>
                <a:cubicBezTo>
                  <a:pt x="5902673" y="3724032"/>
                  <a:pt x="5931625" y="3695080"/>
                  <a:pt x="5967339" y="3695080"/>
                </a:cubicBezTo>
                <a:close/>
                <a:moveTo>
                  <a:pt x="5810776" y="3695080"/>
                </a:moveTo>
                <a:cubicBezTo>
                  <a:pt x="5846480" y="3695080"/>
                  <a:pt x="5875432" y="3724032"/>
                  <a:pt x="5875432" y="3759746"/>
                </a:cubicBezTo>
                <a:cubicBezTo>
                  <a:pt x="5875432" y="3795460"/>
                  <a:pt x="5846480" y="3824412"/>
                  <a:pt x="5810776" y="3824412"/>
                </a:cubicBezTo>
                <a:cubicBezTo>
                  <a:pt x="5775059" y="3824412"/>
                  <a:pt x="5746106" y="3795460"/>
                  <a:pt x="5746106" y="3759746"/>
                </a:cubicBezTo>
                <a:cubicBezTo>
                  <a:pt x="5746106" y="3724032"/>
                  <a:pt x="5775059" y="3695080"/>
                  <a:pt x="5810776" y="3695080"/>
                </a:cubicBezTo>
                <a:close/>
                <a:moveTo>
                  <a:pt x="5658107" y="3695080"/>
                </a:moveTo>
                <a:cubicBezTo>
                  <a:pt x="5693821" y="3695080"/>
                  <a:pt x="5722777" y="3724032"/>
                  <a:pt x="5722777" y="3759746"/>
                </a:cubicBezTo>
                <a:cubicBezTo>
                  <a:pt x="5722777" y="3795460"/>
                  <a:pt x="5693821" y="3824412"/>
                  <a:pt x="5658107" y="3824412"/>
                </a:cubicBezTo>
                <a:cubicBezTo>
                  <a:pt x="5622394" y="3824412"/>
                  <a:pt x="5593441" y="3795460"/>
                  <a:pt x="5593441" y="3759746"/>
                </a:cubicBezTo>
                <a:cubicBezTo>
                  <a:pt x="5593441" y="3724032"/>
                  <a:pt x="5622394" y="3695080"/>
                  <a:pt x="5658107" y="3695080"/>
                </a:cubicBezTo>
                <a:close/>
                <a:moveTo>
                  <a:pt x="5501536" y="3695080"/>
                </a:moveTo>
                <a:cubicBezTo>
                  <a:pt x="5537249" y="3695080"/>
                  <a:pt x="5566201" y="3724032"/>
                  <a:pt x="5566201" y="3759746"/>
                </a:cubicBezTo>
                <a:cubicBezTo>
                  <a:pt x="5566201" y="3795460"/>
                  <a:pt x="5537249" y="3824412"/>
                  <a:pt x="5501536" y="3824412"/>
                </a:cubicBezTo>
                <a:cubicBezTo>
                  <a:pt x="5465823" y="3824412"/>
                  <a:pt x="5436873" y="3795460"/>
                  <a:pt x="5436873" y="3759746"/>
                </a:cubicBezTo>
                <a:cubicBezTo>
                  <a:pt x="5436873" y="3724032"/>
                  <a:pt x="5465823" y="3695080"/>
                  <a:pt x="5501536" y="3695080"/>
                </a:cubicBezTo>
                <a:close/>
                <a:moveTo>
                  <a:pt x="5348883" y="3695080"/>
                </a:moveTo>
                <a:cubicBezTo>
                  <a:pt x="5384594" y="3695080"/>
                  <a:pt x="5413547" y="3724032"/>
                  <a:pt x="5413547" y="3759746"/>
                </a:cubicBezTo>
                <a:cubicBezTo>
                  <a:pt x="5413547" y="3795460"/>
                  <a:pt x="5384594" y="3824412"/>
                  <a:pt x="5348883" y="3824412"/>
                </a:cubicBezTo>
                <a:cubicBezTo>
                  <a:pt x="5313171" y="3824412"/>
                  <a:pt x="5284218" y="3795460"/>
                  <a:pt x="5284218" y="3759746"/>
                </a:cubicBezTo>
                <a:cubicBezTo>
                  <a:pt x="5284218" y="3724032"/>
                  <a:pt x="5313171" y="3695080"/>
                  <a:pt x="5348883" y="3695080"/>
                </a:cubicBezTo>
                <a:close/>
                <a:moveTo>
                  <a:pt x="5192310" y="3695080"/>
                </a:moveTo>
                <a:cubicBezTo>
                  <a:pt x="5228024" y="3695080"/>
                  <a:pt x="5256975" y="3724032"/>
                  <a:pt x="5256975" y="3759746"/>
                </a:cubicBezTo>
                <a:cubicBezTo>
                  <a:pt x="5256975" y="3795460"/>
                  <a:pt x="5228024" y="3824412"/>
                  <a:pt x="5192310" y="3824412"/>
                </a:cubicBezTo>
                <a:cubicBezTo>
                  <a:pt x="5156597" y="3824412"/>
                  <a:pt x="5127644" y="3795460"/>
                  <a:pt x="5127644" y="3759746"/>
                </a:cubicBezTo>
                <a:cubicBezTo>
                  <a:pt x="5127644" y="3724032"/>
                  <a:pt x="5156597" y="3695080"/>
                  <a:pt x="5192310" y="3695080"/>
                </a:cubicBezTo>
                <a:close/>
                <a:moveTo>
                  <a:pt x="3481774" y="3695080"/>
                </a:moveTo>
                <a:cubicBezTo>
                  <a:pt x="3517488" y="3695080"/>
                  <a:pt x="3546442" y="3724032"/>
                  <a:pt x="3546442" y="3759746"/>
                </a:cubicBezTo>
                <a:cubicBezTo>
                  <a:pt x="3546442" y="3795460"/>
                  <a:pt x="3517488" y="3824412"/>
                  <a:pt x="3481774" y="3824412"/>
                </a:cubicBezTo>
                <a:cubicBezTo>
                  <a:pt x="3446063" y="3824412"/>
                  <a:pt x="3417111" y="3795460"/>
                  <a:pt x="3417111" y="3759746"/>
                </a:cubicBezTo>
                <a:cubicBezTo>
                  <a:pt x="3417111" y="3724032"/>
                  <a:pt x="3446063" y="3695080"/>
                  <a:pt x="3481774" y="3695080"/>
                </a:cubicBezTo>
                <a:close/>
                <a:moveTo>
                  <a:pt x="3321295" y="3695080"/>
                </a:moveTo>
                <a:cubicBezTo>
                  <a:pt x="3357010" y="3695080"/>
                  <a:pt x="3385953" y="3724032"/>
                  <a:pt x="3385953" y="3759746"/>
                </a:cubicBezTo>
                <a:cubicBezTo>
                  <a:pt x="3385953" y="3795460"/>
                  <a:pt x="3357010" y="3824412"/>
                  <a:pt x="3321295" y="3824412"/>
                </a:cubicBezTo>
                <a:cubicBezTo>
                  <a:pt x="3285578" y="3824412"/>
                  <a:pt x="3256628" y="3795460"/>
                  <a:pt x="3256628" y="3759746"/>
                </a:cubicBezTo>
                <a:cubicBezTo>
                  <a:pt x="3256628" y="3724032"/>
                  <a:pt x="3285578" y="3695080"/>
                  <a:pt x="3321295" y="3695080"/>
                </a:cubicBezTo>
                <a:close/>
                <a:moveTo>
                  <a:pt x="3172548" y="3695080"/>
                </a:moveTo>
                <a:cubicBezTo>
                  <a:pt x="3208265" y="3695080"/>
                  <a:pt x="3237218" y="3724032"/>
                  <a:pt x="3237218" y="3759746"/>
                </a:cubicBezTo>
                <a:cubicBezTo>
                  <a:pt x="3237218" y="3795460"/>
                  <a:pt x="3208265" y="3824412"/>
                  <a:pt x="3172548" y="3824412"/>
                </a:cubicBezTo>
                <a:cubicBezTo>
                  <a:pt x="3136831" y="3824412"/>
                  <a:pt x="3107876" y="3795460"/>
                  <a:pt x="3107876" y="3759746"/>
                </a:cubicBezTo>
                <a:cubicBezTo>
                  <a:pt x="3107876" y="3724032"/>
                  <a:pt x="3136831" y="3695080"/>
                  <a:pt x="3172548" y="3695080"/>
                </a:cubicBezTo>
                <a:close/>
                <a:moveTo>
                  <a:pt x="3012051" y="3695080"/>
                </a:moveTo>
                <a:cubicBezTo>
                  <a:pt x="3047763" y="3695080"/>
                  <a:pt x="3076718" y="3724032"/>
                  <a:pt x="3076718" y="3759746"/>
                </a:cubicBezTo>
                <a:cubicBezTo>
                  <a:pt x="3076718" y="3795460"/>
                  <a:pt x="3047763" y="3824412"/>
                  <a:pt x="3012051" y="3824412"/>
                </a:cubicBezTo>
                <a:cubicBezTo>
                  <a:pt x="2976338" y="3824412"/>
                  <a:pt x="2947387" y="3795460"/>
                  <a:pt x="2947387" y="3759746"/>
                </a:cubicBezTo>
                <a:cubicBezTo>
                  <a:pt x="2947387" y="3724032"/>
                  <a:pt x="2976338" y="3695080"/>
                  <a:pt x="3012051" y="3695080"/>
                </a:cubicBezTo>
                <a:close/>
                <a:moveTo>
                  <a:pt x="9541125" y="3550250"/>
                </a:moveTo>
                <a:cubicBezTo>
                  <a:pt x="9576839" y="3550250"/>
                  <a:pt x="9605791" y="3579202"/>
                  <a:pt x="9605791" y="3614916"/>
                </a:cubicBezTo>
                <a:cubicBezTo>
                  <a:pt x="9605791" y="3650630"/>
                  <a:pt x="9576839" y="3679582"/>
                  <a:pt x="9541125" y="3679582"/>
                </a:cubicBezTo>
                <a:cubicBezTo>
                  <a:pt x="9505411" y="3679582"/>
                  <a:pt x="9476459" y="3650630"/>
                  <a:pt x="9476459" y="3614916"/>
                </a:cubicBezTo>
                <a:cubicBezTo>
                  <a:pt x="9476459" y="3579202"/>
                  <a:pt x="9505411" y="3550250"/>
                  <a:pt x="9541125" y="3550250"/>
                </a:cubicBezTo>
                <a:close/>
                <a:moveTo>
                  <a:pt x="8914831" y="3550250"/>
                </a:moveTo>
                <a:cubicBezTo>
                  <a:pt x="8950545" y="3550250"/>
                  <a:pt x="8979497" y="3579202"/>
                  <a:pt x="8979497" y="3614916"/>
                </a:cubicBezTo>
                <a:cubicBezTo>
                  <a:pt x="8979497" y="3650630"/>
                  <a:pt x="8950545" y="3679582"/>
                  <a:pt x="8914831" y="3679582"/>
                </a:cubicBezTo>
                <a:cubicBezTo>
                  <a:pt x="8879117" y="3679582"/>
                  <a:pt x="8850165" y="3650630"/>
                  <a:pt x="8850165" y="3614916"/>
                </a:cubicBezTo>
                <a:cubicBezTo>
                  <a:pt x="8850165" y="3579202"/>
                  <a:pt x="8879117" y="3550250"/>
                  <a:pt x="8914831" y="3550250"/>
                </a:cubicBezTo>
                <a:close/>
                <a:moveTo>
                  <a:pt x="8766086" y="3550250"/>
                </a:moveTo>
                <a:cubicBezTo>
                  <a:pt x="8801800" y="3550250"/>
                  <a:pt x="8830752" y="3579202"/>
                  <a:pt x="8830752" y="3614916"/>
                </a:cubicBezTo>
                <a:cubicBezTo>
                  <a:pt x="8830752" y="3650630"/>
                  <a:pt x="8801800" y="3679582"/>
                  <a:pt x="8766086" y="3679582"/>
                </a:cubicBezTo>
                <a:cubicBezTo>
                  <a:pt x="8730372" y="3679582"/>
                  <a:pt x="8701420" y="3650630"/>
                  <a:pt x="8701420" y="3614916"/>
                </a:cubicBezTo>
                <a:cubicBezTo>
                  <a:pt x="8701420" y="3579202"/>
                  <a:pt x="8730372" y="3550250"/>
                  <a:pt x="8766086" y="3550250"/>
                </a:cubicBezTo>
                <a:close/>
                <a:moveTo>
                  <a:pt x="7987135" y="3550250"/>
                </a:moveTo>
                <a:cubicBezTo>
                  <a:pt x="8022849" y="3550250"/>
                  <a:pt x="8051801" y="3579202"/>
                  <a:pt x="8051801" y="3614916"/>
                </a:cubicBezTo>
                <a:cubicBezTo>
                  <a:pt x="8051801" y="3650630"/>
                  <a:pt x="8022849" y="3679582"/>
                  <a:pt x="7987135" y="3679582"/>
                </a:cubicBezTo>
                <a:cubicBezTo>
                  <a:pt x="7951421" y="3679582"/>
                  <a:pt x="7922469" y="3650630"/>
                  <a:pt x="7922469" y="3614916"/>
                </a:cubicBezTo>
                <a:cubicBezTo>
                  <a:pt x="7922469" y="3579202"/>
                  <a:pt x="7951421" y="3550250"/>
                  <a:pt x="7987135" y="3550250"/>
                </a:cubicBezTo>
                <a:close/>
                <a:moveTo>
                  <a:pt x="7212096" y="3550250"/>
                </a:moveTo>
                <a:cubicBezTo>
                  <a:pt x="7247810" y="3550250"/>
                  <a:pt x="7276762" y="3579202"/>
                  <a:pt x="7276762" y="3614916"/>
                </a:cubicBezTo>
                <a:cubicBezTo>
                  <a:pt x="7276762" y="3650630"/>
                  <a:pt x="7247810" y="3679582"/>
                  <a:pt x="7212096" y="3679582"/>
                </a:cubicBezTo>
                <a:cubicBezTo>
                  <a:pt x="7176382" y="3679582"/>
                  <a:pt x="7147430" y="3650630"/>
                  <a:pt x="7147430" y="3614916"/>
                </a:cubicBezTo>
                <a:cubicBezTo>
                  <a:pt x="7147430" y="3579202"/>
                  <a:pt x="7176382" y="3550250"/>
                  <a:pt x="7212096" y="3550250"/>
                </a:cubicBezTo>
                <a:close/>
                <a:moveTo>
                  <a:pt x="7055523" y="3550250"/>
                </a:moveTo>
                <a:cubicBezTo>
                  <a:pt x="7091237" y="3550250"/>
                  <a:pt x="7120189" y="3579202"/>
                  <a:pt x="7120189" y="3614916"/>
                </a:cubicBezTo>
                <a:cubicBezTo>
                  <a:pt x="7120189" y="3650630"/>
                  <a:pt x="7091237" y="3679582"/>
                  <a:pt x="7055523" y="3679582"/>
                </a:cubicBezTo>
                <a:cubicBezTo>
                  <a:pt x="7019809" y="3679582"/>
                  <a:pt x="6990857" y="3650630"/>
                  <a:pt x="6990857" y="3614916"/>
                </a:cubicBezTo>
                <a:cubicBezTo>
                  <a:pt x="6990857" y="3579202"/>
                  <a:pt x="7019809" y="3550250"/>
                  <a:pt x="7055523" y="3550250"/>
                </a:cubicBezTo>
                <a:close/>
                <a:moveTo>
                  <a:pt x="6895037" y="3550250"/>
                </a:moveTo>
                <a:cubicBezTo>
                  <a:pt x="6930751" y="3550250"/>
                  <a:pt x="6959703" y="3579202"/>
                  <a:pt x="6959703" y="3614916"/>
                </a:cubicBezTo>
                <a:cubicBezTo>
                  <a:pt x="6959703" y="3650630"/>
                  <a:pt x="6930751" y="3679582"/>
                  <a:pt x="6895037" y="3679582"/>
                </a:cubicBezTo>
                <a:cubicBezTo>
                  <a:pt x="6859323" y="3679582"/>
                  <a:pt x="6830371" y="3650630"/>
                  <a:pt x="6830371" y="3614916"/>
                </a:cubicBezTo>
                <a:cubicBezTo>
                  <a:pt x="6830371" y="3579202"/>
                  <a:pt x="6859323" y="3550250"/>
                  <a:pt x="6895037" y="3550250"/>
                </a:cubicBezTo>
                <a:close/>
                <a:moveTo>
                  <a:pt x="6742377" y="3550250"/>
                </a:moveTo>
                <a:cubicBezTo>
                  <a:pt x="6778091" y="3550250"/>
                  <a:pt x="6807043" y="3579202"/>
                  <a:pt x="6807043" y="3614916"/>
                </a:cubicBezTo>
                <a:cubicBezTo>
                  <a:pt x="6807043" y="3650630"/>
                  <a:pt x="6778091" y="3679582"/>
                  <a:pt x="6742377" y="3679582"/>
                </a:cubicBezTo>
                <a:cubicBezTo>
                  <a:pt x="6706663" y="3679582"/>
                  <a:pt x="6677711" y="3650630"/>
                  <a:pt x="6677711" y="3614916"/>
                </a:cubicBezTo>
                <a:cubicBezTo>
                  <a:pt x="6677711" y="3579202"/>
                  <a:pt x="6706663" y="3550250"/>
                  <a:pt x="6742377" y="3550250"/>
                </a:cubicBezTo>
                <a:close/>
                <a:moveTo>
                  <a:pt x="6585804" y="3550250"/>
                </a:moveTo>
                <a:cubicBezTo>
                  <a:pt x="6621518" y="3550250"/>
                  <a:pt x="6650470" y="3579202"/>
                  <a:pt x="6650470" y="3614916"/>
                </a:cubicBezTo>
                <a:cubicBezTo>
                  <a:pt x="6650470" y="3650630"/>
                  <a:pt x="6621518" y="3679582"/>
                  <a:pt x="6585804" y="3679582"/>
                </a:cubicBezTo>
                <a:cubicBezTo>
                  <a:pt x="6550090" y="3679582"/>
                  <a:pt x="6521138" y="3650630"/>
                  <a:pt x="6521138" y="3614916"/>
                </a:cubicBezTo>
                <a:cubicBezTo>
                  <a:pt x="6521138" y="3579202"/>
                  <a:pt x="6550090" y="3550250"/>
                  <a:pt x="6585804" y="3550250"/>
                </a:cubicBezTo>
                <a:close/>
                <a:moveTo>
                  <a:pt x="6429231" y="3550250"/>
                </a:moveTo>
                <a:cubicBezTo>
                  <a:pt x="6464945" y="3550250"/>
                  <a:pt x="6493897" y="3579202"/>
                  <a:pt x="6493897" y="3614916"/>
                </a:cubicBezTo>
                <a:cubicBezTo>
                  <a:pt x="6493897" y="3650630"/>
                  <a:pt x="6464945" y="3679582"/>
                  <a:pt x="6429231" y="3679582"/>
                </a:cubicBezTo>
                <a:cubicBezTo>
                  <a:pt x="6393517" y="3679582"/>
                  <a:pt x="6364565" y="3650630"/>
                  <a:pt x="6364565" y="3614916"/>
                </a:cubicBezTo>
                <a:cubicBezTo>
                  <a:pt x="6364565" y="3579202"/>
                  <a:pt x="6393517" y="3550250"/>
                  <a:pt x="6429231" y="3550250"/>
                </a:cubicBezTo>
                <a:close/>
                <a:moveTo>
                  <a:pt x="6276571" y="3550250"/>
                </a:moveTo>
                <a:cubicBezTo>
                  <a:pt x="6312285" y="3550250"/>
                  <a:pt x="6341237" y="3579202"/>
                  <a:pt x="6341237" y="3614916"/>
                </a:cubicBezTo>
                <a:cubicBezTo>
                  <a:pt x="6341237" y="3650630"/>
                  <a:pt x="6312285" y="3679582"/>
                  <a:pt x="6276571" y="3679582"/>
                </a:cubicBezTo>
                <a:cubicBezTo>
                  <a:pt x="6240857" y="3679582"/>
                  <a:pt x="6211905" y="3650630"/>
                  <a:pt x="6211905" y="3614916"/>
                </a:cubicBezTo>
                <a:cubicBezTo>
                  <a:pt x="6211905" y="3579202"/>
                  <a:pt x="6240857" y="3550250"/>
                  <a:pt x="6276571" y="3550250"/>
                </a:cubicBezTo>
                <a:close/>
                <a:moveTo>
                  <a:pt x="6119999" y="3550250"/>
                </a:moveTo>
                <a:cubicBezTo>
                  <a:pt x="6155713" y="3550250"/>
                  <a:pt x="6184665" y="3579202"/>
                  <a:pt x="6184665" y="3614916"/>
                </a:cubicBezTo>
                <a:cubicBezTo>
                  <a:pt x="6184665" y="3650630"/>
                  <a:pt x="6155713" y="3679582"/>
                  <a:pt x="6119999" y="3679582"/>
                </a:cubicBezTo>
                <a:cubicBezTo>
                  <a:pt x="6084285" y="3679582"/>
                  <a:pt x="6055333" y="3650630"/>
                  <a:pt x="6055333" y="3614916"/>
                </a:cubicBezTo>
                <a:cubicBezTo>
                  <a:pt x="6055333" y="3579202"/>
                  <a:pt x="6084285" y="3550250"/>
                  <a:pt x="6119999" y="3550250"/>
                </a:cubicBezTo>
                <a:close/>
                <a:moveTo>
                  <a:pt x="5967339" y="3550250"/>
                </a:moveTo>
                <a:cubicBezTo>
                  <a:pt x="6003053" y="3550250"/>
                  <a:pt x="6032005" y="3579202"/>
                  <a:pt x="6032005" y="3614916"/>
                </a:cubicBezTo>
                <a:cubicBezTo>
                  <a:pt x="6032005" y="3650630"/>
                  <a:pt x="6003053" y="3679582"/>
                  <a:pt x="5967339" y="3679582"/>
                </a:cubicBezTo>
                <a:cubicBezTo>
                  <a:pt x="5931625" y="3679582"/>
                  <a:pt x="5902673" y="3650630"/>
                  <a:pt x="5902673" y="3614916"/>
                </a:cubicBezTo>
                <a:cubicBezTo>
                  <a:pt x="5902673" y="3579202"/>
                  <a:pt x="5931625" y="3550250"/>
                  <a:pt x="5967339" y="3550250"/>
                </a:cubicBezTo>
                <a:close/>
                <a:moveTo>
                  <a:pt x="5810778" y="3550250"/>
                </a:moveTo>
                <a:cubicBezTo>
                  <a:pt x="5846480" y="3550250"/>
                  <a:pt x="5875432" y="3579202"/>
                  <a:pt x="5875432" y="3614916"/>
                </a:cubicBezTo>
                <a:cubicBezTo>
                  <a:pt x="5875432" y="3650630"/>
                  <a:pt x="5846480" y="3679582"/>
                  <a:pt x="5810778" y="3679582"/>
                </a:cubicBezTo>
                <a:cubicBezTo>
                  <a:pt x="5775061" y="3679582"/>
                  <a:pt x="5746106" y="3650630"/>
                  <a:pt x="5746106" y="3614916"/>
                </a:cubicBezTo>
                <a:cubicBezTo>
                  <a:pt x="5746106" y="3579202"/>
                  <a:pt x="5775061" y="3550250"/>
                  <a:pt x="5810778" y="3550250"/>
                </a:cubicBezTo>
                <a:close/>
                <a:moveTo>
                  <a:pt x="5658107" y="3550250"/>
                </a:moveTo>
                <a:cubicBezTo>
                  <a:pt x="5693821" y="3550250"/>
                  <a:pt x="5722777" y="3579202"/>
                  <a:pt x="5722777" y="3614916"/>
                </a:cubicBezTo>
                <a:cubicBezTo>
                  <a:pt x="5722777" y="3650630"/>
                  <a:pt x="5693821" y="3679582"/>
                  <a:pt x="5658107" y="3679582"/>
                </a:cubicBezTo>
                <a:cubicBezTo>
                  <a:pt x="5622394" y="3679582"/>
                  <a:pt x="5593441" y="3650630"/>
                  <a:pt x="5593441" y="3614916"/>
                </a:cubicBezTo>
                <a:cubicBezTo>
                  <a:pt x="5593441" y="3579202"/>
                  <a:pt x="5622394" y="3550250"/>
                  <a:pt x="5658107" y="3550250"/>
                </a:cubicBezTo>
                <a:close/>
                <a:moveTo>
                  <a:pt x="5501536" y="3550250"/>
                </a:moveTo>
                <a:cubicBezTo>
                  <a:pt x="5537252" y="3550250"/>
                  <a:pt x="5566201" y="3579202"/>
                  <a:pt x="5566201" y="3614916"/>
                </a:cubicBezTo>
                <a:cubicBezTo>
                  <a:pt x="5566201" y="3650630"/>
                  <a:pt x="5537252" y="3679582"/>
                  <a:pt x="5501536" y="3679582"/>
                </a:cubicBezTo>
                <a:cubicBezTo>
                  <a:pt x="5465823" y="3679582"/>
                  <a:pt x="5436874" y="3650630"/>
                  <a:pt x="5436874" y="3614916"/>
                </a:cubicBezTo>
                <a:cubicBezTo>
                  <a:pt x="5436874" y="3579202"/>
                  <a:pt x="5465823" y="3550250"/>
                  <a:pt x="5501536" y="3550250"/>
                </a:cubicBezTo>
                <a:close/>
                <a:moveTo>
                  <a:pt x="5348883" y="3550250"/>
                </a:moveTo>
                <a:cubicBezTo>
                  <a:pt x="5384594" y="3550250"/>
                  <a:pt x="5413547" y="3579202"/>
                  <a:pt x="5413547" y="3614916"/>
                </a:cubicBezTo>
                <a:cubicBezTo>
                  <a:pt x="5413547" y="3650630"/>
                  <a:pt x="5384594" y="3679582"/>
                  <a:pt x="5348883" y="3679582"/>
                </a:cubicBezTo>
                <a:cubicBezTo>
                  <a:pt x="5313171" y="3679582"/>
                  <a:pt x="5284218" y="3650630"/>
                  <a:pt x="5284218" y="3614916"/>
                </a:cubicBezTo>
                <a:cubicBezTo>
                  <a:pt x="5284218" y="3579202"/>
                  <a:pt x="5313171" y="3550250"/>
                  <a:pt x="5348883" y="3550250"/>
                </a:cubicBezTo>
                <a:close/>
                <a:moveTo>
                  <a:pt x="5192310" y="3550250"/>
                </a:moveTo>
                <a:cubicBezTo>
                  <a:pt x="5228026" y="3550250"/>
                  <a:pt x="5256975" y="3579202"/>
                  <a:pt x="5256975" y="3614916"/>
                </a:cubicBezTo>
                <a:cubicBezTo>
                  <a:pt x="5256975" y="3650630"/>
                  <a:pt x="5228026" y="3679582"/>
                  <a:pt x="5192310" y="3679582"/>
                </a:cubicBezTo>
                <a:cubicBezTo>
                  <a:pt x="5156599" y="3679582"/>
                  <a:pt x="5127644" y="3650630"/>
                  <a:pt x="5127644" y="3614916"/>
                </a:cubicBezTo>
                <a:cubicBezTo>
                  <a:pt x="5127644" y="3579202"/>
                  <a:pt x="5156599" y="3550250"/>
                  <a:pt x="5192310" y="3550250"/>
                </a:cubicBezTo>
                <a:close/>
                <a:moveTo>
                  <a:pt x="5031828" y="3550250"/>
                </a:moveTo>
                <a:cubicBezTo>
                  <a:pt x="5067537" y="3550250"/>
                  <a:pt x="5096490" y="3579202"/>
                  <a:pt x="5096490" y="3614916"/>
                </a:cubicBezTo>
                <a:cubicBezTo>
                  <a:pt x="5096490" y="3650630"/>
                  <a:pt x="5067537" y="3679582"/>
                  <a:pt x="5031828" y="3679582"/>
                </a:cubicBezTo>
                <a:cubicBezTo>
                  <a:pt x="4996106" y="3679582"/>
                  <a:pt x="4967158" y="3650630"/>
                  <a:pt x="4967158" y="3614916"/>
                </a:cubicBezTo>
                <a:cubicBezTo>
                  <a:pt x="4967158" y="3579202"/>
                  <a:pt x="4996106" y="3550250"/>
                  <a:pt x="5031828" y="3550250"/>
                </a:cubicBezTo>
                <a:close/>
                <a:moveTo>
                  <a:pt x="3321299" y="3550250"/>
                </a:moveTo>
                <a:cubicBezTo>
                  <a:pt x="3357010" y="3550250"/>
                  <a:pt x="3385957" y="3579202"/>
                  <a:pt x="3385957" y="3614916"/>
                </a:cubicBezTo>
                <a:cubicBezTo>
                  <a:pt x="3385957" y="3650630"/>
                  <a:pt x="3357010" y="3679582"/>
                  <a:pt x="3321299" y="3679582"/>
                </a:cubicBezTo>
                <a:cubicBezTo>
                  <a:pt x="3285583" y="3679582"/>
                  <a:pt x="3256631" y="3650630"/>
                  <a:pt x="3256631" y="3614916"/>
                </a:cubicBezTo>
                <a:cubicBezTo>
                  <a:pt x="3256631" y="3579202"/>
                  <a:pt x="3285583" y="3550250"/>
                  <a:pt x="3321299" y="3550250"/>
                </a:cubicBezTo>
                <a:close/>
                <a:moveTo>
                  <a:pt x="3172552" y="3550250"/>
                </a:moveTo>
                <a:cubicBezTo>
                  <a:pt x="3208268" y="3550250"/>
                  <a:pt x="3237221" y="3579202"/>
                  <a:pt x="3237221" y="3614916"/>
                </a:cubicBezTo>
                <a:cubicBezTo>
                  <a:pt x="3237221" y="3650630"/>
                  <a:pt x="3208268" y="3679582"/>
                  <a:pt x="3172552" y="3679582"/>
                </a:cubicBezTo>
                <a:cubicBezTo>
                  <a:pt x="3136834" y="3679582"/>
                  <a:pt x="3107879" y="3650630"/>
                  <a:pt x="3107879" y="3614916"/>
                </a:cubicBezTo>
                <a:cubicBezTo>
                  <a:pt x="3107879" y="3579202"/>
                  <a:pt x="3136834" y="3550250"/>
                  <a:pt x="3172552" y="3550250"/>
                </a:cubicBezTo>
                <a:close/>
                <a:moveTo>
                  <a:pt x="3012054" y="3550250"/>
                </a:moveTo>
                <a:cubicBezTo>
                  <a:pt x="3047766" y="3550250"/>
                  <a:pt x="3076721" y="3579202"/>
                  <a:pt x="3076721" y="3614916"/>
                </a:cubicBezTo>
                <a:cubicBezTo>
                  <a:pt x="3076721" y="3650630"/>
                  <a:pt x="3047766" y="3679582"/>
                  <a:pt x="3012054" y="3679582"/>
                </a:cubicBezTo>
                <a:cubicBezTo>
                  <a:pt x="2976341" y="3679582"/>
                  <a:pt x="2947391" y="3650630"/>
                  <a:pt x="2947391" y="3614916"/>
                </a:cubicBezTo>
                <a:cubicBezTo>
                  <a:pt x="2947391" y="3579202"/>
                  <a:pt x="2976341" y="3550250"/>
                  <a:pt x="3012054" y="3550250"/>
                </a:cubicBezTo>
                <a:close/>
                <a:moveTo>
                  <a:pt x="2855489" y="3550250"/>
                </a:moveTo>
                <a:cubicBezTo>
                  <a:pt x="2891200" y="3550250"/>
                  <a:pt x="2920151" y="3579202"/>
                  <a:pt x="2920151" y="3614916"/>
                </a:cubicBezTo>
                <a:cubicBezTo>
                  <a:pt x="2920151" y="3650630"/>
                  <a:pt x="2891200" y="3679582"/>
                  <a:pt x="2855489" y="3679582"/>
                </a:cubicBezTo>
                <a:cubicBezTo>
                  <a:pt x="2819776" y="3679582"/>
                  <a:pt x="2790826" y="3650630"/>
                  <a:pt x="2790826" y="3614916"/>
                </a:cubicBezTo>
                <a:cubicBezTo>
                  <a:pt x="2790826" y="3579202"/>
                  <a:pt x="2819776" y="3550250"/>
                  <a:pt x="2855489" y="3550250"/>
                </a:cubicBezTo>
                <a:close/>
                <a:moveTo>
                  <a:pt x="2698923" y="3550250"/>
                </a:moveTo>
                <a:cubicBezTo>
                  <a:pt x="2734636" y="3550250"/>
                  <a:pt x="2763586" y="3579202"/>
                  <a:pt x="2763586" y="3614916"/>
                </a:cubicBezTo>
                <a:cubicBezTo>
                  <a:pt x="2763586" y="3650630"/>
                  <a:pt x="2734636" y="3679582"/>
                  <a:pt x="2698923" y="3679582"/>
                </a:cubicBezTo>
                <a:cubicBezTo>
                  <a:pt x="2663212" y="3679582"/>
                  <a:pt x="2634261" y="3650630"/>
                  <a:pt x="2634261" y="3614916"/>
                </a:cubicBezTo>
                <a:cubicBezTo>
                  <a:pt x="2634261" y="3579202"/>
                  <a:pt x="2663212" y="3550250"/>
                  <a:pt x="2698923" y="3550250"/>
                </a:cubicBezTo>
                <a:close/>
                <a:moveTo>
                  <a:pt x="9541125" y="3401506"/>
                </a:moveTo>
                <a:cubicBezTo>
                  <a:pt x="9576839" y="3401506"/>
                  <a:pt x="9605791" y="3430458"/>
                  <a:pt x="9605791" y="3466172"/>
                </a:cubicBezTo>
                <a:cubicBezTo>
                  <a:pt x="9605791" y="3501886"/>
                  <a:pt x="9576839" y="3530838"/>
                  <a:pt x="9541125" y="3530838"/>
                </a:cubicBezTo>
                <a:cubicBezTo>
                  <a:pt x="9505411" y="3530838"/>
                  <a:pt x="9476459" y="3501886"/>
                  <a:pt x="9476459" y="3466172"/>
                </a:cubicBezTo>
                <a:cubicBezTo>
                  <a:pt x="9476459" y="3430458"/>
                  <a:pt x="9505411" y="3401506"/>
                  <a:pt x="9541125" y="3401506"/>
                </a:cubicBezTo>
                <a:close/>
                <a:moveTo>
                  <a:pt x="8914831" y="3401506"/>
                </a:moveTo>
                <a:cubicBezTo>
                  <a:pt x="8950545" y="3401506"/>
                  <a:pt x="8979497" y="3430458"/>
                  <a:pt x="8979497" y="3466172"/>
                </a:cubicBezTo>
                <a:cubicBezTo>
                  <a:pt x="8979497" y="3501886"/>
                  <a:pt x="8950545" y="3530838"/>
                  <a:pt x="8914831" y="3530838"/>
                </a:cubicBezTo>
                <a:cubicBezTo>
                  <a:pt x="8879117" y="3530838"/>
                  <a:pt x="8850165" y="3501886"/>
                  <a:pt x="8850165" y="3466172"/>
                </a:cubicBezTo>
                <a:cubicBezTo>
                  <a:pt x="8850165" y="3430458"/>
                  <a:pt x="8879117" y="3401506"/>
                  <a:pt x="8914831" y="3401506"/>
                </a:cubicBezTo>
                <a:close/>
                <a:moveTo>
                  <a:pt x="8766086" y="3401506"/>
                </a:moveTo>
                <a:cubicBezTo>
                  <a:pt x="8801800" y="3401506"/>
                  <a:pt x="8830752" y="3430458"/>
                  <a:pt x="8830752" y="3466172"/>
                </a:cubicBezTo>
                <a:cubicBezTo>
                  <a:pt x="8830752" y="3501886"/>
                  <a:pt x="8801800" y="3530838"/>
                  <a:pt x="8766086" y="3530838"/>
                </a:cubicBezTo>
                <a:cubicBezTo>
                  <a:pt x="8730372" y="3530838"/>
                  <a:pt x="8701420" y="3501886"/>
                  <a:pt x="8701420" y="3466172"/>
                </a:cubicBezTo>
                <a:cubicBezTo>
                  <a:pt x="8701420" y="3430458"/>
                  <a:pt x="8730372" y="3401506"/>
                  <a:pt x="8766086" y="3401506"/>
                </a:cubicBezTo>
                <a:close/>
                <a:moveTo>
                  <a:pt x="8139793" y="3401506"/>
                </a:moveTo>
                <a:cubicBezTo>
                  <a:pt x="8175507" y="3401506"/>
                  <a:pt x="8204459" y="3430458"/>
                  <a:pt x="8204459" y="3466172"/>
                </a:cubicBezTo>
                <a:cubicBezTo>
                  <a:pt x="8204459" y="3501886"/>
                  <a:pt x="8175507" y="3530838"/>
                  <a:pt x="8139793" y="3530838"/>
                </a:cubicBezTo>
                <a:cubicBezTo>
                  <a:pt x="8104079" y="3530838"/>
                  <a:pt x="8075127" y="3501886"/>
                  <a:pt x="8075127" y="3466172"/>
                </a:cubicBezTo>
                <a:cubicBezTo>
                  <a:pt x="8075127" y="3430458"/>
                  <a:pt x="8104079" y="3401506"/>
                  <a:pt x="8139793" y="3401506"/>
                </a:cubicBezTo>
                <a:close/>
                <a:moveTo>
                  <a:pt x="7987135" y="3401506"/>
                </a:moveTo>
                <a:cubicBezTo>
                  <a:pt x="8022849" y="3401506"/>
                  <a:pt x="8051801" y="3430458"/>
                  <a:pt x="8051801" y="3466172"/>
                </a:cubicBezTo>
                <a:cubicBezTo>
                  <a:pt x="8051801" y="3501886"/>
                  <a:pt x="8022849" y="3530838"/>
                  <a:pt x="7987135" y="3530838"/>
                </a:cubicBezTo>
                <a:cubicBezTo>
                  <a:pt x="7951421" y="3530838"/>
                  <a:pt x="7922469" y="3501886"/>
                  <a:pt x="7922469" y="3466172"/>
                </a:cubicBezTo>
                <a:cubicBezTo>
                  <a:pt x="7922469" y="3430458"/>
                  <a:pt x="7951421" y="3401506"/>
                  <a:pt x="7987135" y="3401506"/>
                </a:cubicBezTo>
                <a:close/>
                <a:moveTo>
                  <a:pt x="6742377" y="3401506"/>
                </a:moveTo>
                <a:cubicBezTo>
                  <a:pt x="6778091" y="3401506"/>
                  <a:pt x="6807043" y="3430458"/>
                  <a:pt x="6807043" y="3466172"/>
                </a:cubicBezTo>
                <a:cubicBezTo>
                  <a:pt x="6807043" y="3501886"/>
                  <a:pt x="6778091" y="3530838"/>
                  <a:pt x="6742377" y="3530838"/>
                </a:cubicBezTo>
                <a:cubicBezTo>
                  <a:pt x="6706663" y="3530838"/>
                  <a:pt x="6677711" y="3501886"/>
                  <a:pt x="6677711" y="3466172"/>
                </a:cubicBezTo>
                <a:cubicBezTo>
                  <a:pt x="6677711" y="3430458"/>
                  <a:pt x="6706663" y="3401506"/>
                  <a:pt x="6742377" y="3401506"/>
                </a:cubicBezTo>
                <a:close/>
                <a:moveTo>
                  <a:pt x="6585804" y="3401506"/>
                </a:moveTo>
                <a:cubicBezTo>
                  <a:pt x="6621518" y="3401506"/>
                  <a:pt x="6650470" y="3430458"/>
                  <a:pt x="6650470" y="3466172"/>
                </a:cubicBezTo>
                <a:cubicBezTo>
                  <a:pt x="6650470" y="3501886"/>
                  <a:pt x="6621518" y="3530838"/>
                  <a:pt x="6585804" y="3530838"/>
                </a:cubicBezTo>
                <a:cubicBezTo>
                  <a:pt x="6550090" y="3530838"/>
                  <a:pt x="6521138" y="3501886"/>
                  <a:pt x="6521138" y="3466172"/>
                </a:cubicBezTo>
                <a:cubicBezTo>
                  <a:pt x="6521138" y="3430458"/>
                  <a:pt x="6550090" y="3401506"/>
                  <a:pt x="6585804" y="3401506"/>
                </a:cubicBezTo>
                <a:close/>
                <a:moveTo>
                  <a:pt x="6429231" y="3401506"/>
                </a:moveTo>
                <a:cubicBezTo>
                  <a:pt x="6464945" y="3401506"/>
                  <a:pt x="6493897" y="3430458"/>
                  <a:pt x="6493897" y="3466172"/>
                </a:cubicBezTo>
                <a:cubicBezTo>
                  <a:pt x="6493897" y="3501886"/>
                  <a:pt x="6464945" y="3530838"/>
                  <a:pt x="6429231" y="3530838"/>
                </a:cubicBezTo>
                <a:cubicBezTo>
                  <a:pt x="6393517" y="3530838"/>
                  <a:pt x="6364565" y="3501886"/>
                  <a:pt x="6364565" y="3466172"/>
                </a:cubicBezTo>
                <a:cubicBezTo>
                  <a:pt x="6364565" y="3430458"/>
                  <a:pt x="6393517" y="3401506"/>
                  <a:pt x="6429231" y="3401506"/>
                </a:cubicBezTo>
                <a:close/>
                <a:moveTo>
                  <a:pt x="6276571" y="3401506"/>
                </a:moveTo>
                <a:cubicBezTo>
                  <a:pt x="6312285" y="3401506"/>
                  <a:pt x="6341237" y="3430458"/>
                  <a:pt x="6341237" y="3466172"/>
                </a:cubicBezTo>
                <a:cubicBezTo>
                  <a:pt x="6341237" y="3501886"/>
                  <a:pt x="6312285" y="3530838"/>
                  <a:pt x="6276571" y="3530838"/>
                </a:cubicBezTo>
                <a:cubicBezTo>
                  <a:pt x="6240857" y="3530838"/>
                  <a:pt x="6211905" y="3501886"/>
                  <a:pt x="6211905" y="3466172"/>
                </a:cubicBezTo>
                <a:cubicBezTo>
                  <a:pt x="6211905" y="3430458"/>
                  <a:pt x="6240857" y="3401506"/>
                  <a:pt x="6276571" y="3401506"/>
                </a:cubicBezTo>
                <a:close/>
                <a:moveTo>
                  <a:pt x="6119999" y="3401506"/>
                </a:moveTo>
                <a:cubicBezTo>
                  <a:pt x="6155713" y="3401506"/>
                  <a:pt x="6184665" y="3430458"/>
                  <a:pt x="6184665" y="3466172"/>
                </a:cubicBezTo>
                <a:cubicBezTo>
                  <a:pt x="6184665" y="3501886"/>
                  <a:pt x="6155713" y="3530838"/>
                  <a:pt x="6119999" y="3530838"/>
                </a:cubicBezTo>
                <a:cubicBezTo>
                  <a:pt x="6084285" y="3530838"/>
                  <a:pt x="6055333" y="3501886"/>
                  <a:pt x="6055333" y="3466172"/>
                </a:cubicBezTo>
                <a:cubicBezTo>
                  <a:pt x="6055333" y="3430458"/>
                  <a:pt x="6084285" y="3401506"/>
                  <a:pt x="6119999" y="3401506"/>
                </a:cubicBezTo>
                <a:close/>
                <a:moveTo>
                  <a:pt x="5967338" y="3401504"/>
                </a:moveTo>
                <a:cubicBezTo>
                  <a:pt x="6003052" y="3401504"/>
                  <a:pt x="6032004" y="3430456"/>
                  <a:pt x="6032004" y="3466170"/>
                </a:cubicBezTo>
                <a:cubicBezTo>
                  <a:pt x="6032004" y="3501884"/>
                  <a:pt x="6003052" y="3530836"/>
                  <a:pt x="5967338" y="3530836"/>
                </a:cubicBezTo>
                <a:cubicBezTo>
                  <a:pt x="5931624" y="3530836"/>
                  <a:pt x="5902672" y="3501884"/>
                  <a:pt x="5902672" y="3466170"/>
                </a:cubicBezTo>
                <a:cubicBezTo>
                  <a:pt x="5902672" y="3430456"/>
                  <a:pt x="5931624" y="3401504"/>
                  <a:pt x="5967338" y="3401504"/>
                </a:cubicBezTo>
                <a:close/>
                <a:moveTo>
                  <a:pt x="5810778" y="3401504"/>
                </a:moveTo>
                <a:cubicBezTo>
                  <a:pt x="5846479" y="3401504"/>
                  <a:pt x="5875431" y="3430456"/>
                  <a:pt x="5875431" y="3466170"/>
                </a:cubicBezTo>
                <a:cubicBezTo>
                  <a:pt x="5875431" y="3501884"/>
                  <a:pt x="5846479" y="3530836"/>
                  <a:pt x="5810778" y="3530836"/>
                </a:cubicBezTo>
                <a:cubicBezTo>
                  <a:pt x="5775061" y="3530836"/>
                  <a:pt x="5746106" y="3501884"/>
                  <a:pt x="5746106" y="3466170"/>
                </a:cubicBezTo>
                <a:cubicBezTo>
                  <a:pt x="5746106" y="3430456"/>
                  <a:pt x="5775061" y="3401504"/>
                  <a:pt x="5810778" y="3401504"/>
                </a:cubicBezTo>
                <a:close/>
                <a:moveTo>
                  <a:pt x="5658107" y="3401504"/>
                </a:moveTo>
                <a:cubicBezTo>
                  <a:pt x="5693821" y="3401504"/>
                  <a:pt x="5722777" y="3430456"/>
                  <a:pt x="5722777" y="3466170"/>
                </a:cubicBezTo>
                <a:cubicBezTo>
                  <a:pt x="5722777" y="3501884"/>
                  <a:pt x="5693821" y="3530836"/>
                  <a:pt x="5658107" y="3530836"/>
                </a:cubicBezTo>
                <a:cubicBezTo>
                  <a:pt x="5622394" y="3530836"/>
                  <a:pt x="5593441" y="3501884"/>
                  <a:pt x="5593441" y="3466170"/>
                </a:cubicBezTo>
                <a:cubicBezTo>
                  <a:pt x="5593441" y="3430456"/>
                  <a:pt x="5622394" y="3401504"/>
                  <a:pt x="5658107" y="3401504"/>
                </a:cubicBezTo>
                <a:close/>
                <a:moveTo>
                  <a:pt x="5501536" y="3401504"/>
                </a:moveTo>
                <a:cubicBezTo>
                  <a:pt x="5537252" y="3401504"/>
                  <a:pt x="5566202" y="3430456"/>
                  <a:pt x="5566202" y="3466170"/>
                </a:cubicBezTo>
                <a:cubicBezTo>
                  <a:pt x="5566202" y="3501884"/>
                  <a:pt x="5537252" y="3530836"/>
                  <a:pt x="5501536" y="3530836"/>
                </a:cubicBezTo>
                <a:cubicBezTo>
                  <a:pt x="5465823" y="3530836"/>
                  <a:pt x="5436874" y="3501884"/>
                  <a:pt x="5436874" y="3466170"/>
                </a:cubicBezTo>
                <a:cubicBezTo>
                  <a:pt x="5436874" y="3430456"/>
                  <a:pt x="5465823" y="3401504"/>
                  <a:pt x="5501536" y="3401504"/>
                </a:cubicBezTo>
                <a:close/>
                <a:moveTo>
                  <a:pt x="5348883" y="3401504"/>
                </a:moveTo>
                <a:cubicBezTo>
                  <a:pt x="5384594" y="3401504"/>
                  <a:pt x="5413547" y="3430456"/>
                  <a:pt x="5413547" y="3466170"/>
                </a:cubicBezTo>
                <a:cubicBezTo>
                  <a:pt x="5413547" y="3501884"/>
                  <a:pt x="5384594" y="3530836"/>
                  <a:pt x="5348883" y="3530836"/>
                </a:cubicBezTo>
                <a:cubicBezTo>
                  <a:pt x="5313171" y="3530836"/>
                  <a:pt x="5284218" y="3501884"/>
                  <a:pt x="5284218" y="3466170"/>
                </a:cubicBezTo>
                <a:cubicBezTo>
                  <a:pt x="5284218" y="3430456"/>
                  <a:pt x="5313171" y="3401504"/>
                  <a:pt x="5348883" y="3401504"/>
                </a:cubicBezTo>
                <a:close/>
                <a:moveTo>
                  <a:pt x="5192310" y="3401504"/>
                </a:moveTo>
                <a:cubicBezTo>
                  <a:pt x="5228024" y="3401504"/>
                  <a:pt x="5256973" y="3430456"/>
                  <a:pt x="5256973" y="3466170"/>
                </a:cubicBezTo>
                <a:cubicBezTo>
                  <a:pt x="5256973" y="3501884"/>
                  <a:pt x="5228024" y="3530836"/>
                  <a:pt x="5192310" y="3530836"/>
                </a:cubicBezTo>
                <a:cubicBezTo>
                  <a:pt x="5156597" y="3530836"/>
                  <a:pt x="5127643" y="3501884"/>
                  <a:pt x="5127643" y="3466170"/>
                </a:cubicBezTo>
                <a:cubicBezTo>
                  <a:pt x="5127643" y="3430456"/>
                  <a:pt x="5156597" y="3401504"/>
                  <a:pt x="5192310" y="3401504"/>
                </a:cubicBezTo>
                <a:close/>
                <a:moveTo>
                  <a:pt x="5031826" y="3401504"/>
                </a:moveTo>
                <a:cubicBezTo>
                  <a:pt x="5067537" y="3401504"/>
                  <a:pt x="5096490" y="3430456"/>
                  <a:pt x="5096490" y="3466170"/>
                </a:cubicBezTo>
                <a:cubicBezTo>
                  <a:pt x="5096490" y="3501884"/>
                  <a:pt x="5067537" y="3530836"/>
                  <a:pt x="5031826" y="3530836"/>
                </a:cubicBezTo>
                <a:cubicBezTo>
                  <a:pt x="4996106" y="3530836"/>
                  <a:pt x="4967156" y="3501884"/>
                  <a:pt x="4967156" y="3466170"/>
                </a:cubicBezTo>
                <a:cubicBezTo>
                  <a:pt x="4967156" y="3430456"/>
                  <a:pt x="4996106" y="3401504"/>
                  <a:pt x="5031826" y="3401504"/>
                </a:cubicBezTo>
                <a:close/>
                <a:moveTo>
                  <a:pt x="2698926" y="3401504"/>
                </a:moveTo>
                <a:cubicBezTo>
                  <a:pt x="2734638" y="3401504"/>
                  <a:pt x="2763588" y="3430456"/>
                  <a:pt x="2763588" y="3466170"/>
                </a:cubicBezTo>
                <a:cubicBezTo>
                  <a:pt x="2763588" y="3501884"/>
                  <a:pt x="2734638" y="3530836"/>
                  <a:pt x="2698926" y="3530836"/>
                </a:cubicBezTo>
                <a:cubicBezTo>
                  <a:pt x="2663214" y="3530836"/>
                  <a:pt x="2634264" y="3501884"/>
                  <a:pt x="2634264" y="3466170"/>
                </a:cubicBezTo>
                <a:cubicBezTo>
                  <a:pt x="2634264" y="3430456"/>
                  <a:pt x="2663214" y="3401504"/>
                  <a:pt x="2698926" y="3401504"/>
                </a:cubicBezTo>
                <a:close/>
                <a:moveTo>
                  <a:pt x="2546275" y="3401504"/>
                </a:moveTo>
                <a:cubicBezTo>
                  <a:pt x="2581988" y="3401504"/>
                  <a:pt x="2610938" y="3430456"/>
                  <a:pt x="2610938" y="3466170"/>
                </a:cubicBezTo>
                <a:cubicBezTo>
                  <a:pt x="2610938" y="3501884"/>
                  <a:pt x="2581988" y="3530836"/>
                  <a:pt x="2546275" y="3530836"/>
                </a:cubicBezTo>
                <a:cubicBezTo>
                  <a:pt x="2510557" y="3530836"/>
                  <a:pt x="2481613" y="3501884"/>
                  <a:pt x="2481613" y="3466170"/>
                </a:cubicBezTo>
                <a:cubicBezTo>
                  <a:pt x="2481613" y="3430456"/>
                  <a:pt x="2510557" y="3401504"/>
                  <a:pt x="2546275" y="3401504"/>
                </a:cubicBezTo>
                <a:close/>
                <a:moveTo>
                  <a:pt x="9541123" y="3264501"/>
                </a:moveTo>
                <a:cubicBezTo>
                  <a:pt x="9576837" y="3264501"/>
                  <a:pt x="9605789" y="3293453"/>
                  <a:pt x="9605789" y="3329167"/>
                </a:cubicBezTo>
                <a:cubicBezTo>
                  <a:pt x="9605789" y="3364881"/>
                  <a:pt x="9576837" y="3393833"/>
                  <a:pt x="9541123" y="3393833"/>
                </a:cubicBezTo>
                <a:cubicBezTo>
                  <a:pt x="9505409" y="3393833"/>
                  <a:pt x="9476457" y="3364881"/>
                  <a:pt x="9476457" y="3329167"/>
                </a:cubicBezTo>
                <a:cubicBezTo>
                  <a:pt x="9476457" y="3293453"/>
                  <a:pt x="9505409" y="3264501"/>
                  <a:pt x="9541123" y="3264501"/>
                </a:cubicBezTo>
                <a:close/>
                <a:moveTo>
                  <a:pt x="9384550" y="3264501"/>
                </a:moveTo>
                <a:cubicBezTo>
                  <a:pt x="9420264" y="3264501"/>
                  <a:pt x="9449216" y="3293453"/>
                  <a:pt x="9449216" y="3329167"/>
                </a:cubicBezTo>
                <a:cubicBezTo>
                  <a:pt x="9449216" y="3364881"/>
                  <a:pt x="9420264" y="3393833"/>
                  <a:pt x="9384550" y="3393833"/>
                </a:cubicBezTo>
                <a:cubicBezTo>
                  <a:pt x="9348836" y="3393833"/>
                  <a:pt x="9319884" y="3364881"/>
                  <a:pt x="9319884" y="3329167"/>
                </a:cubicBezTo>
                <a:cubicBezTo>
                  <a:pt x="9319884" y="3293453"/>
                  <a:pt x="9348836" y="3264501"/>
                  <a:pt x="9384550" y="3264501"/>
                </a:cubicBezTo>
                <a:close/>
                <a:moveTo>
                  <a:pt x="9075317" y="3264501"/>
                </a:moveTo>
                <a:cubicBezTo>
                  <a:pt x="9111031" y="3264501"/>
                  <a:pt x="9139983" y="3293453"/>
                  <a:pt x="9139983" y="3329167"/>
                </a:cubicBezTo>
                <a:cubicBezTo>
                  <a:pt x="9139983" y="3364881"/>
                  <a:pt x="9111031" y="3393833"/>
                  <a:pt x="9075317" y="3393833"/>
                </a:cubicBezTo>
                <a:cubicBezTo>
                  <a:pt x="9039603" y="3393833"/>
                  <a:pt x="9010651" y="3364881"/>
                  <a:pt x="9010651" y="3329167"/>
                </a:cubicBezTo>
                <a:cubicBezTo>
                  <a:pt x="9010651" y="3293453"/>
                  <a:pt x="9039603" y="3264501"/>
                  <a:pt x="9075317" y="3264501"/>
                </a:cubicBezTo>
                <a:close/>
                <a:moveTo>
                  <a:pt x="8914829" y="3264501"/>
                </a:moveTo>
                <a:cubicBezTo>
                  <a:pt x="8950543" y="3264501"/>
                  <a:pt x="8979495" y="3293453"/>
                  <a:pt x="8979495" y="3329167"/>
                </a:cubicBezTo>
                <a:cubicBezTo>
                  <a:pt x="8979495" y="3364881"/>
                  <a:pt x="8950543" y="3393833"/>
                  <a:pt x="8914829" y="3393833"/>
                </a:cubicBezTo>
                <a:cubicBezTo>
                  <a:pt x="8879115" y="3393833"/>
                  <a:pt x="8850163" y="3364881"/>
                  <a:pt x="8850163" y="3329167"/>
                </a:cubicBezTo>
                <a:cubicBezTo>
                  <a:pt x="8850163" y="3293453"/>
                  <a:pt x="8879115" y="3264501"/>
                  <a:pt x="8914829" y="3264501"/>
                </a:cubicBezTo>
                <a:close/>
                <a:moveTo>
                  <a:pt x="8766086" y="3264501"/>
                </a:moveTo>
                <a:cubicBezTo>
                  <a:pt x="8801800" y="3264501"/>
                  <a:pt x="8830752" y="3293453"/>
                  <a:pt x="8830752" y="3329167"/>
                </a:cubicBezTo>
                <a:cubicBezTo>
                  <a:pt x="8830752" y="3364881"/>
                  <a:pt x="8801800" y="3393833"/>
                  <a:pt x="8766086" y="3393833"/>
                </a:cubicBezTo>
                <a:cubicBezTo>
                  <a:pt x="8730372" y="3393833"/>
                  <a:pt x="8701420" y="3364881"/>
                  <a:pt x="8701420" y="3329167"/>
                </a:cubicBezTo>
                <a:cubicBezTo>
                  <a:pt x="8701420" y="3293453"/>
                  <a:pt x="8730372" y="3264501"/>
                  <a:pt x="8766086" y="3264501"/>
                </a:cubicBezTo>
                <a:close/>
                <a:moveTo>
                  <a:pt x="8601683" y="3264501"/>
                </a:moveTo>
                <a:cubicBezTo>
                  <a:pt x="8637397" y="3264501"/>
                  <a:pt x="8666349" y="3293453"/>
                  <a:pt x="8666349" y="3329167"/>
                </a:cubicBezTo>
                <a:cubicBezTo>
                  <a:pt x="8666349" y="3364881"/>
                  <a:pt x="8637397" y="3393833"/>
                  <a:pt x="8601683" y="3393833"/>
                </a:cubicBezTo>
                <a:cubicBezTo>
                  <a:pt x="8565969" y="3393833"/>
                  <a:pt x="8537017" y="3364881"/>
                  <a:pt x="8537017" y="3329167"/>
                </a:cubicBezTo>
                <a:cubicBezTo>
                  <a:pt x="8537017" y="3293453"/>
                  <a:pt x="8565969" y="3264501"/>
                  <a:pt x="8601683" y="3264501"/>
                </a:cubicBezTo>
                <a:close/>
                <a:moveTo>
                  <a:pt x="8139792" y="3264501"/>
                </a:moveTo>
                <a:cubicBezTo>
                  <a:pt x="8175506" y="3264501"/>
                  <a:pt x="8204458" y="3293453"/>
                  <a:pt x="8204458" y="3329167"/>
                </a:cubicBezTo>
                <a:cubicBezTo>
                  <a:pt x="8204458" y="3364881"/>
                  <a:pt x="8175506" y="3393833"/>
                  <a:pt x="8139792" y="3393833"/>
                </a:cubicBezTo>
                <a:cubicBezTo>
                  <a:pt x="8104078" y="3393833"/>
                  <a:pt x="8075126" y="3364881"/>
                  <a:pt x="8075126" y="3329167"/>
                </a:cubicBezTo>
                <a:cubicBezTo>
                  <a:pt x="8075126" y="3293453"/>
                  <a:pt x="8104078" y="3264501"/>
                  <a:pt x="8139792" y="3264501"/>
                </a:cubicBezTo>
                <a:close/>
                <a:moveTo>
                  <a:pt x="7987133" y="3264501"/>
                </a:moveTo>
                <a:cubicBezTo>
                  <a:pt x="8022847" y="3264501"/>
                  <a:pt x="8051799" y="3293453"/>
                  <a:pt x="8051799" y="3329167"/>
                </a:cubicBezTo>
                <a:cubicBezTo>
                  <a:pt x="8051799" y="3364881"/>
                  <a:pt x="8022847" y="3393833"/>
                  <a:pt x="7987133" y="3393833"/>
                </a:cubicBezTo>
                <a:cubicBezTo>
                  <a:pt x="7951419" y="3393833"/>
                  <a:pt x="7922467" y="3364881"/>
                  <a:pt x="7922467" y="3329167"/>
                </a:cubicBezTo>
                <a:cubicBezTo>
                  <a:pt x="7922467" y="3293453"/>
                  <a:pt x="7951419" y="3264501"/>
                  <a:pt x="7987133" y="3264501"/>
                </a:cubicBezTo>
                <a:close/>
                <a:moveTo>
                  <a:pt x="7212096" y="3264501"/>
                </a:moveTo>
                <a:cubicBezTo>
                  <a:pt x="7247810" y="3264501"/>
                  <a:pt x="7276762" y="3293453"/>
                  <a:pt x="7276762" y="3329167"/>
                </a:cubicBezTo>
                <a:cubicBezTo>
                  <a:pt x="7276762" y="3364881"/>
                  <a:pt x="7247810" y="3393833"/>
                  <a:pt x="7212096" y="3393833"/>
                </a:cubicBezTo>
                <a:cubicBezTo>
                  <a:pt x="7176382" y="3393833"/>
                  <a:pt x="7147430" y="3364881"/>
                  <a:pt x="7147430" y="3329167"/>
                </a:cubicBezTo>
                <a:cubicBezTo>
                  <a:pt x="7147430" y="3293453"/>
                  <a:pt x="7176382" y="3264501"/>
                  <a:pt x="7212096" y="3264501"/>
                </a:cubicBezTo>
                <a:close/>
                <a:moveTo>
                  <a:pt x="7055523" y="3264501"/>
                </a:moveTo>
                <a:cubicBezTo>
                  <a:pt x="7091237" y="3264501"/>
                  <a:pt x="7120189" y="3293453"/>
                  <a:pt x="7120189" y="3329167"/>
                </a:cubicBezTo>
                <a:cubicBezTo>
                  <a:pt x="7120189" y="3364881"/>
                  <a:pt x="7091237" y="3393833"/>
                  <a:pt x="7055523" y="3393833"/>
                </a:cubicBezTo>
                <a:cubicBezTo>
                  <a:pt x="7019809" y="3393833"/>
                  <a:pt x="6990857" y="3364881"/>
                  <a:pt x="6990857" y="3329167"/>
                </a:cubicBezTo>
                <a:cubicBezTo>
                  <a:pt x="6990857" y="3293453"/>
                  <a:pt x="7019809" y="3264501"/>
                  <a:pt x="7055523" y="3264501"/>
                </a:cubicBezTo>
                <a:close/>
                <a:moveTo>
                  <a:pt x="6895037" y="3264501"/>
                </a:moveTo>
                <a:cubicBezTo>
                  <a:pt x="6930751" y="3264501"/>
                  <a:pt x="6959703" y="3293453"/>
                  <a:pt x="6959703" y="3329167"/>
                </a:cubicBezTo>
                <a:cubicBezTo>
                  <a:pt x="6959703" y="3364881"/>
                  <a:pt x="6930751" y="3393833"/>
                  <a:pt x="6895037" y="3393833"/>
                </a:cubicBezTo>
                <a:cubicBezTo>
                  <a:pt x="6859323" y="3393833"/>
                  <a:pt x="6830371" y="3364881"/>
                  <a:pt x="6830371" y="3329167"/>
                </a:cubicBezTo>
                <a:cubicBezTo>
                  <a:pt x="6830371" y="3293453"/>
                  <a:pt x="6859323" y="3264501"/>
                  <a:pt x="6895037" y="3264501"/>
                </a:cubicBezTo>
                <a:close/>
                <a:moveTo>
                  <a:pt x="6585802" y="3264501"/>
                </a:moveTo>
                <a:cubicBezTo>
                  <a:pt x="6621516" y="3264501"/>
                  <a:pt x="6650468" y="3293453"/>
                  <a:pt x="6650468" y="3329167"/>
                </a:cubicBezTo>
                <a:cubicBezTo>
                  <a:pt x="6650468" y="3364881"/>
                  <a:pt x="6621516" y="3393833"/>
                  <a:pt x="6585802" y="3393833"/>
                </a:cubicBezTo>
                <a:cubicBezTo>
                  <a:pt x="6550088" y="3393833"/>
                  <a:pt x="6521136" y="3364881"/>
                  <a:pt x="6521136" y="3329167"/>
                </a:cubicBezTo>
                <a:cubicBezTo>
                  <a:pt x="6521136" y="3293453"/>
                  <a:pt x="6550088" y="3264501"/>
                  <a:pt x="6585802" y="3264501"/>
                </a:cubicBezTo>
                <a:close/>
                <a:moveTo>
                  <a:pt x="6429229" y="3264501"/>
                </a:moveTo>
                <a:cubicBezTo>
                  <a:pt x="6464943" y="3264501"/>
                  <a:pt x="6493895" y="3293453"/>
                  <a:pt x="6493895" y="3329167"/>
                </a:cubicBezTo>
                <a:cubicBezTo>
                  <a:pt x="6493895" y="3364881"/>
                  <a:pt x="6464943" y="3393833"/>
                  <a:pt x="6429229" y="3393833"/>
                </a:cubicBezTo>
                <a:cubicBezTo>
                  <a:pt x="6393515" y="3393833"/>
                  <a:pt x="6364563" y="3364881"/>
                  <a:pt x="6364563" y="3329167"/>
                </a:cubicBezTo>
                <a:cubicBezTo>
                  <a:pt x="6364563" y="3293453"/>
                  <a:pt x="6393515" y="3264501"/>
                  <a:pt x="6429229" y="3264501"/>
                </a:cubicBezTo>
                <a:close/>
                <a:moveTo>
                  <a:pt x="6276571" y="3264501"/>
                </a:moveTo>
                <a:cubicBezTo>
                  <a:pt x="6312285" y="3264501"/>
                  <a:pt x="6341237" y="3293453"/>
                  <a:pt x="6341237" y="3329167"/>
                </a:cubicBezTo>
                <a:cubicBezTo>
                  <a:pt x="6341237" y="3364881"/>
                  <a:pt x="6312285" y="3393833"/>
                  <a:pt x="6276571" y="3393833"/>
                </a:cubicBezTo>
                <a:cubicBezTo>
                  <a:pt x="6240857" y="3393833"/>
                  <a:pt x="6211905" y="3364881"/>
                  <a:pt x="6211905" y="3329167"/>
                </a:cubicBezTo>
                <a:cubicBezTo>
                  <a:pt x="6211905" y="3293453"/>
                  <a:pt x="6240857" y="3264501"/>
                  <a:pt x="6276571" y="3264501"/>
                </a:cubicBezTo>
                <a:close/>
                <a:moveTo>
                  <a:pt x="6119999" y="3264501"/>
                </a:moveTo>
                <a:cubicBezTo>
                  <a:pt x="6155713" y="3264501"/>
                  <a:pt x="6184665" y="3293453"/>
                  <a:pt x="6184665" y="3329167"/>
                </a:cubicBezTo>
                <a:cubicBezTo>
                  <a:pt x="6184665" y="3364881"/>
                  <a:pt x="6155713" y="3393833"/>
                  <a:pt x="6119999" y="3393833"/>
                </a:cubicBezTo>
                <a:cubicBezTo>
                  <a:pt x="6084285" y="3393833"/>
                  <a:pt x="6055333" y="3364881"/>
                  <a:pt x="6055333" y="3329167"/>
                </a:cubicBezTo>
                <a:cubicBezTo>
                  <a:pt x="6055333" y="3293453"/>
                  <a:pt x="6084285" y="3264501"/>
                  <a:pt x="6119999" y="3264501"/>
                </a:cubicBezTo>
                <a:close/>
                <a:moveTo>
                  <a:pt x="5967338" y="3264501"/>
                </a:moveTo>
                <a:cubicBezTo>
                  <a:pt x="6003052" y="3264501"/>
                  <a:pt x="6032004" y="3293453"/>
                  <a:pt x="6032004" y="3329167"/>
                </a:cubicBezTo>
                <a:cubicBezTo>
                  <a:pt x="6032004" y="3364881"/>
                  <a:pt x="6003052" y="3393833"/>
                  <a:pt x="5967338" y="3393833"/>
                </a:cubicBezTo>
                <a:cubicBezTo>
                  <a:pt x="5931624" y="3393833"/>
                  <a:pt x="5902672" y="3364881"/>
                  <a:pt x="5902672" y="3329167"/>
                </a:cubicBezTo>
                <a:cubicBezTo>
                  <a:pt x="5902672" y="3293453"/>
                  <a:pt x="5931624" y="3264501"/>
                  <a:pt x="5967338" y="3264501"/>
                </a:cubicBezTo>
                <a:close/>
                <a:moveTo>
                  <a:pt x="5810780" y="3264501"/>
                </a:moveTo>
                <a:cubicBezTo>
                  <a:pt x="5846479" y="3264501"/>
                  <a:pt x="5875431" y="3293453"/>
                  <a:pt x="5875431" y="3329167"/>
                </a:cubicBezTo>
                <a:cubicBezTo>
                  <a:pt x="5875431" y="3364881"/>
                  <a:pt x="5846479" y="3393833"/>
                  <a:pt x="5810780" y="3393833"/>
                </a:cubicBezTo>
                <a:cubicBezTo>
                  <a:pt x="5775061" y="3393833"/>
                  <a:pt x="5746106" y="3364881"/>
                  <a:pt x="5746106" y="3329167"/>
                </a:cubicBezTo>
                <a:cubicBezTo>
                  <a:pt x="5746106" y="3293453"/>
                  <a:pt x="5775061" y="3264501"/>
                  <a:pt x="5810780" y="3264501"/>
                </a:cubicBezTo>
                <a:close/>
                <a:moveTo>
                  <a:pt x="5658107" y="3264501"/>
                </a:moveTo>
                <a:cubicBezTo>
                  <a:pt x="5693821" y="3264501"/>
                  <a:pt x="5722777" y="3293453"/>
                  <a:pt x="5722777" y="3329167"/>
                </a:cubicBezTo>
                <a:cubicBezTo>
                  <a:pt x="5722777" y="3364881"/>
                  <a:pt x="5693821" y="3393833"/>
                  <a:pt x="5658107" y="3393833"/>
                </a:cubicBezTo>
                <a:cubicBezTo>
                  <a:pt x="5622394" y="3393833"/>
                  <a:pt x="5593441" y="3364881"/>
                  <a:pt x="5593441" y="3329167"/>
                </a:cubicBezTo>
                <a:cubicBezTo>
                  <a:pt x="5593441" y="3293453"/>
                  <a:pt x="5622394" y="3264501"/>
                  <a:pt x="5658107" y="3264501"/>
                </a:cubicBezTo>
                <a:close/>
                <a:moveTo>
                  <a:pt x="5501536" y="3264501"/>
                </a:moveTo>
                <a:cubicBezTo>
                  <a:pt x="5537252" y="3264501"/>
                  <a:pt x="5566202" y="3293453"/>
                  <a:pt x="5566202" y="3329167"/>
                </a:cubicBezTo>
                <a:cubicBezTo>
                  <a:pt x="5566202" y="3364881"/>
                  <a:pt x="5537252" y="3393833"/>
                  <a:pt x="5501536" y="3393833"/>
                </a:cubicBezTo>
                <a:cubicBezTo>
                  <a:pt x="5465823" y="3393833"/>
                  <a:pt x="5436876" y="3364881"/>
                  <a:pt x="5436876" y="3329167"/>
                </a:cubicBezTo>
                <a:cubicBezTo>
                  <a:pt x="5436876" y="3293453"/>
                  <a:pt x="5465823" y="3264501"/>
                  <a:pt x="5501536" y="3264501"/>
                </a:cubicBezTo>
                <a:close/>
                <a:moveTo>
                  <a:pt x="5348883" y="3264501"/>
                </a:moveTo>
                <a:cubicBezTo>
                  <a:pt x="5384594" y="3264501"/>
                  <a:pt x="5413547" y="3293453"/>
                  <a:pt x="5413547" y="3329167"/>
                </a:cubicBezTo>
                <a:cubicBezTo>
                  <a:pt x="5413547" y="3364881"/>
                  <a:pt x="5384594" y="3393833"/>
                  <a:pt x="5348883" y="3393833"/>
                </a:cubicBezTo>
                <a:cubicBezTo>
                  <a:pt x="5313173" y="3393833"/>
                  <a:pt x="5284218" y="3364881"/>
                  <a:pt x="5284218" y="3329167"/>
                </a:cubicBezTo>
                <a:cubicBezTo>
                  <a:pt x="5284218" y="3293453"/>
                  <a:pt x="5313173" y="3264501"/>
                  <a:pt x="5348883" y="3264501"/>
                </a:cubicBezTo>
                <a:close/>
                <a:moveTo>
                  <a:pt x="5192310" y="3264501"/>
                </a:moveTo>
                <a:cubicBezTo>
                  <a:pt x="5228024" y="3264501"/>
                  <a:pt x="5256973" y="3293453"/>
                  <a:pt x="5256973" y="3329167"/>
                </a:cubicBezTo>
                <a:cubicBezTo>
                  <a:pt x="5256973" y="3364881"/>
                  <a:pt x="5228024" y="3393833"/>
                  <a:pt x="5192310" y="3393833"/>
                </a:cubicBezTo>
                <a:cubicBezTo>
                  <a:pt x="5156599" y="3393833"/>
                  <a:pt x="5127643" y="3364881"/>
                  <a:pt x="5127643" y="3329167"/>
                </a:cubicBezTo>
                <a:cubicBezTo>
                  <a:pt x="5127643" y="3293453"/>
                  <a:pt x="5156599" y="3264501"/>
                  <a:pt x="5192310" y="3264501"/>
                </a:cubicBezTo>
                <a:close/>
                <a:moveTo>
                  <a:pt x="5031828" y="3264501"/>
                </a:moveTo>
                <a:cubicBezTo>
                  <a:pt x="5067537" y="3264501"/>
                  <a:pt x="5096490" y="3293453"/>
                  <a:pt x="5096490" y="3329167"/>
                </a:cubicBezTo>
                <a:cubicBezTo>
                  <a:pt x="5096490" y="3364881"/>
                  <a:pt x="5067537" y="3393833"/>
                  <a:pt x="5031828" y="3393833"/>
                </a:cubicBezTo>
                <a:cubicBezTo>
                  <a:pt x="4996106" y="3393833"/>
                  <a:pt x="4967156" y="3364881"/>
                  <a:pt x="4967156" y="3329167"/>
                </a:cubicBezTo>
                <a:cubicBezTo>
                  <a:pt x="4967156" y="3293453"/>
                  <a:pt x="4996106" y="3264501"/>
                  <a:pt x="5031828" y="3264501"/>
                </a:cubicBezTo>
                <a:close/>
                <a:moveTo>
                  <a:pt x="3172560" y="3264501"/>
                </a:moveTo>
                <a:cubicBezTo>
                  <a:pt x="3208276" y="3264501"/>
                  <a:pt x="3237227" y="3293453"/>
                  <a:pt x="3237227" y="3329167"/>
                </a:cubicBezTo>
                <a:cubicBezTo>
                  <a:pt x="3237227" y="3364881"/>
                  <a:pt x="3208276" y="3393833"/>
                  <a:pt x="3172560" y="3393833"/>
                </a:cubicBezTo>
                <a:cubicBezTo>
                  <a:pt x="3136842" y="3393833"/>
                  <a:pt x="3107886" y="3364881"/>
                  <a:pt x="3107886" y="3329167"/>
                </a:cubicBezTo>
                <a:cubicBezTo>
                  <a:pt x="3107886" y="3293453"/>
                  <a:pt x="3136842" y="3264501"/>
                  <a:pt x="3172560" y="3264501"/>
                </a:cubicBezTo>
                <a:close/>
                <a:moveTo>
                  <a:pt x="2546279" y="3264501"/>
                </a:moveTo>
                <a:cubicBezTo>
                  <a:pt x="2581993" y="3264501"/>
                  <a:pt x="2610943" y="3293453"/>
                  <a:pt x="2610943" y="3329167"/>
                </a:cubicBezTo>
                <a:cubicBezTo>
                  <a:pt x="2610943" y="3364881"/>
                  <a:pt x="2581993" y="3393833"/>
                  <a:pt x="2546279" y="3393833"/>
                </a:cubicBezTo>
                <a:cubicBezTo>
                  <a:pt x="2510563" y="3393833"/>
                  <a:pt x="2481617" y="3364881"/>
                  <a:pt x="2481617" y="3329167"/>
                </a:cubicBezTo>
                <a:cubicBezTo>
                  <a:pt x="2481617" y="3293453"/>
                  <a:pt x="2510563" y="3264501"/>
                  <a:pt x="2546279" y="3264501"/>
                </a:cubicBezTo>
                <a:close/>
                <a:moveTo>
                  <a:pt x="2389697" y="3264501"/>
                </a:moveTo>
                <a:cubicBezTo>
                  <a:pt x="2425429" y="3264501"/>
                  <a:pt x="2454380" y="3293453"/>
                  <a:pt x="2454380" y="3329167"/>
                </a:cubicBezTo>
                <a:cubicBezTo>
                  <a:pt x="2454380" y="3364881"/>
                  <a:pt x="2425429" y="3393833"/>
                  <a:pt x="2389697" y="3393833"/>
                </a:cubicBezTo>
                <a:cubicBezTo>
                  <a:pt x="2354000" y="3393833"/>
                  <a:pt x="2325045" y="3364881"/>
                  <a:pt x="2325045" y="3329167"/>
                </a:cubicBezTo>
                <a:cubicBezTo>
                  <a:pt x="2325045" y="3293453"/>
                  <a:pt x="2354000" y="3264501"/>
                  <a:pt x="2389697" y="3264501"/>
                </a:cubicBezTo>
                <a:close/>
                <a:moveTo>
                  <a:pt x="2237042" y="3264501"/>
                </a:moveTo>
                <a:cubicBezTo>
                  <a:pt x="2272760" y="3264501"/>
                  <a:pt x="2301715" y="3293453"/>
                  <a:pt x="2301715" y="3329167"/>
                </a:cubicBezTo>
                <a:cubicBezTo>
                  <a:pt x="2301715" y="3364881"/>
                  <a:pt x="2272760" y="3393833"/>
                  <a:pt x="2237042" y="3393833"/>
                </a:cubicBezTo>
                <a:cubicBezTo>
                  <a:pt x="2201324" y="3393833"/>
                  <a:pt x="2172369" y="3364881"/>
                  <a:pt x="2172369" y="3329167"/>
                </a:cubicBezTo>
                <a:cubicBezTo>
                  <a:pt x="2172369" y="3293453"/>
                  <a:pt x="2201324" y="3264501"/>
                  <a:pt x="2237042" y="3264501"/>
                </a:cubicBezTo>
                <a:close/>
                <a:moveTo>
                  <a:pt x="2084374" y="3264501"/>
                </a:moveTo>
                <a:cubicBezTo>
                  <a:pt x="2120086" y="3264501"/>
                  <a:pt x="2149037" y="3293453"/>
                  <a:pt x="2149037" y="3329167"/>
                </a:cubicBezTo>
                <a:cubicBezTo>
                  <a:pt x="2149037" y="3364881"/>
                  <a:pt x="2120086" y="3393833"/>
                  <a:pt x="2084374" y="3393833"/>
                </a:cubicBezTo>
                <a:cubicBezTo>
                  <a:pt x="2048653" y="3393833"/>
                  <a:pt x="2019717" y="3364881"/>
                  <a:pt x="2019717" y="3329167"/>
                </a:cubicBezTo>
                <a:cubicBezTo>
                  <a:pt x="2019717" y="3293453"/>
                  <a:pt x="2048653" y="3264501"/>
                  <a:pt x="2084374" y="3264501"/>
                </a:cubicBezTo>
                <a:close/>
                <a:moveTo>
                  <a:pt x="8914829" y="3131417"/>
                </a:moveTo>
                <a:cubicBezTo>
                  <a:pt x="8950543" y="3131417"/>
                  <a:pt x="8979495" y="3160369"/>
                  <a:pt x="8979495" y="3196083"/>
                </a:cubicBezTo>
                <a:cubicBezTo>
                  <a:pt x="8979495" y="3231797"/>
                  <a:pt x="8950543" y="3260749"/>
                  <a:pt x="8914829" y="3260749"/>
                </a:cubicBezTo>
                <a:cubicBezTo>
                  <a:pt x="8879115" y="3260749"/>
                  <a:pt x="8850163" y="3231797"/>
                  <a:pt x="8850163" y="3196083"/>
                </a:cubicBezTo>
                <a:cubicBezTo>
                  <a:pt x="8850163" y="3160369"/>
                  <a:pt x="8879115" y="3131417"/>
                  <a:pt x="8914829" y="3131417"/>
                </a:cubicBezTo>
                <a:close/>
                <a:moveTo>
                  <a:pt x="8766086" y="3131417"/>
                </a:moveTo>
                <a:cubicBezTo>
                  <a:pt x="8801800" y="3131417"/>
                  <a:pt x="8830752" y="3160369"/>
                  <a:pt x="8830752" y="3196083"/>
                </a:cubicBezTo>
                <a:cubicBezTo>
                  <a:pt x="8830752" y="3231797"/>
                  <a:pt x="8801800" y="3260749"/>
                  <a:pt x="8766086" y="3260749"/>
                </a:cubicBezTo>
                <a:cubicBezTo>
                  <a:pt x="8730372" y="3260749"/>
                  <a:pt x="8701420" y="3231797"/>
                  <a:pt x="8701420" y="3196083"/>
                </a:cubicBezTo>
                <a:cubicBezTo>
                  <a:pt x="8701420" y="3160369"/>
                  <a:pt x="8730372" y="3131417"/>
                  <a:pt x="8766086" y="3131417"/>
                </a:cubicBezTo>
                <a:close/>
                <a:moveTo>
                  <a:pt x="8601683" y="3131417"/>
                </a:moveTo>
                <a:cubicBezTo>
                  <a:pt x="8637397" y="3131417"/>
                  <a:pt x="8666349" y="3160369"/>
                  <a:pt x="8666349" y="3196083"/>
                </a:cubicBezTo>
                <a:cubicBezTo>
                  <a:pt x="8666349" y="3231797"/>
                  <a:pt x="8637397" y="3260749"/>
                  <a:pt x="8601683" y="3260749"/>
                </a:cubicBezTo>
                <a:cubicBezTo>
                  <a:pt x="8565969" y="3260749"/>
                  <a:pt x="8537017" y="3231797"/>
                  <a:pt x="8537017" y="3196083"/>
                </a:cubicBezTo>
                <a:cubicBezTo>
                  <a:pt x="8537017" y="3160369"/>
                  <a:pt x="8565969" y="3131417"/>
                  <a:pt x="8601683" y="3131417"/>
                </a:cubicBezTo>
                <a:close/>
                <a:moveTo>
                  <a:pt x="8296367" y="3131417"/>
                </a:moveTo>
                <a:cubicBezTo>
                  <a:pt x="8332081" y="3131417"/>
                  <a:pt x="8361033" y="3160369"/>
                  <a:pt x="8361033" y="3196083"/>
                </a:cubicBezTo>
                <a:cubicBezTo>
                  <a:pt x="8361033" y="3231797"/>
                  <a:pt x="8332081" y="3260749"/>
                  <a:pt x="8296367" y="3260749"/>
                </a:cubicBezTo>
                <a:cubicBezTo>
                  <a:pt x="8260653" y="3260749"/>
                  <a:pt x="8231701" y="3231797"/>
                  <a:pt x="8231701" y="3196083"/>
                </a:cubicBezTo>
                <a:cubicBezTo>
                  <a:pt x="8231701" y="3160369"/>
                  <a:pt x="8260653" y="3131417"/>
                  <a:pt x="8296367" y="3131417"/>
                </a:cubicBezTo>
                <a:close/>
                <a:moveTo>
                  <a:pt x="8139792" y="3131417"/>
                </a:moveTo>
                <a:cubicBezTo>
                  <a:pt x="8175506" y="3131417"/>
                  <a:pt x="8204458" y="3160369"/>
                  <a:pt x="8204458" y="3196083"/>
                </a:cubicBezTo>
                <a:cubicBezTo>
                  <a:pt x="8204458" y="3231797"/>
                  <a:pt x="8175506" y="3260749"/>
                  <a:pt x="8139792" y="3260749"/>
                </a:cubicBezTo>
                <a:cubicBezTo>
                  <a:pt x="8104078" y="3260749"/>
                  <a:pt x="8075126" y="3231797"/>
                  <a:pt x="8075126" y="3196083"/>
                </a:cubicBezTo>
                <a:cubicBezTo>
                  <a:pt x="8075126" y="3160369"/>
                  <a:pt x="8104078" y="3131417"/>
                  <a:pt x="8139792" y="3131417"/>
                </a:cubicBezTo>
                <a:close/>
                <a:moveTo>
                  <a:pt x="7987133" y="3131417"/>
                </a:moveTo>
                <a:cubicBezTo>
                  <a:pt x="8022847" y="3131417"/>
                  <a:pt x="8051799" y="3160369"/>
                  <a:pt x="8051799" y="3196083"/>
                </a:cubicBezTo>
                <a:cubicBezTo>
                  <a:pt x="8051799" y="3231797"/>
                  <a:pt x="8022847" y="3260749"/>
                  <a:pt x="7987133" y="3260749"/>
                </a:cubicBezTo>
                <a:cubicBezTo>
                  <a:pt x="7951419" y="3260749"/>
                  <a:pt x="7922467" y="3231797"/>
                  <a:pt x="7922467" y="3196083"/>
                </a:cubicBezTo>
                <a:cubicBezTo>
                  <a:pt x="7922467" y="3160369"/>
                  <a:pt x="7951419" y="3131417"/>
                  <a:pt x="7987133" y="3131417"/>
                </a:cubicBezTo>
                <a:close/>
                <a:moveTo>
                  <a:pt x="7830562" y="3131417"/>
                </a:moveTo>
                <a:cubicBezTo>
                  <a:pt x="7866276" y="3131417"/>
                  <a:pt x="7895228" y="3160369"/>
                  <a:pt x="7895228" y="3196083"/>
                </a:cubicBezTo>
                <a:cubicBezTo>
                  <a:pt x="7895228" y="3231797"/>
                  <a:pt x="7866276" y="3260749"/>
                  <a:pt x="7830562" y="3260749"/>
                </a:cubicBezTo>
                <a:cubicBezTo>
                  <a:pt x="7794848" y="3260749"/>
                  <a:pt x="7765896" y="3231797"/>
                  <a:pt x="7765896" y="3196083"/>
                </a:cubicBezTo>
                <a:cubicBezTo>
                  <a:pt x="7765896" y="3160369"/>
                  <a:pt x="7794848" y="3131417"/>
                  <a:pt x="7830562" y="3131417"/>
                </a:cubicBezTo>
                <a:close/>
                <a:moveTo>
                  <a:pt x="7368669" y="3131417"/>
                </a:moveTo>
                <a:cubicBezTo>
                  <a:pt x="7404383" y="3131417"/>
                  <a:pt x="7433335" y="3160369"/>
                  <a:pt x="7433335" y="3196083"/>
                </a:cubicBezTo>
                <a:cubicBezTo>
                  <a:pt x="7433335" y="3231797"/>
                  <a:pt x="7404383" y="3260749"/>
                  <a:pt x="7368669" y="3260749"/>
                </a:cubicBezTo>
                <a:cubicBezTo>
                  <a:pt x="7332955" y="3260749"/>
                  <a:pt x="7304003" y="3231797"/>
                  <a:pt x="7304003" y="3196083"/>
                </a:cubicBezTo>
                <a:cubicBezTo>
                  <a:pt x="7304003" y="3160369"/>
                  <a:pt x="7332955" y="3131417"/>
                  <a:pt x="7368669" y="3131417"/>
                </a:cubicBezTo>
                <a:close/>
                <a:moveTo>
                  <a:pt x="7212096" y="3131417"/>
                </a:moveTo>
                <a:cubicBezTo>
                  <a:pt x="7247810" y="3131417"/>
                  <a:pt x="7276762" y="3160369"/>
                  <a:pt x="7276762" y="3196083"/>
                </a:cubicBezTo>
                <a:cubicBezTo>
                  <a:pt x="7276762" y="3231797"/>
                  <a:pt x="7247810" y="3260749"/>
                  <a:pt x="7212096" y="3260749"/>
                </a:cubicBezTo>
                <a:cubicBezTo>
                  <a:pt x="7176382" y="3260749"/>
                  <a:pt x="7147430" y="3231797"/>
                  <a:pt x="7147430" y="3196083"/>
                </a:cubicBezTo>
                <a:cubicBezTo>
                  <a:pt x="7147430" y="3160369"/>
                  <a:pt x="7176382" y="3131417"/>
                  <a:pt x="7212096" y="3131417"/>
                </a:cubicBezTo>
                <a:close/>
                <a:moveTo>
                  <a:pt x="7055523" y="3131417"/>
                </a:moveTo>
                <a:cubicBezTo>
                  <a:pt x="7091237" y="3131417"/>
                  <a:pt x="7120189" y="3160369"/>
                  <a:pt x="7120189" y="3196083"/>
                </a:cubicBezTo>
                <a:cubicBezTo>
                  <a:pt x="7120189" y="3231797"/>
                  <a:pt x="7091237" y="3260749"/>
                  <a:pt x="7055523" y="3260749"/>
                </a:cubicBezTo>
                <a:cubicBezTo>
                  <a:pt x="7019809" y="3260749"/>
                  <a:pt x="6990857" y="3231797"/>
                  <a:pt x="6990857" y="3196083"/>
                </a:cubicBezTo>
                <a:cubicBezTo>
                  <a:pt x="6990857" y="3160369"/>
                  <a:pt x="7019809" y="3131417"/>
                  <a:pt x="7055523" y="3131417"/>
                </a:cubicBezTo>
                <a:close/>
                <a:moveTo>
                  <a:pt x="6895037" y="3131417"/>
                </a:moveTo>
                <a:cubicBezTo>
                  <a:pt x="6930751" y="3131417"/>
                  <a:pt x="6959703" y="3160369"/>
                  <a:pt x="6959703" y="3196083"/>
                </a:cubicBezTo>
                <a:cubicBezTo>
                  <a:pt x="6959703" y="3231797"/>
                  <a:pt x="6930751" y="3260749"/>
                  <a:pt x="6895037" y="3260749"/>
                </a:cubicBezTo>
                <a:cubicBezTo>
                  <a:pt x="6859323" y="3260749"/>
                  <a:pt x="6830371" y="3231797"/>
                  <a:pt x="6830371" y="3196083"/>
                </a:cubicBezTo>
                <a:cubicBezTo>
                  <a:pt x="6830371" y="3160369"/>
                  <a:pt x="6859323" y="3131417"/>
                  <a:pt x="6895037" y="3131417"/>
                </a:cubicBezTo>
                <a:close/>
                <a:moveTo>
                  <a:pt x="6585802" y="3131417"/>
                </a:moveTo>
                <a:cubicBezTo>
                  <a:pt x="6621516" y="3131417"/>
                  <a:pt x="6650468" y="3160369"/>
                  <a:pt x="6650468" y="3196083"/>
                </a:cubicBezTo>
                <a:cubicBezTo>
                  <a:pt x="6650468" y="3231797"/>
                  <a:pt x="6621516" y="3260749"/>
                  <a:pt x="6585802" y="3260749"/>
                </a:cubicBezTo>
                <a:cubicBezTo>
                  <a:pt x="6550088" y="3260749"/>
                  <a:pt x="6521136" y="3231797"/>
                  <a:pt x="6521136" y="3196083"/>
                </a:cubicBezTo>
                <a:cubicBezTo>
                  <a:pt x="6521136" y="3160369"/>
                  <a:pt x="6550088" y="3131417"/>
                  <a:pt x="6585802" y="3131417"/>
                </a:cubicBezTo>
                <a:close/>
                <a:moveTo>
                  <a:pt x="6429229" y="3131417"/>
                </a:moveTo>
                <a:cubicBezTo>
                  <a:pt x="6464943" y="3131417"/>
                  <a:pt x="6493895" y="3160369"/>
                  <a:pt x="6493895" y="3196083"/>
                </a:cubicBezTo>
                <a:cubicBezTo>
                  <a:pt x="6493895" y="3231797"/>
                  <a:pt x="6464943" y="3260749"/>
                  <a:pt x="6429229" y="3260749"/>
                </a:cubicBezTo>
                <a:cubicBezTo>
                  <a:pt x="6393515" y="3260749"/>
                  <a:pt x="6364563" y="3231797"/>
                  <a:pt x="6364563" y="3196083"/>
                </a:cubicBezTo>
                <a:cubicBezTo>
                  <a:pt x="6364563" y="3160369"/>
                  <a:pt x="6393515" y="3131417"/>
                  <a:pt x="6429229" y="3131417"/>
                </a:cubicBezTo>
                <a:close/>
                <a:moveTo>
                  <a:pt x="6276571" y="3131417"/>
                </a:moveTo>
                <a:cubicBezTo>
                  <a:pt x="6312285" y="3131417"/>
                  <a:pt x="6341237" y="3160369"/>
                  <a:pt x="6341237" y="3196083"/>
                </a:cubicBezTo>
                <a:cubicBezTo>
                  <a:pt x="6341237" y="3231797"/>
                  <a:pt x="6312285" y="3260749"/>
                  <a:pt x="6276571" y="3260749"/>
                </a:cubicBezTo>
                <a:cubicBezTo>
                  <a:pt x="6240857" y="3260749"/>
                  <a:pt x="6211905" y="3231797"/>
                  <a:pt x="6211905" y="3196083"/>
                </a:cubicBezTo>
                <a:cubicBezTo>
                  <a:pt x="6211905" y="3160369"/>
                  <a:pt x="6240857" y="3131417"/>
                  <a:pt x="6276571" y="3131417"/>
                </a:cubicBezTo>
                <a:close/>
                <a:moveTo>
                  <a:pt x="6119999" y="3131417"/>
                </a:moveTo>
                <a:cubicBezTo>
                  <a:pt x="6155713" y="3131417"/>
                  <a:pt x="6184665" y="3160369"/>
                  <a:pt x="6184665" y="3196083"/>
                </a:cubicBezTo>
                <a:cubicBezTo>
                  <a:pt x="6184665" y="3231797"/>
                  <a:pt x="6155713" y="3260749"/>
                  <a:pt x="6119999" y="3260749"/>
                </a:cubicBezTo>
                <a:cubicBezTo>
                  <a:pt x="6084285" y="3260749"/>
                  <a:pt x="6055333" y="3231797"/>
                  <a:pt x="6055333" y="3196083"/>
                </a:cubicBezTo>
                <a:cubicBezTo>
                  <a:pt x="6055333" y="3160369"/>
                  <a:pt x="6084285" y="3131417"/>
                  <a:pt x="6119999" y="3131417"/>
                </a:cubicBezTo>
                <a:close/>
                <a:moveTo>
                  <a:pt x="5967338" y="3131417"/>
                </a:moveTo>
                <a:cubicBezTo>
                  <a:pt x="6003052" y="3131417"/>
                  <a:pt x="6032004" y="3160369"/>
                  <a:pt x="6032004" y="3196083"/>
                </a:cubicBezTo>
                <a:cubicBezTo>
                  <a:pt x="6032004" y="3231797"/>
                  <a:pt x="6003052" y="3260749"/>
                  <a:pt x="5967338" y="3260749"/>
                </a:cubicBezTo>
                <a:cubicBezTo>
                  <a:pt x="5931624" y="3260749"/>
                  <a:pt x="5902672" y="3231797"/>
                  <a:pt x="5902672" y="3196083"/>
                </a:cubicBezTo>
                <a:cubicBezTo>
                  <a:pt x="5902672" y="3160369"/>
                  <a:pt x="5931624" y="3131417"/>
                  <a:pt x="5967338" y="3131417"/>
                </a:cubicBezTo>
                <a:close/>
                <a:moveTo>
                  <a:pt x="5810780" y="3131417"/>
                </a:moveTo>
                <a:cubicBezTo>
                  <a:pt x="5846479" y="3131417"/>
                  <a:pt x="5875431" y="3160369"/>
                  <a:pt x="5875431" y="3196083"/>
                </a:cubicBezTo>
                <a:cubicBezTo>
                  <a:pt x="5875431" y="3231797"/>
                  <a:pt x="5846479" y="3260749"/>
                  <a:pt x="5810780" y="3260749"/>
                </a:cubicBezTo>
                <a:cubicBezTo>
                  <a:pt x="5775061" y="3260749"/>
                  <a:pt x="5746108" y="3231797"/>
                  <a:pt x="5746108" y="3196083"/>
                </a:cubicBezTo>
                <a:cubicBezTo>
                  <a:pt x="5746108" y="3160369"/>
                  <a:pt x="5775061" y="3131417"/>
                  <a:pt x="5810780" y="3131417"/>
                </a:cubicBezTo>
                <a:close/>
                <a:moveTo>
                  <a:pt x="5658107" y="3131417"/>
                </a:moveTo>
                <a:cubicBezTo>
                  <a:pt x="5693821" y="3131417"/>
                  <a:pt x="5722777" y="3160369"/>
                  <a:pt x="5722777" y="3196083"/>
                </a:cubicBezTo>
                <a:cubicBezTo>
                  <a:pt x="5722777" y="3231797"/>
                  <a:pt x="5693821" y="3260749"/>
                  <a:pt x="5658107" y="3260749"/>
                </a:cubicBezTo>
                <a:cubicBezTo>
                  <a:pt x="5622394" y="3260749"/>
                  <a:pt x="5593441" y="3231797"/>
                  <a:pt x="5593441" y="3196083"/>
                </a:cubicBezTo>
                <a:cubicBezTo>
                  <a:pt x="5593441" y="3160369"/>
                  <a:pt x="5622394" y="3131417"/>
                  <a:pt x="5658107" y="3131417"/>
                </a:cubicBezTo>
                <a:close/>
                <a:moveTo>
                  <a:pt x="5501538" y="3131417"/>
                </a:moveTo>
                <a:cubicBezTo>
                  <a:pt x="5537252" y="3131417"/>
                  <a:pt x="5566202" y="3160369"/>
                  <a:pt x="5566202" y="3196083"/>
                </a:cubicBezTo>
                <a:cubicBezTo>
                  <a:pt x="5566202" y="3231797"/>
                  <a:pt x="5537252" y="3260749"/>
                  <a:pt x="5501538" y="3260749"/>
                </a:cubicBezTo>
                <a:cubicBezTo>
                  <a:pt x="5465825" y="3260749"/>
                  <a:pt x="5436876" y="3231797"/>
                  <a:pt x="5436876" y="3196083"/>
                </a:cubicBezTo>
                <a:cubicBezTo>
                  <a:pt x="5436876" y="3160369"/>
                  <a:pt x="5465825" y="3131417"/>
                  <a:pt x="5501538" y="3131417"/>
                </a:cubicBezTo>
                <a:close/>
                <a:moveTo>
                  <a:pt x="5348883" y="3131417"/>
                </a:moveTo>
                <a:cubicBezTo>
                  <a:pt x="5384598" y="3131417"/>
                  <a:pt x="5413549" y="3160369"/>
                  <a:pt x="5413549" y="3196083"/>
                </a:cubicBezTo>
                <a:cubicBezTo>
                  <a:pt x="5413549" y="3231797"/>
                  <a:pt x="5384598" y="3260749"/>
                  <a:pt x="5348883" y="3260749"/>
                </a:cubicBezTo>
                <a:cubicBezTo>
                  <a:pt x="5313174" y="3260749"/>
                  <a:pt x="5284218" y="3231797"/>
                  <a:pt x="5284218" y="3196083"/>
                </a:cubicBezTo>
                <a:cubicBezTo>
                  <a:pt x="5284218" y="3160369"/>
                  <a:pt x="5313174" y="3131417"/>
                  <a:pt x="5348883" y="3131417"/>
                </a:cubicBezTo>
                <a:close/>
                <a:moveTo>
                  <a:pt x="5192310" y="3131417"/>
                </a:moveTo>
                <a:cubicBezTo>
                  <a:pt x="5228026" y="3131417"/>
                  <a:pt x="5256975" y="3160369"/>
                  <a:pt x="5256975" y="3196083"/>
                </a:cubicBezTo>
                <a:cubicBezTo>
                  <a:pt x="5256975" y="3231797"/>
                  <a:pt x="5228026" y="3260749"/>
                  <a:pt x="5192310" y="3260749"/>
                </a:cubicBezTo>
                <a:cubicBezTo>
                  <a:pt x="5156601" y="3260749"/>
                  <a:pt x="5127644" y="3231797"/>
                  <a:pt x="5127644" y="3196083"/>
                </a:cubicBezTo>
                <a:cubicBezTo>
                  <a:pt x="5127644" y="3160369"/>
                  <a:pt x="5156601" y="3131417"/>
                  <a:pt x="5192310" y="3131417"/>
                </a:cubicBezTo>
                <a:close/>
                <a:moveTo>
                  <a:pt x="5031828" y="3131417"/>
                </a:moveTo>
                <a:cubicBezTo>
                  <a:pt x="5067539" y="3131417"/>
                  <a:pt x="5096490" y="3160369"/>
                  <a:pt x="5096490" y="3196083"/>
                </a:cubicBezTo>
                <a:cubicBezTo>
                  <a:pt x="5096490" y="3231797"/>
                  <a:pt x="5067539" y="3260749"/>
                  <a:pt x="5031828" y="3260749"/>
                </a:cubicBezTo>
                <a:cubicBezTo>
                  <a:pt x="4996106" y="3260749"/>
                  <a:pt x="4967158" y="3231797"/>
                  <a:pt x="4967158" y="3196083"/>
                </a:cubicBezTo>
                <a:cubicBezTo>
                  <a:pt x="4967158" y="3160369"/>
                  <a:pt x="4996106" y="3131417"/>
                  <a:pt x="5031828" y="3131417"/>
                </a:cubicBezTo>
                <a:close/>
                <a:moveTo>
                  <a:pt x="2855500" y="3131417"/>
                </a:moveTo>
                <a:cubicBezTo>
                  <a:pt x="2891211" y="3131417"/>
                  <a:pt x="2920162" y="3160369"/>
                  <a:pt x="2920162" y="3196083"/>
                </a:cubicBezTo>
                <a:cubicBezTo>
                  <a:pt x="2920162" y="3231797"/>
                  <a:pt x="2891211" y="3260749"/>
                  <a:pt x="2855500" y="3260749"/>
                </a:cubicBezTo>
                <a:cubicBezTo>
                  <a:pt x="2819788" y="3260749"/>
                  <a:pt x="2790838" y="3231797"/>
                  <a:pt x="2790838" y="3196083"/>
                </a:cubicBezTo>
                <a:cubicBezTo>
                  <a:pt x="2790838" y="3160369"/>
                  <a:pt x="2819788" y="3131417"/>
                  <a:pt x="2855500" y="3131417"/>
                </a:cubicBezTo>
                <a:close/>
                <a:moveTo>
                  <a:pt x="2546285" y="3131417"/>
                </a:moveTo>
                <a:cubicBezTo>
                  <a:pt x="2581998" y="3131417"/>
                  <a:pt x="2610949" y="3160369"/>
                  <a:pt x="2610949" y="3196083"/>
                </a:cubicBezTo>
                <a:cubicBezTo>
                  <a:pt x="2610949" y="3231797"/>
                  <a:pt x="2581998" y="3260749"/>
                  <a:pt x="2546285" y="3260749"/>
                </a:cubicBezTo>
                <a:cubicBezTo>
                  <a:pt x="2510569" y="3260749"/>
                  <a:pt x="2481623" y="3231797"/>
                  <a:pt x="2481623" y="3196083"/>
                </a:cubicBezTo>
                <a:cubicBezTo>
                  <a:pt x="2481623" y="3160369"/>
                  <a:pt x="2510569" y="3131417"/>
                  <a:pt x="2546285" y="3131417"/>
                </a:cubicBezTo>
                <a:close/>
                <a:moveTo>
                  <a:pt x="2237047" y="3131417"/>
                </a:moveTo>
                <a:cubicBezTo>
                  <a:pt x="2272765" y="3131417"/>
                  <a:pt x="2301721" y="3160369"/>
                  <a:pt x="2301721" y="3196083"/>
                </a:cubicBezTo>
                <a:cubicBezTo>
                  <a:pt x="2301721" y="3231797"/>
                  <a:pt x="2272765" y="3260749"/>
                  <a:pt x="2237047" y="3260749"/>
                </a:cubicBezTo>
                <a:cubicBezTo>
                  <a:pt x="2201328" y="3260749"/>
                  <a:pt x="2172373" y="3231797"/>
                  <a:pt x="2172373" y="3196083"/>
                </a:cubicBezTo>
                <a:cubicBezTo>
                  <a:pt x="2172373" y="3160369"/>
                  <a:pt x="2201328" y="3131417"/>
                  <a:pt x="2237047" y="3131417"/>
                </a:cubicBezTo>
                <a:close/>
                <a:moveTo>
                  <a:pt x="2084377" y="3131417"/>
                </a:moveTo>
                <a:cubicBezTo>
                  <a:pt x="2120091" y="3131417"/>
                  <a:pt x="2149042" y="3160369"/>
                  <a:pt x="2149042" y="3196083"/>
                </a:cubicBezTo>
                <a:cubicBezTo>
                  <a:pt x="2149042" y="3231797"/>
                  <a:pt x="2120091" y="3260749"/>
                  <a:pt x="2084377" y="3260749"/>
                </a:cubicBezTo>
                <a:cubicBezTo>
                  <a:pt x="2048655" y="3260749"/>
                  <a:pt x="2019725" y="3231797"/>
                  <a:pt x="2019725" y="3196083"/>
                </a:cubicBezTo>
                <a:cubicBezTo>
                  <a:pt x="2019725" y="3160369"/>
                  <a:pt x="2048655" y="3131417"/>
                  <a:pt x="2084377" y="3131417"/>
                </a:cubicBezTo>
                <a:close/>
                <a:moveTo>
                  <a:pt x="9227976" y="2986586"/>
                </a:moveTo>
                <a:cubicBezTo>
                  <a:pt x="9263690" y="2986586"/>
                  <a:pt x="9292642" y="3015538"/>
                  <a:pt x="9292642" y="3051252"/>
                </a:cubicBezTo>
                <a:cubicBezTo>
                  <a:pt x="9292642" y="3086966"/>
                  <a:pt x="9263690" y="3115919"/>
                  <a:pt x="9227976" y="3115919"/>
                </a:cubicBezTo>
                <a:cubicBezTo>
                  <a:pt x="9192262" y="3115919"/>
                  <a:pt x="9163310" y="3086966"/>
                  <a:pt x="9163310" y="3051252"/>
                </a:cubicBezTo>
                <a:cubicBezTo>
                  <a:pt x="9163310" y="3015538"/>
                  <a:pt x="9192262" y="2986586"/>
                  <a:pt x="9227976" y="2986586"/>
                </a:cubicBezTo>
                <a:close/>
                <a:moveTo>
                  <a:pt x="9075317" y="2986586"/>
                </a:moveTo>
                <a:cubicBezTo>
                  <a:pt x="9111031" y="2986586"/>
                  <a:pt x="9139983" y="3015538"/>
                  <a:pt x="9139983" y="3051252"/>
                </a:cubicBezTo>
                <a:cubicBezTo>
                  <a:pt x="9139983" y="3086966"/>
                  <a:pt x="9111031" y="3115919"/>
                  <a:pt x="9075317" y="3115919"/>
                </a:cubicBezTo>
                <a:cubicBezTo>
                  <a:pt x="9039603" y="3115919"/>
                  <a:pt x="9010651" y="3086966"/>
                  <a:pt x="9010651" y="3051252"/>
                </a:cubicBezTo>
                <a:cubicBezTo>
                  <a:pt x="9010651" y="3015538"/>
                  <a:pt x="9039603" y="2986586"/>
                  <a:pt x="9075317" y="2986586"/>
                </a:cubicBezTo>
                <a:close/>
                <a:moveTo>
                  <a:pt x="9384550" y="2986584"/>
                </a:moveTo>
                <a:cubicBezTo>
                  <a:pt x="9420264" y="2986584"/>
                  <a:pt x="9449216" y="3015536"/>
                  <a:pt x="9449216" y="3051250"/>
                </a:cubicBezTo>
                <a:cubicBezTo>
                  <a:pt x="9449216" y="3086964"/>
                  <a:pt x="9420264" y="3115917"/>
                  <a:pt x="9384550" y="3115917"/>
                </a:cubicBezTo>
                <a:cubicBezTo>
                  <a:pt x="9348836" y="3115917"/>
                  <a:pt x="9319884" y="3086964"/>
                  <a:pt x="9319884" y="3051250"/>
                </a:cubicBezTo>
                <a:cubicBezTo>
                  <a:pt x="9319884" y="3015536"/>
                  <a:pt x="9348836" y="2986584"/>
                  <a:pt x="9384550" y="2986584"/>
                </a:cubicBezTo>
                <a:close/>
                <a:moveTo>
                  <a:pt x="8914829" y="2986584"/>
                </a:moveTo>
                <a:cubicBezTo>
                  <a:pt x="8950543" y="2986584"/>
                  <a:pt x="8979495" y="3015536"/>
                  <a:pt x="8979495" y="3051250"/>
                </a:cubicBezTo>
                <a:cubicBezTo>
                  <a:pt x="8979495" y="3086964"/>
                  <a:pt x="8950543" y="3115917"/>
                  <a:pt x="8914829" y="3115917"/>
                </a:cubicBezTo>
                <a:cubicBezTo>
                  <a:pt x="8879115" y="3115917"/>
                  <a:pt x="8850163" y="3086964"/>
                  <a:pt x="8850163" y="3051250"/>
                </a:cubicBezTo>
                <a:cubicBezTo>
                  <a:pt x="8850163" y="3015536"/>
                  <a:pt x="8879115" y="2986584"/>
                  <a:pt x="8914829" y="2986584"/>
                </a:cubicBezTo>
                <a:close/>
                <a:moveTo>
                  <a:pt x="8766086" y="2986584"/>
                </a:moveTo>
                <a:cubicBezTo>
                  <a:pt x="8801800" y="2986584"/>
                  <a:pt x="8830752" y="3015536"/>
                  <a:pt x="8830752" y="3051250"/>
                </a:cubicBezTo>
                <a:cubicBezTo>
                  <a:pt x="8830752" y="3086964"/>
                  <a:pt x="8801800" y="3115917"/>
                  <a:pt x="8766086" y="3115917"/>
                </a:cubicBezTo>
                <a:cubicBezTo>
                  <a:pt x="8730372" y="3115917"/>
                  <a:pt x="8701420" y="3086964"/>
                  <a:pt x="8701420" y="3051250"/>
                </a:cubicBezTo>
                <a:cubicBezTo>
                  <a:pt x="8701420" y="3015536"/>
                  <a:pt x="8730372" y="2986584"/>
                  <a:pt x="8766086" y="2986584"/>
                </a:cubicBezTo>
                <a:close/>
                <a:moveTo>
                  <a:pt x="8601683" y="2986584"/>
                </a:moveTo>
                <a:cubicBezTo>
                  <a:pt x="8637397" y="2986584"/>
                  <a:pt x="8666349" y="3015536"/>
                  <a:pt x="8666349" y="3051250"/>
                </a:cubicBezTo>
                <a:cubicBezTo>
                  <a:pt x="8666349" y="3086964"/>
                  <a:pt x="8637397" y="3115917"/>
                  <a:pt x="8601683" y="3115917"/>
                </a:cubicBezTo>
                <a:cubicBezTo>
                  <a:pt x="8565969" y="3115917"/>
                  <a:pt x="8537017" y="3086964"/>
                  <a:pt x="8537017" y="3051250"/>
                </a:cubicBezTo>
                <a:cubicBezTo>
                  <a:pt x="8537017" y="3015536"/>
                  <a:pt x="8565969" y="2986584"/>
                  <a:pt x="8601683" y="2986584"/>
                </a:cubicBezTo>
                <a:close/>
                <a:moveTo>
                  <a:pt x="8449025" y="2986584"/>
                </a:moveTo>
                <a:cubicBezTo>
                  <a:pt x="8484739" y="2986584"/>
                  <a:pt x="8513691" y="3015536"/>
                  <a:pt x="8513691" y="3051250"/>
                </a:cubicBezTo>
                <a:cubicBezTo>
                  <a:pt x="8513691" y="3086964"/>
                  <a:pt x="8484739" y="3115917"/>
                  <a:pt x="8449025" y="3115917"/>
                </a:cubicBezTo>
                <a:cubicBezTo>
                  <a:pt x="8413311" y="3115917"/>
                  <a:pt x="8384359" y="3086964"/>
                  <a:pt x="8384359" y="3051250"/>
                </a:cubicBezTo>
                <a:cubicBezTo>
                  <a:pt x="8384359" y="3015536"/>
                  <a:pt x="8413311" y="2986584"/>
                  <a:pt x="8449025" y="2986584"/>
                </a:cubicBezTo>
                <a:close/>
                <a:moveTo>
                  <a:pt x="8139793" y="2986584"/>
                </a:moveTo>
                <a:cubicBezTo>
                  <a:pt x="8175507" y="2986584"/>
                  <a:pt x="8204459" y="3015536"/>
                  <a:pt x="8204459" y="3051250"/>
                </a:cubicBezTo>
                <a:cubicBezTo>
                  <a:pt x="8204459" y="3086964"/>
                  <a:pt x="8175507" y="3115917"/>
                  <a:pt x="8139793" y="3115917"/>
                </a:cubicBezTo>
                <a:cubicBezTo>
                  <a:pt x="8104079" y="3115917"/>
                  <a:pt x="8075127" y="3086964"/>
                  <a:pt x="8075127" y="3051250"/>
                </a:cubicBezTo>
                <a:cubicBezTo>
                  <a:pt x="8075127" y="3015536"/>
                  <a:pt x="8104079" y="2986584"/>
                  <a:pt x="8139793" y="2986584"/>
                </a:cubicBezTo>
                <a:close/>
                <a:moveTo>
                  <a:pt x="7987133" y="2986584"/>
                </a:moveTo>
                <a:cubicBezTo>
                  <a:pt x="8022847" y="2986584"/>
                  <a:pt x="8051799" y="3015536"/>
                  <a:pt x="8051799" y="3051250"/>
                </a:cubicBezTo>
                <a:cubicBezTo>
                  <a:pt x="8051799" y="3086964"/>
                  <a:pt x="8022847" y="3115917"/>
                  <a:pt x="7987133" y="3115917"/>
                </a:cubicBezTo>
                <a:cubicBezTo>
                  <a:pt x="7951419" y="3115917"/>
                  <a:pt x="7922467" y="3086964"/>
                  <a:pt x="7922467" y="3051250"/>
                </a:cubicBezTo>
                <a:cubicBezTo>
                  <a:pt x="7922467" y="3015536"/>
                  <a:pt x="7951419" y="2986584"/>
                  <a:pt x="7987133" y="2986584"/>
                </a:cubicBezTo>
                <a:close/>
                <a:moveTo>
                  <a:pt x="7830562" y="2986584"/>
                </a:moveTo>
                <a:cubicBezTo>
                  <a:pt x="7866276" y="2986584"/>
                  <a:pt x="7895228" y="3015536"/>
                  <a:pt x="7895228" y="3051250"/>
                </a:cubicBezTo>
                <a:cubicBezTo>
                  <a:pt x="7895228" y="3086964"/>
                  <a:pt x="7866276" y="3115917"/>
                  <a:pt x="7830562" y="3115917"/>
                </a:cubicBezTo>
                <a:cubicBezTo>
                  <a:pt x="7794848" y="3115917"/>
                  <a:pt x="7765896" y="3086964"/>
                  <a:pt x="7765896" y="3051250"/>
                </a:cubicBezTo>
                <a:cubicBezTo>
                  <a:pt x="7765896" y="3015536"/>
                  <a:pt x="7794848" y="2986584"/>
                  <a:pt x="7830562" y="2986584"/>
                </a:cubicBezTo>
                <a:close/>
                <a:moveTo>
                  <a:pt x="7368669" y="2986584"/>
                </a:moveTo>
                <a:cubicBezTo>
                  <a:pt x="7404383" y="2986584"/>
                  <a:pt x="7433335" y="3015536"/>
                  <a:pt x="7433335" y="3051250"/>
                </a:cubicBezTo>
                <a:cubicBezTo>
                  <a:pt x="7433335" y="3086964"/>
                  <a:pt x="7404383" y="3115917"/>
                  <a:pt x="7368669" y="3115917"/>
                </a:cubicBezTo>
                <a:cubicBezTo>
                  <a:pt x="7332955" y="3115917"/>
                  <a:pt x="7304003" y="3086964"/>
                  <a:pt x="7304003" y="3051250"/>
                </a:cubicBezTo>
                <a:cubicBezTo>
                  <a:pt x="7304003" y="3015536"/>
                  <a:pt x="7332955" y="2986584"/>
                  <a:pt x="7368669" y="2986584"/>
                </a:cubicBezTo>
                <a:close/>
                <a:moveTo>
                  <a:pt x="6742377" y="2986584"/>
                </a:moveTo>
                <a:cubicBezTo>
                  <a:pt x="6778091" y="2986584"/>
                  <a:pt x="6807043" y="3015536"/>
                  <a:pt x="6807043" y="3051250"/>
                </a:cubicBezTo>
                <a:cubicBezTo>
                  <a:pt x="6807043" y="3086964"/>
                  <a:pt x="6778091" y="3115917"/>
                  <a:pt x="6742377" y="3115917"/>
                </a:cubicBezTo>
                <a:cubicBezTo>
                  <a:pt x="6706663" y="3115917"/>
                  <a:pt x="6677711" y="3086964"/>
                  <a:pt x="6677711" y="3051250"/>
                </a:cubicBezTo>
                <a:cubicBezTo>
                  <a:pt x="6677711" y="3015536"/>
                  <a:pt x="6706663" y="2986584"/>
                  <a:pt x="6742377" y="2986584"/>
                </a:cubicBezTo>
                <a:close/>
                <a:moveTo>
                  <a:pt x="6429229" y="2986584"/>
                </a:moveTo>
                <a:cubicBezTo>
                  <a:pt x="6464943" y="2986584"/>
                  <a:pt x="6493895" y="3015536"/>
                  <a:pt x="6493895" y="3051250"/>
                </a:cubicBezTo>
                <a:cubicBezTo>
                  <a:pt x="6493895" y="3086964"/>
                  <a:pt x="6464943" y="3115917"/>
                  <a:pt x="6429229" y="3115917"/>
                </a:cubicBezTo>
                <a:cubicBezTo>
                  <a:pt x="6393515" y="3115917"/>
                  <a:pt x="6364563" y="3086964"/>
                  <a:pt x="6364563" y="3051250"/>
                </a:cubicBezTo>
                <a:cubicBezTo>
                  <a:pt x="6364563" y="3015536"/>
                  <a:pt x="6393515" y="2986584"/>
                  <a:pt x="6429229" y="2986584"/>
                </a:cubicBezTo>
                <a:close/>
                <a:moveTo>
                  <a:pt x="6276571" y="2986584"/>
                </a:moveTo>
                <a:cubicBezTo>
                  <a:pt x="6312285" y="2986584"/>
                  <a:pt x="6341237" y="3015536"/>
                  <a:pt x="6341237" y="3051250"/>
                </a:cubicBezTo>
                <a:cubicBezTo>
                  <a:pt x="6341237" y="3086964"/>
                  <a:pt x="6312285" y="3115917"/>
                  <a:pt x="6276571" y="3115917"/>
                </a:cubicBezTo>
                <a:cubicBezTo>
                  <a:pt x="6240857" y="3115917"/>
                  <a:pt x="6211905" y="3086964"/>
                  <a:pt x="6211905" y="3051250"/>
                </a:cubicBezTo>
                <a:cubicBezTo>
                  <a:pt x="6211905" y="3015536"/>
                  <a:pt x="6240857" y="2986584"/>
                  <a:pt x="6276571" y="2986584"/>
                </a:cubicBezTo>
                <a:close/>
                <a:moveTo>
                  <a:pt x="5967339" y="2986584"/>
                </a:moveTo>
                <a:cubicBezTo>
                  <a:pt x="6003053" y="2986584"/>
                  <a:pt x="6032005" y="3015536"/>
                  <a:pt x="6032005" y="3051250"/>
                </a:cubicBezTo>
                <a:cubicBezTo>
                  <a:pt x="6032005" y="3086964"/>
                  <a:pt x="6003053" y="3115917"/>
                  <a:pt x="5967339" y="3115917"/>
                </a:cubicBezTo>
                <a:cubicBezTo>
                  <a:pt x="5931625" y="3115917"/>
                  <a:pt x="5902673" y="3086964"/>
                  <a:pt x="5902673" y="3051250"/>
                </a:cubicBezTo>
                <a:cubicBezTo>
                  <a:pt x="5902673" y="3015536"/>
                  <a:pt x="5931625" y="2986584"/>
                  <a:pt x="5967339" y="2986584"/>
                </a:cubicBezTo>
                <a:close/>
                <a:moveTo>
                  <a:pt x="5810783" y="2986584"/>
                </a:moveTo>
                <a:cubicBezTo>
                  <a:pt x="5846479" y="2986584"/>
                  <a:pt x="5875431" y="3015536"/>
                  <a:pt x="5875431" y="3051250"/>
                </a:cubicBezTo>
                <a:cubicBezTo>
                  <a:pt x="5875431" y="3086964"/>
                  <a:pt x="5846479" y="3115917"/>
                  <a:pt x="5810783" y="3115917"/>
                </a:cubicBezTo>
                <a:cubicBezTo>
                  <a:pt x="5775064" y="3115917"/>
                  <a:pt x="5746108" y="3086964"/>
                  <a:pt x="5746108" y="3051250"/>
                </a:cubicBezTo>
                <a:cubicBezTo>
                  <a:pt x="5746108" y="3015536"/>
                  <a:pt x="5775064" y="2986584"/>
                  <a:pt x="5810783" y="2986584"/>
                </a:cubicBezTo>
                <a:close/>
                <a:moveTo>
                  <a:pt x="5658107" y="2986584"/>
                </a:moveTo>
                <a:cubicBezTo>
                  <a:pt x="5693821" y="2986584"/>
                  <a:pt x="5722777" y="3015536"/>
                  <a:pt x="5722777" y="3051250"/>
                </a:cubicBezTo>
                <a:cubicBezTo>
                  <a:pt x="5722777" y="3086964"/>
                  <a:pt x="5693821" y="3115917"/>
                  <a:pt x="5658107" y="3115917"/>
                </a:cubicBezTo>
                <a:cubicBezTo>
                  <a:pt x="5622395" y="3115917"/>
                  <a:pt x="5593441" y="3086964"/>
                  <a:pt x="5593441" y="3051250"/>
                </a:cubicBezTo>
                <a:cubicBezTo>
                  <a:pt x="5593441" y="3015536"/>
                  <a:pt x="5622395" y="2986584"/>
                  <a:pt x="5658107" y="2986584"/>
                </a:cubicBezTo>
                <a:close/>
                <a:moveTo>
                  <a:pt x="5501538" y="2986584"/>
                </a:moveTo>
                <a:cubicBezTo>
                  <a:pt x="5537252" y="2986584"/>
                  <a:pt x="5566202" y="3015536"/>
                  <a:pt x="5566202" y="3051250"/>
                </a:cubicBezTo>
                <a:cubicBezTo>
                  <a:pt x="5566202" y="3086964"/>
                  <a:pt x="5537252" y="3115917"/>
                  <a:pt x="5501538" y="3115917"/>
                </a:cubicBezTo>
                <a:cubicBezTo>
                  <a:pt x="5465825" y="3115917"/>
                  <a:pt x="5436877" y="3086964"/>
                  <a:pt x="5436877" y="3051250"/>
                </a:cubicBezTo>
                <a:cubicBezTo>
                  <a:pt x="5436877" y="3015536"/>
                  <a:pt x="5465825" y="2986584"/>
                  <a:pt x="5501538" y="2986584"/>
                </a:cubicBezTo>
                <a:close/>
                <a:moveTo>
                  <a:pt x="5192312" y="2986584"/>
                </a:moveTo>
                <a:cubicBezTo>
                  <a:pt x="5228028" y="2986584"/>
                  <a:pt x="5256975" y="3015536"/>
                  <a:pt x="5256975" y="3051250"/>
                </a:cubicBezTo>
                <a:cubicBezTo>
                  <a:pt x="5256975" y="3086964"/>
                  <a:pt x="5228028" y="3115917"/>
                  <a:pt x="5192312" y="3115917"/>
                </a:cubicBezTo>
                <a:cubicBezTo>
                  <a:pt x="5156602" y="3115917"/>
                  <a:pt x="5127645" y="3086964"/>
                  <a:pt x="5127645" y="3051250"/>
                </a:cubicBezTo>
                <a:cubicBezTo>
                  <a:pt x="5127645" y="3015536"/>
                  <a:pt x="5156602" y="2986584"/>
                  <a:pt x="5192312" y="2986584"/>
                </a:cubicBezTo>
                <a:close/>
                <a:moveTo>
                  <a:pt x="8296368" y="2986583"/>
                </a:moveTo>
                <a:cubicBezTo>
                  <a:pt x="8332082" y="2986583"/>
                  <a:pt x="8361034" y="3015535"/>
                  <a:pt x="8361034" y="3051249"/>
                </a:cubicBezTo>
                <a:cubicBezTo>
                  <a:pt x="8361034" y="3086963"/>
                  <a:pt x="8332082" y="3115916"/>
                  <a:pt x="8296368" y="3115916"/>
                </a:cubicBezTo>
                <a:cubicBezTo>
                  <a:pt x="8260654" y="3115916"/>
                  <a:pt x="8231702" y="3086963"/>
                  <a:pt x="8231702" y="3051249"/>
                </a:cubicBezTo>
                <a:cubicBezTo>
                  <a:pt x="8231702" y="3015535"/>
                  <a:pt x="8260654" y="2986583"/>
                  <a:pt x="8296368" y="2986583"/>
                </a:cubicBezTo>
                <a:close/>
                <a:moveTo>
                  <a:pt x="7677904" y="2986583"/>
                </a:moveTo>
                <a:cubicBezTo>
                  <a:pt x="7713618" y="2986583"/>
                  <a:pt x="7742570" y="3015535"/>
                  <a:pt x="7742570" y="3051249"/>
                </a:cubicBezTo>
                <a:cubicBezTo>
                  <a:pt x="7742570" y="3086963"/>
                  <a:pt x="7713618" y="3115916"/>
                  <a:pt x="7677904" y="3115916"/>
                </a:cubicBezTo>
                <a:cubicBezTo>
                  <a:pt x="7642190" y="3115916"/>
                  <a:pt x="7613238" y="3086963"/>
                  <a:pt x="7613238" y="3051249"/>
                </a:cubicBezTo>
                <a:cubicBezTo>
                  <a:pt x="7613238" y="3015535"/>
                  <a:pt x="7642190" y="2986583"/>
                  <a:pt x="7677904" y="2986583"/>
                </a:cubicBezTo>
                <a:close/>
                <a:moveTo>
                  <a:pt x="7521331" y="2986583"/>
                </a:moveTo>
                <a:cubicBezTo>
                  <a:pt x="7557045" y="2986583"/>
                  <a:pt x="7585997" y="3015535"/>
                  <a:pt x="7585997" y="3051249"/>
                </a:cubicBezTo>
                <a:cubicBezTo>
                  <a:pt x="7585997" y="3086963"/>
                  <a:pt x="7557045" y="3115916"/>
                  <a:pt x="7521331" y="3115916"/>
                </a:cubicBezTo>
                <a:cubicBezTo>
                  <a:pt x="7485617" y="3115916"/>
                  <a:pt x="7456665" y="3086963"/>
                  <a:pt x="7456665" y="3051249"/>
                </a:cubicBezTo>
                <a:cubicBezTo>
                  <a:pt x="7456665" y="3015535"/>
                  <a:pt x="7485617" y="2986583"/>
                  <a:pt x="7521331" y="2986583"/>
                </a:cubicBezTo>
                <a:close/>
                <a:moveTo>
                  <a:pt x="7212096" y="2986583"/>
                </a:moveTo>
                <a:cubicBezTo>
                  <a:pt x="7247810" y="2986583"/>
                  <a:pt x="7276762" y="3015535"/>
                  <a:pt x="7276762" y="3051249"/>
                </a:cubicBezTo>
                <a:cubicBezTo>
                  <a:pt x="7276762" y="3086963"/>
                  <a:pt x="7247810" y="3115916"/>
                  <a:pt x="7212096" y="3115916"/>
                </a:cubicBezTo>
                <a:cubicBezTo>
                  <a:pt x="7176382" y="3115916"/>
                  <a:pt x="7147430" y="3086963"/>
                  <a:pt x="7147430" y="3051249"/>
                </a:cubicBezTo>
                <a:cubicBezTo>
                  <a:pt x="7147430" y="3015535"/>
                  <a:pt x="7176382" y="2986583"/>
                  <a:pt x="7212096" y="2986583"/>
                </a:cubicBezTo>
                <a:close/>
                <a:moveTo>
                  <a:pt x="7055523" y="2986583"/>
                </a:moveTo>
                <a:cubicBezTo>
                  <a:pt x="7091237" y="2986583"/>
                  <a:pt x="7120189" y="3015535"/>
                  <a:pt x="7120189" y="3051249"/>
                </a:cubicBezTo>
                <a:cubicBezTo>
                  <a:pt x="7120189" y="3086963"/>
                  <a:pt x="7091237" y="3115916"/>
                  <a:pt x="7055523" y="3115916"/>
                </a:cubicBezTo>
                <a:cubicBezTo>
                  <a:pt x="7019809" y="3115916"/>
                  <a:pt x="6990857" y="3086963"/>
                  <a:pt x="6990857" y="3051249"/>
                </a:cubicBezTo>
                <a:cubicBezTo>
                  <a:pt x="6990857" y="3015535"/>
                  <a:pt x="7019809" y="2986583"/>
                  <a:pt x="7055523" y="2986583"/>
                </a:cubicBezTo>
                <a:close/>
                <a:moveTo>
                  <a:pt x="6895037" y="2986583"/>
                </a:moveTo>
                <a:cubicBezTo>
                  <a:pt x="6930751" y="2986583"/>
                  <a:pt x="6959703" y="3015535"/>
                  <a:pt x="6959703" y="3051249"/>
                </a:cubicBezTo>
                <a:cubicBezTo>
                  <a:pt x="6959703" y="3086963"/>
                  <a:pt x="6930751" y="3115916"/>
                  <a:pt x="6895037" y="3115916"/>
                </a:cubicBezTo>
                <a:cubicBezTo>
                  <a:pt x="6859323" y="3115916"/>
                  <a:pt x="6830371" y="3086963"/>
                  <a:pt x="6830371" y="3051249"/>
                </a:cubicBezTo>
                <a:cubicBezTo>
                  <a:pt x="6830371" y="3015535"/>
                  <a:pt x="6859323" y="2986583"/>
                  <a:pt x="6895037" y="2986583"/>
                </a:cubicBezTo>
                <a:close/>
                <a:moveTo>
                  <a:pt x="6585804" y="2986583"/>
                </a:moveTo>
                <a:cubicBezTo>
                  <a:pt x="6621518" y="2986583"/>
                  <a:pt x="6650470" y="3015535"/>
                  <a:pt x="6650470" y="3051249"/>
                </a:cubicBezTo>
                <a:cubicBezTo>
                  <a:pt x="6650470" y="3086963"/>
                  <a:pt x="6621518" y="3115916"/>
                  <a:pt x="6585804" y="3115916"/>
                </a:cubicBezTo>
                <a:cubicBezTo>
                  <a:pt x="6550090" y="3115916"/>
                  <a:pt x="6521138" y="3086963"/>
                  <a:pt x="6521138" y="3051249"/>
                </a:cubicBezTo>
                <a:cubicBezTo>
                  <a:pt x="6521138" y="3015535"/>
                  <a:pt x="6550090" y="2986583"/>
                  <a:pt x="6585804" y="2986583"/>
                </a:cubicBezTo>
                <a:close/>
                <a:moveTo>
                  <a:pt x="6119999" y="2986583"/>
                </a:moveTo>
                <a:cubicBezTo>
                  <a:pt x="6155713" y="2986583"/>
                  <a:pt x="6184665" y="3015535"/>
                  <a:pt x="6184665" y="3051249"/>
                </a:cubicBezTo>
                <a:cubicBezTo>
                  <a:pt x="6184665" y="3086963"/>
                  <a:pt x="6155713" y="3115916"/>
                  <a:pt x="6119999" y="3115916"/>
                </a:cubicBezTo>
                <a:cubicBezTo>
                  <a:pt x="6084285" y="3115916"/>
                  <a:pt x="6055333" y="3086963"/>
                  <a:pt x="6055333" y="3051249"/>
                </a:cubicBezTo>
                <a:cubicBezTo>
                  <a:pt x="6055333" y="3015535"/>
                  <a:pt x="6084285" y="2986583"/>
                  <a:pt x="6119999" y="2986583"/>
                </a:cubicBezTo>
                <a:close/>
                <a:moveTo>
                  <a:pt x="5348883" y="2986583"/>
                </a:moveTo>
                <a:cubicBezTo>
                  <a:pt x="5384600" y="2986583"/>
                  <a:pt x="5413550" y="3015535"/>
                  <a:pt x="5413550" y="3051249"/>
                </a:cubicBezTo>
                <a:cubicBezTo>
                  <a:pt x="5413550" y="3086963"/>
                  <a:pt x="5384600" y="3115916"/>
                  <a:pt x="5348883" y="3115916"/>
                </a:cubicBezTo>
                <a:cubicBezTo>
                  <a:pt x="5313177" y="3115916"/>
                  <a:pt x="5284221" y="3086963"/>
                  <a:pt x="5284221" y="3051249"/>
                </a:cubicBezTo>
                <a:cubicBezTo>
                  <a:pt x="5284221" y="3015535"/>
                  <a:pt x="5313177" y="2986583"/>
                  <a:pt x="5348883" y="2986583"/>
                </a:cubicBezTo>
                <a:close/>
                <a:moveTo>
                  <a:pt x="5031831" y="2986583"/>
                </a:moveTo>
                <a:cubicBezTo>
                  <a:pt x="5067541" y="2986583"/>
                  <a:pt x="5096494" y="3015535"/>
                  <a:pt x="5096494" y="3051249"/>
                </a:cubicBezTo>
                <a:cubicBezTo>
                  <a:pt x="5096494" y="3086963"/>
                  <a:pt x="5067541" y="3115916"/>
                  <a:pt x="5031831" y="3115916"/>
                </a:cubicBezTo>
                <a:cubicBezTo>
                  <a:pt x="4996109" y="3115916"/>
                  <a:pt x="4967160" y="3086963"/>
                  <a:pt x="4967160" y="3051249"/>
                </a:cubicBezTo>
                <a:cubicBezTo>
                  <a:pt x="4967160" y="3015535"/>
                  <a:pt x="4996109" y="2986583"/>
                  <a:pt x="5031831" y="2986583"/>
                </a:cubicBezTo>
                <a:close/>
                <a:moveTo>
                  <a:pt x="2237053" y="2986583"/>
                </a:moveTo>
                <a:cubicBezTo>
                  <a:pt x="2272772" y="2986583"/>
                  <a:pt x="2301728" y="3015535"/>
                  <a:pt x="2301728" y="3051249"/>
                </a:cubicBezTo>
                <a:cubicBezTo>
                  <a:pt x="2301728" y="3086963"/>
                  <a:pt x="2272772" y="3115916"/>
                  <a:pt x="2237053" y="3115916"/>
                </a:cubicBezTo>
                <a:cubicBezTo>
                  <a:pt x="2201334" y="3115916"/>
                  <a:pt x="2172378" y="3086963"/>
                  <a:pt x="2172378" y="3051249"/>
                </a:cubicBezTo>
                <a:cubicBezTo>
                  <a:pt x="2172378" y="3015535"/>
                  <a:pt x="2201334" y="2986583"/>
                  <a:pt x="2237053" y="2986583"/>
                </a:cubicBezTo>
                <a:close/>
                <a:moveTo>
                  <a:pt x="2084380" y="2986583"/>
                </a:moveTo>
                <a:cubicBezTo>
                  <a:pt x="2120098" y="2986583"/>
                  <a:pt x="2149047" y="3015535"/>
                  <a:pt x="2149047" y="3051249"/>
                </a:cubicBezTo>
                <a:cubicBezTo>
                  <a:pt x="2149047" y="3086963"/>
                  <a:pt x="2120098" y="3115916"/>
                  <a:pt x="2084380" y="3115916"/>
                </a:cubicBezTo>
                <a:cubicBezTo>
                  <a:pt x="2048661" y="3115916"/>
                  <a:pt x="2019725" y="3086963"/>
                  <a:pt x="2019725" y="3051249"/>
                </a:cubicBezTo>
                <a:cubicBezTo>
                  <a:pt x="2019725" y="3015535"/>
                  <a:pt x="2048661" y="2986583"/>
                  <a:pt x="2084380" y="2986583"/>
                </a:cubicBezTo>
                <a:close/>
                <a:moveTo>
                  <a:pt x="1927806" y="2986583"/>
                </a:moveTo>
                <a:cubicBezTo>
                  <a:pt x="1963522" y="2986583"/>
                  <a:pt x="1992481" y="3015535"/>
                  <a:pt x="1992481" y="3051249"/>
                </a:cubicBezTo>
                <a:cubicBezTo>
                  <a:pt x="1992481" y="3086963"/>
                  <a:pt x="1963522" y="3115916"/>
                  <a:pt x="1927806" y="3115916"/>
                </a:cubicBezTo>
                <a:cubicBezTo>
                  <a:pt x="1892104" y="3115916"/>
                  <a:pt x="1863153" y="3086963"/>
                  <a:pt x="1863153" y="3051249"/>
                </a:cubicBezTo>
                <a:cubicBezTo>
                  <a:pt x="1863153" y="3015535"/>
                  <a:pt x="1892104" y="2986583"/>
                  <a:pt x="1927806" y="2986583"/>
                </a:cubicBezTo>
                <a:close/>
                <a:moveTo>
                  <a:pt x="9384550" y="2841752"/>
                </a:moveTo>
                <a:cubicBezTo>
                  <a:pt x="9420264" y="2841752"/>
                  <a:pt x="9449216" y="2870704"/>
                  <a:pt x="9449216" y="2906419"/>
                </a:cubicBezTo>
                <a:cubicBezTo>
                  <a:pt x="9449216" y="2942133"/>
                  <a:pt x="9420264" y="2971084"/>
                  <a:pt x="9384550" y="2971084"/>
                </a:cubicBezTo>
                <a:cubicBezTo>
                  <a:pt x="9348836" y="2971084"/>
                  <a:pt x="9319884" y="2942133"/>
                  <a:pt x="9319884" y="2906419"/>
                </a:cubicBezTo>
                <a:cubicBezTo>
                  <a:pt x="9319884" y="2870704"/>
                  <a:pt x="9348836" y="2841752"/>
                  <a:pt x="9384550" y="2841752"/>
                </a:cubicBezTo>
                <a:close/>
                <a:moveTo>
                  <a:pt x="9227977" y="2841752"/>
                </a:moveTo>
                <a:cubicBezTo>
                  <a:pt x="9263691" y="2841752"/>
                  <a:pt x="9292643" y="2870704"/>
                  <a:pt x="9292643" y="2906419"/>
                </a:cubicBezTo>
                <a:cubicBezTo>
                  <a:pt x="9292643" y="2942133"/>
                  <a:pt x="9263691" y="2971084"/>
                  <a:pt x="9227977" y="2971084"/>
                </a:cubicBezTo>
                <a:cubicBezTo>
                  <a:pt x="9192263" y="2971084"/>
                  <a:pt x="9163311" y="2942133"/>
                  <a:pt x="9163311" y="2906419"/>
                </a:cubicBezTo>
                <a:cubicBezTo>
                  <a:pt x="9163311" y="2870704"/>
                  <a:pt x="9192263" y="2841752"/>
                  <a:pt x="9227977" y="2841752"/>
                </a:cubicBezTo>
                <a:close/>
                <a:moveTo>
                  <a:pt x="9075319" y="2841752"/>
                </a:moveTo>
                <a:cubicBezTo>
                  <a:pt x="9111033" y="2841752"/>
                  <a:pt x="9139985" y="2870704"/>
                  <a:pt x="9139985" y="2906419"/>
                </a:cubicBezTo>
                <a:cubicBezTo>
                  <a:pt x="9139985" y="2942133"/>
                  <a:pt x="9111033" y="2971084"/>
                  <a:pt x="9075319" y="2971084"/>
                </a:cubicBezTo>
                <a:cubicBezTo>
                  <a:pt x="9039605" y="2971084"/>
                  <a:pt x="9010653" y="2942133"/>
                  <a:pt x="9010653" y="2906419"/>
                </a:cubicBezTo>
                <a:cubicBezTo>
                  <a:pt x="9010653" y="2870704"/>
                  <a:pt x="9039605" y="2841752"/>
                  <a:pt x="9075319" y="2841752"/>
                </a:cubicBezTo>
                <a:close/>
                <a:moveTo>
                  <a:pt x="8914831" y="2841752"/>
                </a:moveTo>
                <a:cubicBezTo>
                  <a:pt x="8950545" y="2841752"/>
                  <a:pt x="8979497" y="2870704"/>
                  <a:pt x="8979497" y="2906419"/>
                </a:cubicBezTo>
                <a:cubicBezTo>
                  <a:pt x="8979497" y="2942133"/>
                  <a:pt x="8950545" y="2971084"/>
                  <a:pt x="8914831" y="2971084"/>
                </a:cubicBezTo>
                <a:cubicBezTo>
                  <a:pt x="8879117" y="2971084"/>
                  <a:pt x="8850165" y="2942133"/>
                  <a:pt x="8850165" y="2906419"/>
                </a:cubicBezTo>
                <a:cubicBezTo>
                  <a:pt x="8850165" y="2870704"/>
                  <a:pt x="8879117" y="2841752"/>
                  <a:pt x="8914831" y="2841752"/>
                </a:cubicBezTo>
                <a:close/>
                <a:moveTo>
                  <a:pt x="8766086" y="2841752"/>
                </a:moveTo>
                <a:cubicBezTo>
                  <a:pt x="8801800" y="2841752"/>
                  <a:pt x="8830752" y="2870704"/>
                  <a:pt x="8830752" y="2906419"/>
                </a:cubicBezTo>
                <a:cubicBezTo>
                  <a:pt x="8830752" y="2942133"/>
                  <a:pt x="8801800" y="2971084"/>
                  <a:pt x="8766086" y="2971084"/>
                </a:cubicBezTo>
                <a:cubicBezTo>
                  <a:pt x="8730372" y="2971084"/>
                  <a:pt x="8701420" y="2942133"/>
                  <a:pt x="8701420" y="2906419"/>
                </a:cubicBezTo>
                <a:cubicBezTo>
                  <a:pt x="8701420" y="2870704"/>
                  <a:pt x="8730372" y="2841752"/>
                  <a:pt x="8766086" y="2841752"/>
                </a:cubicBezTo>
                <a:close/>
                <a:moveTo>
                  <a:pt x="8601683" y="2841752"/>
                </a:moveTo>
                <a:cubicBezTo>
                  <a:pt x="8637397" y="2841752"/>
                  <a:pt x="8666349" y="2870704"/>
                  <a:pt x="8666349" y="2906419"/>
                </a:cubicBezTo>
                <a:cubicBezTo>
                  <a:pt x="8666349" y="2942133"/>
                  <a:pt x="8637397" y="2971084"/>
                  <a:pt x="8601683" y="2971084"/>
                </a:cubicBezTo>
                <a:cubicBezTo>
                  <a:pt x="8565969" y="2971084"/>
                  <a:pt x="8537017" y="2942133"/>
                  <a:pt x="8537017" y="2906419"/>
                </a:cubicBezTo>
                <a:cubicBezTo>
                  <a:pt x="8537017" y="2870704"/>
                  <a:pt x="8565969" y="2841752"/>
                  <a:pt x="8601683" y="2841752"/>
                </a:cubicBezTo>
                <a:close/>
                <a:moveTo>
                  <a:pt x="8449025" y="2841752"/>
                </a:moveTo>
                <a:cubicBezTo>
                  <a:pt x="8484739" y="2841752"/>
                  <a:pt x="8513691" y="2870704"/>
                  <a:pt x="8513691" y="2906419"/>
                </a:cubicBezTo>
                <a:cubicBezTo>
                  <a:pt x="8513691" y="2942133"/>
                  <a:pt x="8484739" y="2971084"/>
                  <a:pt x="8449025" y="2971084"/>
                </a:cubicBezTo>
                <a:cubicBezTo>
                  <a:pt x="8413311" y="2971084"/>
                  <a:pt x="8384359" y="2942133"/>
                  <a:pt x="8384359" y="2906419"/>
                </a:cubicBezTo>
                <a:cubicBezTo>
                  <a:pt x="8384359" y="2870704"/>
                  <a:pt x="8413311" y="2841752"/>
                  <a:pt x="8449025" y="2841752"/>
                </a:cubicBezTo>
                <a:close/>
                <a:moveTo>
                  <a:pt x="8296368" y="2841752"/>
                </a:moveTo>
                <a:cubicBezTo>
                  <a:pt x="8332082" y="2841752"/>
                  <a:pt x="8361034" y="2870704"/>
                  <a:pt x="8361034" y="2906419"/>
                </a:cubicBezTo>
                <a:cubicBezTo>
                  <a:pt x="8361034" y="2942133"/>
                  <a:pt x="8332082" y="2971084"/>
                  <a:pt x="8296368" y="2971084"/>
                </a:cubicBezTo>
                <a:cubicBezTo>
                  <a:pt x="8260654" y="2971084"/>
                  <a:pt x="8231702" y="2942133"/>
                  <a:pt x="8231702" y="2906419"/>
                </a:cubicBezTo>
                <a:cubicBezTo>
                  <a:pt x="8231702" y="2870704"/>
                  <a:pt x="8260654" y="2841752"/>
                  <a:pt x="8296368" y="2841752"/>
                </a:cubicBezTo>
                <a:close/>
                <a:moveTo>
                  <a:pt x="8139793" y="2841752"/>
                </a:moveTo>
                <a:cubicBezTo>
                  <a:pt x="8175507" y="2841752"/>
                  <a:pt x="8204459" y="2870704"/>
                  <a:pt x="8204459" y="2906419"/>
                </a:cubicBezTo>
                <a:cubicBezTo>
                  <a:pt x="8204459" y="2942133"/>
                  <a:pt x="8175507" y="2971084"/>
                  <a:pt x="8139793" y="2971084"/>
                </a:cubicBezTo>
                <a:cubicBezTo>
                  <a:pt x="8104079" y="2971084"/>
                  <a:pt x="8075127" y="2942133"/>
                  <a:pt x="8075127" y="2906419"/>
                </a:cubicBezTo>
                <a:cubicBezTo>
                  <a:pt x="8075127" y="2870704"/>
                  <a:pt x="8104079" y="2841752"/>
                  <a:pt x="8139793" y="2841752"/>
                </a:cubicBezTo>
                <a:close/>
                <a:moveTo>
                  <a:pt x="7987133" y="2841752"/>
                </a:moveTo>
                <a:cubicBezTo>
                  <a:pt x="8022847" y="2841752"/>
                  <a:pt x="8051799" y="2870704"/>
                  <a:pt x="8051799" y="2906419"/>
                </a:cubicBezTo>
                <a:cubicBezTo>
                  <a:pt x="8051799" y="2942133"/>
                  <a:pt x="8022847" y="2971084"/>
                  <a:pt x="7987133" y="2971084"/>
                </a:cubicBezTo>
                <a:cubicBezTo>
                  <a:pt x="7951419" y="2971084"/>
                  <a:pt x="7922467" y="2942133"/>
                  <a:pt x="7922467" y="2906419"/>
                </a:cubicBezTo>
                <a:cubicBezTo>
                  <a:pt x="7922467" y="2870704"/>
                  <a:pt x="7951419" y="2841752"/>
                  <a:pt x="7987133" y="2841752"/>
                </a:cubicBezTo>
                <a:close/>
                <a:moveTo>
                  <a:pt x="7830562" y="2841752"/>
                </a:moveTo>
                <a:cubicBezTo>
                  <a:pt x="7866276" y="2841752"/>
                  <a:pt x="7895228" y="2870704"/>
                  <a:pt x="7895228" y="2906419"/>
                </a:cubicBezTo>
                <a:cubicBezTo>
                  <a:pt x="7895228" y="2942133"/>
                  <a:pt x="7866276" y="2971084"/>
                  <a:pt x="7830562" y="2971084"/>
                </a:cubicBezTo>
                <a:cubicBezTo>
                  <a:pt x="7794848" y="2971084"/>
                  <a:pt x="7765896" y="2942133"/>
                  <a:pt x="7765896" y="2906419"/>
                </a:cubicBezTo>
                <a:cubicBezTo>
                  <a:pt x="7765896" y="2870704"/>
                  <a:pt x="7794848" y="2841752"/>
                  <a:pt x="7830562" y="2841752"/>
                </a:cubicBezTo>
                <a:close/>
                <a:moveTo>
                  <a:pt x="7677904" y="2841752"/>
                </a:moveTo>
                <a:cubicBezTo>
                  <a:pt x="7713618" y="2841752"/>
                  <a:pt x="7742570" y="2870704"/>
                  <a:pt x="7742570" y="2906419"/>
                </a:cubicBezTo>
                <a:cubicBezTo>
                  <a:pt x="7742570" y="2942133"/>
                  <a:pt x="7713618" y="2971084"/>
                  <a:pt x="7677904" y="2971084"/>
                </a:cubicBezTo>
                <a:cubicBezTo>
                  <a:pt x="7642190" y="2971084"/>
                  <a:pt x="7613238" y="2942133"/>
                  <a:pt x="7613238" y="2906419"/>
                </a:cubicBezTo>
                <a:cubicBezTo>
                  <a:pt x="7613238" y="2870704"/>
                  <a:pt x="7642190" y="2841752"/>
                  <a:pt x="7677904" y="2841752"/>
                </a:cubicBezTo>
                <a:close/>
                <a:moveTo>
                  <a:pt x="7521331" y="2841752"/>
                </a:moveTo>
                <a:cubicBezTo>
                  <a:pt x="7557045" y="2841752"/>
                  <a:pt x="7585997" y="2870704"/>
                  <a:pt x="7585997" y="2906419"/>
                </a:cubicBezTo>
                <a:cubicBezTo>
                  <a:pt x="7585997" y="2942133"/>
                  <a:pt x="7557045" y="2971084"/>
                  <a:pt x="7521331" y="2971084"/>
                </a:cubicBezTo>
                <a:cubicBezTo>
                  <a:pt x="7485617" y="2971084"/>
                  <a:pt x="7456665" y="2942133"/>
                  <a:pt x="7456665" y="2906419"/>
                </a:cubicBezTo>
                <a:cubicBezTo>
                  <a:pt x="7456665" y="2870704"/>
                  <a:pt x="7485617" y="2841752"/>
                  <a:pt x="7521331" y="2841752"/>
                </a:cubicBezTo>
                <a:close/>
                <a:moveTo>
                  <a:pt x="7368669" y="2841752"/>
                </a:moveTo>
                <a:cubicBezTo>
                  <a:pt x="7404383" y="2841752"/>
                  <a:pt x="7433335" y="2870704"/>
                  <a:pt x="7433335" y="2906419"/>
                </a:cubicBezTo>
                <a:cubicBezTo>
                  <a:pt x="7433335" y="2942133"/>
                  <a:pt x="7404383" y="2971084"/>
                  <a:pt x="7368669" y="2971084"/>
                </a:cubicBezTo>
                <a:cubicBezTo>
                  <a:pt x="7332955" y="2971084"/>
                  <a:pt x="7304003" y="2942133"/>
                  <a:pt x="7304003" y="2906419"/>
                </a:cubicBezTo>
                <a:cubicBezTo>
                  <a:pt x="7304003" y="2870704"/>
                  <a:pt x="7332955" y="2841752"/>
                  <a:pt x="7368669" y="2841752"/>
                </a:cubicBezTo>
                <a:close/>
                <a:moveTo>
                  <a:pt x="7212096" y="2841752"/>
                </a:moveTo>
                <a:cubicBezTo>
                  <a:pt x="7247810" y="2841752"/>
                  <a:pt x="7276762" y="2870704"/>
                  <a:pt x="7276762" y="2906419"/>
                </a:cubicBezTo>
                <a:cubicBezTo>
                  <a:pt x="7276762" y="2942133"/>
                  <a:pt x="7247810" y="2971084"/>
                  <a:pt x="7212096" y="2971084"/>
                </a:cubicBezTo>
                <a:cubicBezTo>
                  <a:pt x="7176382" y="2971084"/>
                  <a:pt x="7147430" y="2942133"/>
                  <a:pt x="7147430" y="2906419"/>
                </a:cubicBezTo>
                <a:cubicBezTo>
                  <a:pt x="7147430" y="2870704"/>
                  <a:pt x="7176382" y="2841752"/>
                  <a:pt x="7212096" y="2841752"/>
                </a:cubicBezTo>
                <a:close/>
                <a:moveTo>
                  <a:pt x="7055523" y="2841752"/>
                </a:moveTo>
                <a:cubicBezTo>
                  <a:pt x="7091237" y="2841752"/>
                  <a:pt x="7120189" y="2870704"/>
                  <a:pt x="7120189" y="2906419"/>
                </a:cubicBezTo>
                <a:cubicBezTo>
                  <a:pt x="7120189" y="2942133"/>
                  <a:pt x="7091237" y="2971084"/>
                  <a:pt x="7055523" y="2971084"/>
                </a:cubicBezTo>
                <a:cubicBezTo>
                  <a:pt x="7019809" y="2971084"/>
                  <a:pt x="6990857" y="2942133"/>
                  <a:pt x="6990857" y="2906419"/>
                </a:cubicBezTo>
                <a:cubicBezTo>
                  <a:pt x="6990857" y="2870704"/>
                  <a:pt x="7019809" y="2841752"/>
                  <a:pt x="7055523" y="2841752"/>
                </a:cubicBezTo>
                <a:close/>
                <a:moveTo>
                  <a:pt x="6895037" y="2841752"/>
                </a:moveTo>
                <a:cubicBezTo>
                  <a:pt x="6930751" y="2841752"/>
                  <a:pt x="6959703" y="2870704"/>
                  <a:pt x="6959703" y="2906419"/>
                </a:cubicBezTo>
                <a:cubicBezTo>
                  <a:pt x="6959703" y="2942133"/>
                  <a:pt x="6930751" y="2971084"/>
                  <a:pt x="6895037" y="2971084"/>
                </a:cubicBezTo>
                <a:cubicBezTo>
                  <a:pt x="6859323" y="2971084"/>
                  <a:pt x="6830371" y="2942133"/>
                  <a:pt x="6830371" y="2906419"/>
                </a:cubicBezTo>
                <a:cubicBezTo>
                  <a:pt x="6830371" y="2870704"/>
                  <a:pt x="6859323" y="2841752"/>
                  <a:pt x="6895037" y="2841752"/>
                </a:cubicBezTo>
                <a:close/>
                <a:moveTo>
                  <a:pt x="6742377" y="2841752"/>
                </a:moveTo>
                <a:cubicBezTo>
                  <a:pt x="6778091" y="2841752"/>
                  <a:pt x="6807043" y="2870704"/>
                  <a:pt x="6807043" y="2906419"/>
                </a:cubicBezTo>
                <a:cubicBezTo>
                  <a:pt x="6807043" y="2942133"/>
                  <a:pt x="6778091" y="2971084"/>
                  <a:pt x="6742377" y="2971084"/>
                </a:cubicBezTo>
                <a:cubicBezTo>
                  <a:pt x="6706663" y="2971084"/>
                  <a:pt x="6677711" y="2942133"/>
                  <a:pt x="6677711" y="2906419"/>
                </a:cubicBezTo>
                <a:cubicBezTo>
                  <a:pt x="6677711" y="2870704"/>
                  <a:pt x="6706663" y="2841752"/>
                  <a:pt x="6742377" y="2841752"/>
                </a:cubicBezTo>
                <a:close/>
                <a:moveTo>
                  <a:pt x="6585804" y="2841752"/>
                </a:moveTo>
                <a:cubicBezTo>
                  <a:pt x="6621518" y="2841752"/>
                  <a:pt x="6650470" y="2870704"/>
                  <a:pt x="6650470" y="2906419"/>
                </a:cubicBezTo>
                <a:cubicBezTo>
                  <a:pt x="6650470" y="2942133"/>
                  <a:pt x="6621518" y="2971084"/>
                  <a:pt x="6585804" y="2971084"/>
                </a:cubicBezTo>
                <a:cubicBezTo>
                  <a:pt x="6550090" y="2971084"/>
                  <a:pt x="6521138" y="2942133"/>
                  <a:pt x="6521138" y="2906419"/>
                </a:cubicBezTo>
                <a:cubicBezTo>
                  <a:pt x="6521138" y="2870704"/>
                  <a:pt x="6550090" y="2841752"/>
                  <a:pt x="6585804" y="2841752"/>
                </a:cubicBezTo>
                <a:close/>
                <a:moveTo>
                  <a:pt x="6429229" y="2841752"/>
                </a:moveTo>
                <a:cubicBezTo>
                  <a:pt x="6464943" y="2841752"/>
                  <a:pt x="6493895" y="2870704"/>
                  <a:pt x="6493895" y="2906419"/>
                </a:cubicBezTo>
                <a:cubicBezTo>
                  <a:pt x="6493895" y="2942133"/>
                  <a:pt x="6464943" y="2971084"/>
                  <a:pt x="6429229" y="2971084"/>
                </a:cubicBezTo>
                <a:cubicBezTo>
                  <a:pt x="6393515" y="2971084"/>
                  <a:pt x="6364563" y="2942133"/>
                  <a:pt x="6364563" y="2906419"/>
                </a:cubicBezTo>
                <a:cubicBezTo>
                  <a:pt x="6364563" y="2870704"/>
                  <a:pt x="6393515" y="2841752"/>
                  <a:pt x="6429229" y="2841752"/>
                </a:cubicBezTo>
                <a:close/>
                <a:moveTo>
                  <a:pt x="6276571" y="2841752"/>
                </a:moveTo>
                <a:cubicBezTo>
                  <a:pt x="6312285" y="2841752"/>
                  <a:pt x="6341237" y="2870704"/>
                  <a:pt x="6341237" y="2906419"/>
                </a:cubicBezTo>
                <a:cubicBezTo>
                  <a:pt x="6341237" y="2942133"/>
                  <a:pt x="6312285" y="2971084"/>
                  <a:pt x="6276571" y="2971084"/>
                </a:cubicBezTo>
                <a:cubicBezTo>
                  <a:pt x="6240857" y="2971084"/>
                  <a:pt x="6211905" y="2942133"/>
                  <a:pt x="6211905" y="2906419"/>
                </a:cubicBezTo>
                <a:cubicBezTo>
                  <a:pt x="6211905" y="2870704"/>
                  <a:pt x="6240857" y="2841752"/>
                  <a:pt x="6276571" y="2841752"/>
                </a:cubicBezTo>
                <a:close/>
                <a:moveTo>
                  <a:pt x="6119999" y="2841752"/>
                </a:moveTo>
                <a:cubicBezTo>
                  <a:pt x="6155713" y="2841752"/>
                  <a:pt x="6184665" y="2870704"/>
                  <a:pt x="6184665" y="2906419"/>
                </a:cubicBezTo>
                <a:cubicBezTo>
                  <a:pt x="6184665" y="2942133"/>
                  <a:pt x="6155713" y="2971084"/>
                  <a:pt x="6119999" y="2971084"/>
                </a:cubicBezTo>
                <a:cubicBezTo>
                  <a:pt x="6084285" y="2971084"/>
                  <a:pt x="6055333" y="2942133"/>
                  <a:pt x="6055333" y="2906419"/>
                </a:cubicBezTo>
                <a:cubicBezTo>
                  <a:pt x="6055333" y="2870704"/>
                  <a:pt x="6084285" y="2841752"/>
                  <a:pt x="6119999" y="2841752"/>
                </a:cubicBezTo>
                <a:close/>
                <a:moveTo>
                  <a:pt x="5967339" y="2841752"/>
                </a:moveTo>
                <a:cubicBezTo>
                  <a:pt x="6003053" y="2841752"/>
                  <a:pt x="6032005" y="2870704"/>
                  <a:pt x="6032005" y="2906419"/>
                </a:cubicBezTo>
                <a:cubicBezTo>
                  <a:pt x="6032005" y="2942133"/>
                  <a:pt x="6003053" y="2971084"/>
                  <a:pt x="5967339" y="2971084"/>
                </a:cubicBezTo>
                <a:cubicBezTo>
                  <a:pt x="5931625" y="2971084"/>
                  <a:pt x="5902673" y="2942133"/>
                  <a:pt x="5902673" y="2906419"/>
                </a:cubicBezTo>
                <a:cubicBezTo>
                  <a:pt x="5902673" y="2870704"/>
                  <a:pt x="5931625" y="2841752"/>
                  <a:pt x="5967339" y="2841752"/>
                </a:cubicBezTo>
                <a:close/>
                <a:moveTo>
                  <a:pt x="5810785" y="2841752"/>
                </a:moveTo>
                <a:cubicBezTo>
                  <a:pt x="5846479" y="2841752"/>
                  <a:pt x="5875431" y="2870704"/>
                  <a:pt x="5875431" y="2906419"/>
                </a:cubicBezTo>
                <a:cubicBezTo>
                  <a:pt x="5875431" y="2942133"/>
                  <a:pt x="5846479" y="2971084"/>
                  <a:pt x="5810785" y="2971084"/>
                </a:cubicBezTo>
                <a:cubicBezTo>
                  <a:pt x="5775064" y="2971084"/>
                  <a:pt x="5746108" y="2942133"/>
                  <a:pt x="5746108" y="2906419"/>
                </a:cubicBezTo>
                <a:cubicBezTo>
                  <a:pt x="5746108" y="2870704"/>
                  <a:pt x="5775064" y="2841752"/>
                  <a:pt x="5810785" y="2841752"/>
                </a:cubicBezTo>
                <a:close/>
                <a:moveTo>
                  <a:pt x="5658107" y="2841752"/>
                </a:moveTo>
                <a:cubicBezTo>
                  <a:pt x="5693823" y="2841752"/>
                  <a:pt x="5722779" y="2870704"/>
                  <a:pt x="5722779" y="2906419"/>
                </a:cubicBezTo>
                <a:cubicBezTo>
                  <a:pt x="5722779" y="2942133"/>
                  <a:pt x="5693823" y="2971084"/>
                  <a:pt x="5658107" y="2971084"/>
                </a:cubicBezTo>
                <a:cubicBezTo>
                  <a:pt x="5622395" y="2971084"/>
                  <a:pt x="5593441" y="2942133"/>
                  <a:pt x="5593441" y="2906419"/>
                </a:cubicBezTo>
                <a:cubicBezTo>
                  <a:pt x="5593441" y="2870704"/>
                  <a:pt x="5622395" y="2841752"/>
                  <a:pt x="5658107" y="2841752"/>
                </a:cubicBezTo>
                <a:close/>
                <a:moveTo>
                  <a:pt x="5501538" y="2841752"/>
                </a:moveTo>
                <a:cubicBezTo>
                  <a:pt x="5537252" y="2841752"/>
                  <a:pt x="5566202" y="2870704"/>
                  <a:pt x="5566202" y="2906419"/>
                </a:cubicBezTo>
                <a:cubicBezTo>
                  <a:pt x="5566202" y="2942133"/>
                  <a:pt x="5537252" y="2971084"/>
                  <a:pt x="5501538" y="2971084"/>
                </a:cubicBezTo>
                <a:cubicBezTo>
                  <a:pt x="5465825" y="2971084"/>
                  <a:pt x="5436878" y="2942133"/>
                  <a:pt x="5436878" y="2906419"/>
                </a:cubicBezTo>
                <a:cubicBezTo>
                  <a:pt x="5436878" y="2870704"/>
                  <a:pt x="5465825" y="2841752"/>
                  <a:pt x="5501538" y="2841752"/>
                </a:cubicBezTo>
                <a:close/>
                <a:moveTo>
                  <a:pt x="5348883" y="2841752"/>
                </a:moveTo>
                <a:cubicBezTo>
                  <a:pt x="5384600" y="2841752"/>
                  <a:pt x="5413550" y="2870704"/>
                  <a:pt x="5413550" y="2906419"/>
                </a:cubicBezTo>
                <a:cubicBezTo>
                  <a:pt x="5413550" y="2942133"/>
                  <a:pt x="5384600" y="2971084"/>
                  <a:pt x="5348883" y="2971084"/>
                </a:cubicBezTo>
                <a:cubicBezTo>
                  <a:pt x="5313178" y="2971084"/>
                  <a:pt x="5284222" y="2942133"/>
                  <a:pt x="5284222" y="2906419"/>
                </a:cubicBezTo>
                <a:cubicBezTo>
                  <a:pt x="5284222" y="2870704"/>
                  <a:pt x="5313178" y="2841752"/>
                  <a:pt x="5348883" y="2841752"/>
                </a:cubicBezTo>
                <a:close/>
                <a:moveTo>
                  <a:pt x="5192312" y="2841752"/>
                </a:moveTo>
                <a:cubicBezTo>
                  <a:pt x="5228028" y="2841752"/>
                  <a:pt x="5256975" y="2870704"/>
                  <a:pt x="5256975" y="2906419"/>
                </a:cubicBezTo>
                <a:cubicBezTo>
                  <a:pt x="5256975" y="2942133"/>
                  <a:pt x="5228028" y="2971084"/>
                  <a:pt x="5192312" y="2971084"/>
                </a:cubicBezTo>
                <a:cubicBezTo>
                  <a:pt x="5156602" y="2971084"/>
                  <a:pt x="5127646" y="2942133"/>
                  <a:pt x="5127646" y="2906419"/>
                </a:cubicBezTo>
                <a:cubicBezTo>
                  <a:pt x="5127646" y="2870704"/>
                  <a:pt x="5156602" y="2841752"/>
                  <a:pt x="5192312" y="2841752"/>
                </a:cubicBezTo>
                <a:close/>
                <a:moveTo>
                  <a:pt x="2855510" y="2841752"/>
                </a:moveTo>
                <a:cubicBezTo>
                  <a:pt x="2891221" y="2841752"/>
                  <a:pt x="2920171" y="2870704"/>
                  <a:pt x="2920171" y="2906419"/>
                </a:cubicBezTo>
                <a:cubicBezTo>
                  <a:pt x="2920171" y="2942133"/>
                  <a:pt x="2891221" y="2971084"/>
                  <a:pt x="2855510" y="2971084"/>
                </a:cubicBezTo>
                <a:cubicBezTo>
                  <a:pt x="2819799" y="2971084"/>
                  <a:pt x="2790849" y="2942133"/>
                  <a:pt x="2790849" y="2906419"/>
                </a:cubicBezTo>
                <a:cubicBezTo>
                  <a:pt x="2790849" y="2870704"/>
                  <a:pt x="2819799" y="2841752"/>
                  <a:pt x="2855510" y="2841752"/>
                </a:cubicBezTo>
                <a:close/>
                <a:moveTo>
                  <a:pt x="2237059" y="2841752"/>
                </a:moveTo>
                <a:cubicBezTo>
                  <a:pt x="2272778" y="2841752"/>
                  <a:pt x="2301735" y="2870704"/>
                  <a:pt x="2301735" y="2906419"/>
                </a:cubicBezTo>
                <a:cubicBezTo>
                  <a:pt x="2301735" y="2942133"/>
                  <a:pt x="2272778" y="2971084"/>
                  <a:pt x="2237059" y="2971084"/>
                </a:cubicBezTo>
                <a:cubicBezTo>
                  <a:pt x="2201340" y="2971084"/>
                  <a:pt x="2172383" y="2942133"/>
                  <a:pt x="2172383" y="2906419"/>
                </a:cubicBezTo>
                <a:cubicBezTo>
                  <a:pt x="2172383" y="2870704"/>
                  <a:pt x="2201340" y="2841752"/>
                  <a:pt x="2237059" y="2841752"/>
                </a:cubicBezTo>
                <a:close/>
                <a:moveTo>
                  <a:pt x="2084385" y="2841752"/>
                </a:moveTo>
                <a:cubicBezTo>
                  <a:pt x="2120101" y="2841752"/>
                  <a:pt x="2149052" y="2870704"/>
                  <a:pt x="2149052" y="2906419"/>
                </a:cubicBezTo>
                <a:cubicBezTo>
                  <a:pt x="2149052" y="2942133"/>
                  <a:pt x="2120101" y="2971084"/>
                  <a:pt x="2084385" y="2971084"/>
                </a:cubicBezTo>
                <a:cubicBezTo>
                  <a:pt x="2048665" y="2971084"/>
                  <a:pt x="2019732" y="2942133"/>
                  <a:pt x="2019732" y="2906419"/>
                </a:cubicBezTo>
                <a:cubicBezTo>
                  <a:pt x="2019732" y="2870704"/>
                  <a:pt x="2048665" y="2841752"/>
                  <a:pt x="2084385" y="2841752"/>
                </a:cubicBezTo>
                <a:close/>
                <a:moveTo>
                  <a:pt x="1927808" y="2841752"/>
                </a:moveTo>
                <a:cubicBezTo>
                  <a:pt x="1963522" y="2841752"/>
                  <a:pt x="1992485" y="2870704"/>
                  <a:pt x="1992485" y="2906419"/>
                </a:cubicBezTo>
                <a:cubicBezTo>
                  <a:pt x="1992485" y="2942133"/>
                  <a:pt x="1963522" y="2971084"/>
                  <a:pt x="1927808" y="2971084"/>
                </a:cubicBezTo>
                <a:cubicBezTo>
                  <a:pt x="1892110" y="2971084"/>
                  <a:pt x="1863159" y="2942133"/>
                  <a:pt x="1863159" y="2906419"/>
                </a:cubicBezTo>
                <a:cubicBezTo>
                  <a:pt x="1863159" y="2870704"/>
                  <a:pt x="1892110" y="2841752"/>
                  <a:pt x="1927808" y="2841752"/>
                </a:cubicBezTo>
                <a:close/>
                <a:moveTo>
                  <a:pt x="1775154" y="2841752"/>
                </a:moveTo>
                <a:cubicBezTo>
                  <a:pt x="1810863" y="2841752"/>
                  <a:pt x="1839830" y="2870704"/>
                  <a:pt x="1839830" y="2906419"/>
                </a:cubicBezTo>
                <a:cubicBezTo>
                  <a:pt x="1839830" y="2942133"/>
                  <a:pt x="1810863" y="2971084"/>
                  <a:pt x="1775154" y="2971084"/>
                </a:cubicBezTo>
                <a:cubicBezTo>
                  <a:pt x="1739439" y="2971084"/>
                  <a:pt x="1710486" y="2942133"/>
                  <a:pt x="1710486" y="2906419"/>
                </a:cubicBezTo>
                <a:cubicBezTo>
                  <a:pt x="1710486" y="2870704"/>
                  <a:pt x="1739439" y="2841752"/>
                  <a:pt x="1775154" y="2841752"/>
                </a:cubicBezTo>
                <a:close/>
                <a:moveTo>
                  <a:pt x="8296367" y="2700840"/>
                </a:moveTo>
                <a:cubicBezTo>
                  <a:pt x="8332081" y="2700840"/>
                  <a:pt x="8361033" y="2729792"/>
                  <a:pt x="8361033" y="2765506"/>
                </a:cubicBezTo>
                <a:cubicBezTo>
                  <a:pt x="8361033" y="2801220"/>
                  <a:pt x="8332081" y="2830172"/>
                  <a:pt x="8296367" y="2830172"/>
                </a:cubicBezTo>
                <a:cubicBezTo>
                  <a:pt x="8260653" y="2830172"/>
                  <a:pt x="8231701" y="2801220"/>
                  <a:pt x="8231701" y="2765506"/>
                </a:cubicBezTo>
                <a:cubicBezTo>
                  <a:pt x="8231701" y="2729792"/>
                  <a:pt x="8260653" y="2700840"/>
                  <a:pt x="8296367" y="2700840"/>
                </a:cubicBezTo>
                <a:close/>
                <a:moveTo>
                  <a:pt x="7677902" y="2700840"/>
                </a:moveTo>
                <a:cubicBezTo>
                  <a:pt x="7713616" y="2700840"/>
                  <a:pt x="7742568" y="2729792"/>
                  <a:pt x="7742568" y="2765506"/>
                </a:cubicBezTo>
                <a:cubicBezTo>
                  <a:pt x="7742568" y="2801220"/>
                  <a:pt x="7713616" y="2830172"/>
                  <a:pt x="7677902" y="2830172"/>
                </a:cubicBezTo>
                <a:cubicBezTo>
                  <a:pt x="7642188" y="2830172"/>
                  <a:pt x="7613236" y="2801220"/>
                  <a:pt x="7613236" y="2765506"/>
                </a:cubicBezTo>
                <a:cubicBezTo>
                  <a:pt x="7613236" y="2729792"/>
                  <a:pt x="7642188" y="2700840"/>
                  <a:pt x="7677902" y="2700840"/>
                </a:cubicBezTo>
                <a:close/>
                <a:moveTo>
                  <a:pt x="7521329" y="2700840"/>
                </a:moveTo>
                <a:cubicBezTo>
                  <a:pt x="7557043" y="2700840"/>
                  <a:pt x="7585995" y="2729792"/>
                  <a:pt x="7585995" y="2765506"/>
                </a:cubicBezTo>
                <a:cubicBezTo>
                  <a:pt x="7585995" y="2801220"/>
                  <a:pt x="7557043" y="2830172"/>
                  <a:pt x="7521329" y="2830172"/>
                </a:cubicBezTo>
                <a:cubicBezTo>
                  <a:pt x="7485615" y="2830172"/>
                  <a:pt x="7456663" y="2801220"/>
                  <a:pt x="7456663" y="2765506"/>
                </a:cubicBezTo>
                <a:cubicBezTo>
                  <a:pt x="7456663" y="2729792"/>
                  <a:pt x="7485615" y="2700840"/>
                  <a:pt x="7521329" y="2700840"/>
                </a:cubicBezTo>
                <a:close/>
                <a:moveTo>
                  <a:pt x="7212096" y="2700840"/>
                </a:moveTo>
                <a:cubicBezTo>
                  <a:pt x="7247810" y="2700840"/>
                  <a:pt x="7276762" y="2729792"/>
                  <a:pt x="7276762" y="2765506"/>
                </a:cubicBezTo>
                <a:cubicBezTo>
                  <a:pt x="7276762" y="2801220"/>
                  <a:pt x="7247810" y="2830172"/>
                  <a:pt x="7212096" y="2830172"/>
                </a:cubicBezTo>
                <a:cubicBezTo>
                  <a:pt x="7176382" y="2830172"/>
                  <a:pt x="7147430" y="2801220"/>
                  <a:pt x="7147430" y="2765506"/>
                </a:cubicBezTo>
                <a:cubicBezTo>
                  <a:pt x="7147430" y="2729792"/>
                  <a:pt x="7176382" y="2700840"/>
                  <a:pt x="7212096" y="2700840"/>
                </a:cubicBezTo>
                <a:close/>
                <a:moveTo>
                  <a:pt x="7055523" y="2700840"/>
                </a:moveTo>
                <a:cubicBezTo>
                  <a:pt x="7091237" y="2700840"/>
                  <a:pt x="7120189" y="2729792"/>
                  <a:pt x="7120189" y="2765506"/>
                </a:cubicBezTo>
                <a:cubicBezTo>
                  <a:pt x="7120189" y="2801220"/>
                  <a:pt x="7091237" y="2830172"/>
                  <a:pt x="7055523" y="2830172"/>
                </a:cubicBezTo>
                <a:cubicBezTo>
                  <a:pt x="7019809" y="2830172"/>
                  <a:pt x="6990857" y="2801220"/>
                  <a:pt x="6990857" y="2765506"/>
                </a:cubicBezTo>
                <a:cubicBezTo>
                  <a:pt x="6990857" y="2729792"/>
                  <a:pt x="7019809" y="2700840"/>
                  <a:pt x="7055523" y="2700840"/>
                </a:cubicBezTo>
                <a:close/>
                <a:moveTo>
                  <a:pt x="6895037" y="2700840"/>
                </a:moveTo>
                <a:cubicBezTo>
                  <a:pt x="6930751" y="2700840"/>
                  <a:pt x="6959703" y="2729792"/>
                  <a:pt x="6959703" y="2765506"/>
                </a:cubicBezTo>
                <a:cubicBezTo>
                  <a:pt x="6959703" y="2801220"/>
                  <a:pt x="6930751" y="2830172"/>
                  <a:pt x="6895037" y="2830172"/>
                </a:cubicBezTo>
                <a:cubicBezTo>
                  <a:pt x="6859323" y="2830172"/>
                  <a:pt x="6830371" y="2801220"/>
                  <a:pt x="6830371" y="2765506"/>
                </a:cubicBezTo>
                <a:cubicBezTo>
                  <a:pt x="6830371" y="2729792"/>
                  <a:pt x="6859323" y="2700840"/>
                  <a:pt x="6895037" y="2700840"/>
                </a:cubicBezTo>
                <a:close/>
                <a:moveTo>
                  <a:pt x="6119999" y="2700840"/>
                </a:moveTo>
                <a:cubicBezTo>
                  <a:pt x="6155713" y="2700840"/>
                  <a:pt x="6184665" y="2729792"/>
                  <a:pt x="6184665" y="2765506"/>
                </a:cubicBezTo>
                <a:cubicBezTo>
                  <a:pt x="6184665" y="2801220"/>
                  <a:pt x="6155713" y="2830172"/>
                  <a:pt x="6119999" y="2830172"/>
                </a:cubicBezTo>
                <a:cubicBezTo>
                  <a:pt x="6084285" y="2830172"/>
                  <a:pt x="6055333" y="2801220"/>
                  <a:pt x="6055333" y="2765506"/>
                </a:cubicBezTo>
                <a:cubicBezTo>
                  <a:pt x="6055333" y="2729792"/>
                  <a:pt x="6084285" y="2700840"/>
                  <a:pt x="6119999" y="2700840"/>
                </a:cubicBezTo>
                <a:close/>
                <a:moveTo>
                  <a:pt x="5348883" y="2700840"/>
                </a:moveTo>
                <a:cubicBezTo>
                  <a:pt x="5384600" y="2700840"/>
                  <a:pt x="5413550" y="2729792"/>
                  <a:pt x="5413550" y="2765506"/>
                </a:cubicBezTo>
                <a:cubicBezTo>
                  <a:pt x="5413550" y="2801220"/>
                  <a:pt x="5384600" y="2830172"/>
                  <a:pt x="5348883" y="2830172"/>
                </a:cubicBezTo>
                <a:cubicBezTo>
                  <a:pt x="5313178" y="2830172"/>
                  <a:pt x="5284222" y="2801220"/>
                  <a:pt x="5284222" y="2765506"/>
                </a:cubicBezTo>
                <a:cubicBezTo>
                  <a:pt x="5284222" y="2729792"/>
                  <a:pt x="5313178" y="2700840"/>
                  <a:pt x="5348883" y="2700840"/>
                </a:cubicBezTo>
                <a:close/>
                <a:moveTo>
                  <a:pt x="2855515" y="2700840"/>
                </a:moveTo>
                <a:cubicBezTo>
                  <a:pt x="2891226" y="2700840"/>
                  <a:pt x="2920176" y="2729792"/>
                  <a:pt x="2920176" y="2765506"/>
                </a:cubicBezTo>
                <a:cubicBezTo>
                  <a:pt x="2920176" y="2801220"/>
                  <a:pt x="2891226" y="2830172"/>
                  <a:pt x="2855515" y="2830172"/>
                </a:cubicBezTo>
                <a:cubicBezTo>
                  <a:pt x="2819804" y="2830172"/>
                  <a:pt x="2790855" y="2801220"/>
                  <a:pt x="2790855" y="2765506"/>
                </a:cubicBezTo>
                <a:cubicBezTo>
                  <a:pt x="2790855" y="2729792"/>
                  <a:pt x="2819804" y="2700840"/>
                  <a:pt x="2855515" y="2700840"/>
                </a:cubicBezTo>
                <a:close/>
                <a:moveTo>
                  <a:pt x="2698955" y="2700840"/>
                </a:moveTo>
                <a:cubicBezTo>
                  <a:pt x="2734666" y="2700840"/>
                  <a:pt x="2763616" y="2729792"/>
                  <a:pt x="2763616" y="2765506"/>
                </a:cubicBezTo>
                <a:cubicBezTo>
                  <a:pt x="2763616" y="2801220"/>
                  <a:pt x="2734666" y="2830172"/>
                  <a:pt x="2698955" y="2830172"/>
                </a:cubicBezTo>
                <a:cubicBezTo>
                  <a:pt x="2663244" y="2830172"/>
                  <a:pt x="2634295" y="2801220"/>
                  <a:pt x="2634295" y="2765506"/>
                </a:cubicBezTo>
                <a:cubicBezTo>
                  <a:pt x="2634295" y="2729792"/>
                  <a:pt x="2663244" y="2700840"/>
                  <a:pt x="2698955" y="2700840"/>
                </a:cubicBezTo>
                <a:close/>
                <a:moveTo>
                  <a:pt x="2389740" y="2700840"/>
                </a:moveTo>
                <a:cubicBezTo>
                  <a:pt x="2425458" y="2700840"/>
                  <a:pt x="2454407" y="2729792"/>
                  <a:pt x="2454407" y="2765506"/>
                </a:cubicBezTo>
                <a:cubicBezTo>
                  <a:pt x="2454407" y="2801220"/>
                  <a:pt x="2425458" y="2830172"/>
                  <a:pt x="2389740" y="2830172"/>
                </a:cubicBezTo>
                <a:cubicBezTo>
                  <a:pt x="2354030" y="2830172"/>
                  <a:pt x="2325073" y="2801220"/>
                  <a:pt x="2325073" y="2765506"/>
                </a:cubicBezTo>
                <a:cubicBezTo>
                  <a:pt x="2325073" y="2729792"/>
                  <a:pt x="2354030" y="2700840"/>
                  <a:pt x="2389740" y="2700840"/>
                </a:cubicBezTo>
                <a:close/>
                <a:moveTo>
                  <a:pt x="2237065" y="2700840"/>
                </a:moveTo>
                <a:cubicBezTo>
                  <a:pt x="2272786" y="2700840"/>
                  <a:pt x="2301741" y="2729792"/>
                  <a:pt x="2301741" y="2765506"/>
                </a:cubicBezTo>
                <a:cubicBezTo>
                  <a:pt x="2301741" y="2801220"/>
                  <a:pt x="2272786" y="2830172"/>
                  <a:pt x="2237065" y="2830172"/>
                </a:cubicBezTo>
                <a:cubicBezTo>
                  <a:pt x="2201346" y="2830172"/>
                  <a:pt x="2172389" y="2801220"/>
                  <a:pt x="2172389" y="2765506"/>
                </a:cubicBezTo>
                <a:cubicBezTo>
                  <a:pt x="2172389" y="2729792"/>
                  <a:pt x="2201346" y="2700840"/>
                  <a:pt x="2237065" y="2700840"/>
                </a:cubicBezTo>
                <a:close/>
                <a:moveTo>
                  <a:pt x="2084396" y="2700840"/>
                </a:moveTo>
                <a:cubicBezTo>
                  <a:pt x="2120108" y="2700840"/>
                  <a:pt x="2149059" y="2729792"/>
                  <a:pt x="2149059" y="2765506"/>
                </a:cubicBezTo>
                <a:cubicBezTo>
                  <a:pt x="2149059" y="2801220"/>
                  <a:pt x="2120108" y="2830172"/>
                  <a:pt x="2084396" y="2830172"/>
                </a:cubicBezTo>
                <a:cubicBezTo>
                  <a:pt x="2048673" y="2830172"/>
                  <a:pt x="2019738" y="2801220"/>
                  <a:pt x="2019738" y="2765506"/>
                </a:cubicBezTo>
                <a:cubicBezTo>
                  <a:pt x="2019738" y="2729792"/>
                  <a:pt x="2048673" y="2700840"/>
                  <a:pt x="2084396" y="2700840"/>
                </a:cubicBezTo>
                <a:close/>
                <a:moveTo>
                  <a:pt x="1927818" y="2700840"/>
                </a:moveTo>
                <a:cubicBezTo>
                  <a:pt x="1963542" y="2700840"/>
                  <a:pt x="1992493" y="2729792"/>
                  <a:pt x="1992493" y="2765506"/>
                </a:cubicBezTo>
                <a:cubicBezTo>
                  <a:pt x="1992493" y="2801220"/>
                  <a:pt x="1963542" y="2830172"/>
                  <a:pt x="1927818" y="2830172"/>
                </a:cubicBezTo>
                <a:cubicBezTo>
                  <a:pt x="1892117" y="2830172"/>
                  <a:pt x="1863165" y="2801220"/>
                  <a:pt x="1863165" y="2765506"/>
                </a:cubicBezTo>
                <a:cubicBezTo>
                  <a:pt x="1863165" y="2729792"/>
                  <a:pt x="1892117" y="2700840"/>
                  <a:pt x="1927818" y="2700840"/>
                </a:cubicBezTo>
                <a:close/>
                <a:moveTo>
                  <a:pt x="1775160" y="2700840"/>
                </a:moveTo>
                <a:cubicBezTo>
                  <a:pt x="1810868" y="2700840"/>
                  <a:pt x="1839836" y="2729792"/>
                  <a:pt x="1839836" y="2765506"/>
                </a:cubicBezTo>
                <a:cubicBezTo>
                  <a:pt x="1839836" y="2801220"/>
                  <a:pt x="1810868" y="2830172"/>
                  <a:pt x="1775160" y="2830172"/>
                </a:cubicBezTo>
                <a:cubicBezTo>
                  <a:pt x="1739444" y="2830172"/>
                  <a:pt x="1710491" y="2801220"/>
                  <a:pt x="1710491" y="2765506"/>
                </a:cubicBezTo>
                <a:cubicBezTo>
                  <a:pt x="1710491" y="2729792"/>
                  <a:pt x="1739444" y="2700840"/>
                  <a:pt x="1775160" y="2700840"/>
                </a:cubicBezTo>
                <a:close/>
                <a:moveTo>
                  <a:pt x="8449023" y="2700839"/>
                </a:moveTo>
                <a:cubicBezTo>
                  <a:pt x="8484737" y="2700839"/>
                  <a:pt x="8513689" y="2729790"/>
                  <a:pt x="8513689" y="2765504"/>
                </a:cubicBezTo>
                <a:cubicBezTo>
                  <a:pt x="8513689" y="2801219"/>
                  <a:pt x="8484737" y="2830170"/>
                  <a:pt x="8449023" y="2830170"/>
                </a:cubicBezTo>
                <a:cubicBezTo>
                  <a:pt x="8413309" y="2830170"/>
                  <a:pt x="8384357" y="2801219"/>
                  <a:pt x="8384357" y="2765504"/>
                </a:cubicBezTo>
                <a:cubicBezTo>
                  <a:pt x="8384357" y="2729790"/>
                  <a:pt x="8413309" y="2700839"/>
                  <a:pt x="8449023" y="2700839"/>
                </a:cubicBezTo>
                <a:close/>
                <a:moveTo>
                  <a:pt x="8139792" y="2700839"/>
                </a:moveTo>
                <a:cubicBezTo>
                  <a:pt x="8175506" y="2700839"/>
                  <a:pt x="8204458" y="2729790"/>
                  <a:pt x="8204458" y="2765504"/>
                </a:cubicBezTo>
                <a:cubicBezTo>
                  <a:pt x="8204458" y="2801219"/>
                  <a:pt x="8175506" y="2830170"/>
                  <a:pt x="8139792" y="2830170"/>
                </a:cubicBezTo>
                <a:cubicBezTo>
                  <a:pt x="8104078" y="2830170"/>
                  <a:pt x="8075126" y="2801219"/>
                  <a:pt x="8075126" y="2765504"/>
                </a:cubicBezTo>
                <a:cubicBezTo>
                  <a:pt x="8075126" y="2729790"/>
                  <a:pt x="8104078" y="2700839"/>
                  <a:pt x="8139792" y="2700839"/>
                </a:cubicBezTo>
                <a:close/>
                <a:moveTo>
                  <a:pt x="7987133" y="2700839"/>
                </a:moveTo>
                <a:cubicBezTo>
                  <a:pt x="8022847" y="2700839"/>
                  <a:pt x="8051799" y="2729790"/>
                  <a:pt x="8051799" y="2765504"/>
                </a:cubicBezTo>
                <a:cubicBezTo>
                  <a:pt x="8051799" y="2801219"/>
                  <a:pt x="8022847" y="2830170"/>
                  <a:pt x="7987133" y="2830170"/>
                </a:cubicBezTo>
                <a:cubicBezTo>
                  <a:pt x="7951419" y="2830170"/>
                  <a:pt x="7922467" y="2801219"/>
                  <a:pt x="7922467" y="2765504"/>
                </a:cubicBezTo>
                <a:cubicBezTo>
                  <a:pt x="7922467" y="2729790"/>
                  <a:pt x="7951419" y="2700839"/>
                  <a:pt x="7987133" y="2700839"/>
                </a:cubicBezTo>
                <a:close/>
                <a:moveTo>
                  <a:pt x="7830562" y="2700839"/>
                </a:moveTo>
                <a:cubicBezTo>
                  <a:pt x="7866276" y="2700839"/>
                  <a:pt x="7895228" y="2729790"/>
                  <a:pt x="7895228" y="2765504"/>
                </a:cubicBezTo>
                <a:cubicBezTo>
                  <a:pt x="7895228" y="2801219"/>
                  <a:pt x="7866276" y="2830170"/>
                  <a:pt x="7830562" y="2830170"/>
                </a:cubicBezTo>
                <a:cubicBezTo>
                  <a:pt x="7794848" y="2830170"/>
                  <a:pt x="7765896" y="2801219"/>
                  <a:pt x="7765896" y="2765504"/>
                </a:cubicBezTo>
                <a:cubicBezTo>
                  <a:pt x="7765896" y="2729790"/>
                  <a:pt x="7794848" y="2700839"/>
                  <a:pt x="7830562" y="2700839"/>
                </a:cubicBezTo>
                <a:close/>
                <a:moveTo>
                  <a:pt x="7368669" y="2700839"/>
                </a:moveTo>
                <a:cubicBezTo>
                  <a:pt x="7404383" y="2700839"/>
                  <a:pt x="7433335" y="2729790"/>
                  <a:pt x="7433335" y="2765504"/>
                </a:cubicBezTo>
                <a:cubicBezTo>
                  <a:pt x="7433335" y="2801219"/>
                  <a:pt x="7404383" y="2830170"/>
                  <a:pt x="7368669" y="2830170"/>
                </a:cubicBezTo>
                <a:cubicBezTo>
                  <a:pt x="7332955" y="2830170"/>
                  <a:pt x="7304003" y="2801219"/>
                  <a:pt x="7304003" y="2765504"/>
                </a:cubicBezTo>
                <a:cubicBezTo>
                  <a:pt x="7304003" y="2729790"/>
                  <a:pt x="7332955" y="2700839"/>
                  <a:pt x="7368669" y="2700839"/>
                </a:cubicBezTo>
                <a:close/>
                <a:moveTo>
                  <a:pt x="6742375" y="2700839"/>
                </a:moveTo>
                <a:cubicBezTo>
                  <a:pt x="6778089" y="2700839"/>
                  <a:pt x="6807041" y="2729790"/>
                  <a:pt x="6807041" y="2765504"/>
                </a:cubicBezTo>
                <a:cubicBezTo>
                  <a:pt x="6807041" y="2801219"/>
                  <a:pt x="6778089" y="2830170"/>
                  <a:pt x="6742375" y="2830170"/>
                </a:cubicBezTo>
                <a:cubicBezTo>
                  <a:pt x="6706661" y="2830170"/>
                  <a:pt x="6677709" y="2801219"/>
                  <a:pt x="6677709" y="2765504"/>
                </a:cubicBezTo>
                <a:cubicBezTo>
                  <a:pt x="6677709" y="2729790"/>
                  <a:pt x="6706661" y="2700839"/>
                  <a:pt x="6742375" y="2700839"/>
                </a:cubicBezTo>
                <a:close/>
                <a:moveTo>
                  <a:pt x="6429229" y="2700839"/>
                </a:moveTo>
                <a:cubicBezTo>
                  <a:pt x="6464943" y="2700839"/>
                  <a:pt x="6493895" y="2729790"/>
                  <a:pt x="6493895" y="2765504"/>
                </a:cubicBezTo>
                <a:cubicBezTo>
                  <a:pt x="6493895" y="2801219"/>
                  <a:pt x="6464943" y="2830170"/>
                  <a:pt x="6429229" y="2830170"/>
                </a:cubicBezTo>
                <a:cubicBezTo>
                  <a:pt x="6393515" y="2830170"/>
                  <a:pt x="6364563" y="2801219"/>
                  <a:pt x="6364563" y="2765504"/>
                </a:cubicBezTo>
                <a:cubicBezTo>
                  <a:pt x="6364563" y="2729790"/>
                  <a:pt x="6393515" y="2700839"/>
                  <a:pt x="6429229" y="2700839"/>
                </a:cubicBezTo>
                <a:close/>
                <a:moveTo>
                  <a:pt x="6276571" y="2700839"/>
                </a:moveTo>
                <a:cubicBezTo>
                  <a:pt x="6312285" y="2700839"/>
                  <a:pt x="6341237" y="2729790"/>
                  <a:pt x="6341237" y="2765504"/>
                </a:cubicBezTo>
                <a:cubicBezTo>
                  <a:pt x="6341237" y="2801219"/>
                  <a:pt x="6312285" y="2830170"/>
                  <a:pt x="6276571" y="2830170"/>
                </a:cubicBezTo>
                <a:cubicBezTo>
                  <a:pt x="6240857" y="2830170"/>
                  <a:pt x="6211905" y="2801219"/>
                  <a:pt x="6211905" y="2765504"/>
                </a:cubicBezTo>
                <a:cubicBezTo>
                  <a:pt x="6211905" y="2729790"/>
                  <a:pt x="6240857" y="2700839"/>
                  <a:pt x="6276571" y="2700839"/>
                </a:cubicBezTo>
                <a:close/>
                <a:moveTo>
                  <a:pt x="5967338" y="2700839"/>
                </a:moveTo>
                <a:cubicBezTo>
                  <a:pt x="6003052" y="2700839"/>
                  <a:pt x="6032004" y="2729790"/>
                  <a:pt x="6032004" y="2765504"/>
                </a:cubicBezTo>
                <a:cubicBezTo>
                  <a:pt x="6032004" y="2801219"/>
                  <a:pt x="6003052" y="2830170"/>
                  <a:pt x="5967338" y="2830170"/>
                </a:cubicBezTo>
                <a:cubicBezTo>
                  <a:pt x="5931624" y="2830170"/>
                  <a:pt x="5902672" y="2801219"/>
                  <a:pt x="5902672" y="2765504"/>
                </a:cubicBezTo>
                <a:cubicBezTo>
                  <a:pt x="5902672" y="2729790"/>
                  <a:pt x="5931624" y="2700839"/>
                  <a:pt x="5967338" y="2700839"/>
                </a:cubicBezTo>
                <a:close/>
                <a:moveTo>
                  <a:pt x="5810785" y="2700839"/>
                </a:moveTo>
                <a:cubicBezTo>
                  <a:pt x="5846479" y="2700839"/>
                  <a:pt x="5875431" y="2729790"/>
                  <a:pt x="5875431" y="2765504"/>
                </a:cubicBezTo>
                <a:cubicBezTo>
                  <a:pt x="5875431" y="2801219"/>
                  <a:pt x="5846479" y="2830170"/>
                  <a:pt x="5810785" y="2830170"/>
                </a:cubicBezTo>
                <a:cubicBezTo>
                  <a:pt x="5775066" y="2830170"/>
                  <a:pt x="5746110" y="2801219"/>
                  <a:pt x="5746110" y="2765504"/>
                </a:cubicBezTo>
                <a:cubicBezTo>
                  <a:pt x="5746110" y="2729790"/>
                  <a:pt x="5775066" y="2700839"/>
                  <a:pt x="5810785" y="2700839"/>
                </a:cubicBezTo>
                <a:close/>
                <a:moveTo>
                  <a:pt x="5658107" y="2700839"/>
                </a:moveTo>
                <a:cubicBezTo>
                  <a:pt x="5693823" y="2700839"/>
                  <a:pt x="5722779" y="2729790"/>
                  <a:pt x="5722779" y="2765504"/>
                </a:cubicBezTo>
                <a:cubicBezTo>
                  <a:pt x="5722779" y="2801219"/>
                  <a:pt x="5693823" y="2830170"/>
                  <a:pt x="5658107" y="2830170"/>
                </a:cubicBezTo>
                <a:cubicBezTo>
                  <a:pt x="5622395" y="2830170"/>
                  <a:pt x="5593441" y="2801219"/>
                  <a:pt x="5593441" y="2765504"/>
                </a:cubicBezTo>
                <a:cubicBezTo>
                  <a:pt x="5593441" y="2729790"/>
                  <a:pt x="5622395" y="2700839"/>
                  <a:pt x="5658107" y="2700839"/>
                </a:cubicBezTo>
                <a:close/>
                <a:moveTo>
                  <a:pt x="5501539" y="2700839"/>
                </a:moveTo>
                <a:cubicBezTo>
                  <a:pt x="5537252" y="2700839"/>
                  <a:pt x="5566202" y="2729790"/>
                  <a:pt x="5566202" y="2765504"/>
                </a:cubicBezTo>
                <a:cubicBezTo>
                  <a:pt x="5566202" y="2801219"/>
                  <a:pt x="5537252" y="2830170"/>
                  <a:pt x="5501539" y="2830170"/>
                </a:cubicBezTo>
                <a:cubicBezTo>
                  <a:pt x="5465825" y="2830170"/>
                  <a:pt x="5436879" y="2801219"/>
                  <a:pt x="5436879" y="2765504"/>
                </a:cubicBezTo>
                <a:cubicBezTo>
                  <a:pt x="5436879" y="2729790"/>
                  <a:pt x="5465825" y="2700839"/>
                  <a:pt x="5501539" y="2700839"/>
                </a:cubicBezTo>
                <a:close/>
                <a:moveTo>
                  <a:pt x="5192312" y="2700839"/>
                </a:moveTo>
                <a:cubicBezTo>
                  <a:pt x="5228031" y="2700839"/>
                  <a:pt x="5256977" y="2729790"/>
                  <a:pt x="5256977" y="2765504"/>
                </a:cubicBezTo>
                <a:cubicBezTo>
                  <a:pt x="5256977" y="2801219"/>
                  <a:pt x="5228031" y="2830170"/>
                  <a:pt x="5192312" y="2830170"/>
                </a:cubicBezTo>
                <a:cubicBezTo>
                  <a:pt x="5156602" y="2830170"/>
                  <a:pt x="5127646" y="2801219"/>
                  <a:pt x="5127646" y="2765504"/>
                </a:cubicBezTo>
                <a:cubicBezTo>
                  <a:pt x="5127646" y="2729790"/>
                  <a:pt x="5156602" y="2700839"/>
                  <a:pt x="5192312" y="2700839"/>
                </a:cubicBezTo>
                <a:close/>
                <a:moveTo>
                  <a:pt x="2546309" y="2700839"/>
                </a:moveTo>
                <a:cubicBezTo>
                  <a:pt x="2582021" y="2700839"/>
                  <a:pt x="2610971" y="2729790"/>
                  <a:pt x="2610971" y="2765504"/>
                </a:cubicBezTo>
                <a:cubicBezTo>
                  <a:pt x="2610971" y="2801219"/>
                  <a:pt x="2582021" y="2830170"/>
                  <a:pt x="2546309" y="2830170"/>
                </a:cubicBezTo>
                <a:cubicBezTo>
                  <a:pt x="2510592" y="2830170"/>
                  <a:pt x="2481648" y="2801219"/>
                  <a:pt x="2481648" y="2765504"/>
                </a:cubicBezTo>
                <a:cubicBezTo>
                  <a:pt x="2481648" y="2729790"/>
                  <a:pt x="2510592" y="2700839"/>
                  <a:pt x="2546309" y="2700839"/>
                </a:cubicBezTo>
                <a:close/>
                <a:moveTo>
                  <a:pt x="9384550" y="2700836"/>
                </a:moveTo>
                <a:cubicBezTo>
                  <a:pt x="9420264" y="2700836"/>
                  <a:pt x="9449216" y="2729788"/>
                  <a:pt x="9449216" y="2765504"/>
                </a:cubicBezTo>
                <a:cubicBezTo>
                  <a:pt x="9449216" y="2801216"/>
                  <a:pt x="9420264" y="2830169"/>
                  <a:pt x="9384550" y="2830169"/>
                </a:cubicBezTo>
                <a:cubicBezTo>
                  <a:pt x="9348836" y="2830169"/>
                  <a:pt x="9319884" y="2801216"/>
                  <a:pt x="9319884" y="2765504"/>
                </a:cubicBezTo>
                <a:cubicBezTo>
                  <a:pt x="9319884" y="2729788"/>
                  <a:pt x="9348836" y="2700836"/>
                  <a:pt x="9384550" y="2700836"/>
                </a:cubicBezTo>
                <a:close/>
                <a:moveTo>
                  <a:pt x="9227977" y="2700836"/>
                </a:moveTo>
                <a:cubicBezTo>
                  <a:pt x="9263691" y="2700836"/>
                  <a:pt x="9292643" y="2729788"/>
                  <a:pt x="9292643" y="2765504"/>
                </a:cubicBezTo>
                <a:cubicBezTo>
                  <a:pt x="9292643" y="2801216"/>
                  <a:pt x="9263691" y="2830169"/>
                  <a:pt x="9227977" y="2830169"/>
                </a:cubicBezTo>
                <a:cubicBezTo>
                  <a:pt x="9192263" y="2830169"/>
                  <a:pt x="9163311" y="2801216"/>
                  <a:pt x="9163311" y="2765504"/>
                </a:cubicBezTo>
                <a:cubicBezTo>
                  <a:pt x="9163311" y="2729788"/>
                  <a:pt x="9192263" y="2700836"/>
                  <a:pt x="9227977" y="2700836"/>
                </a:cubicBezTo>
                <a:close/>
                <a:moveTo>
                  <a:pt x="9075319" y="2700836"/>
                </a:moveTo>
                <a:cubicBezTo>
                  <a:pt x="9111033" y="2700836"/>
                  <a:pt x="9139985" y="2729788"/>
                  <a:pt x="9139985" y="2765504"/>
                </a:cubicBezTo>
                <a:cubicBezTo>
                  <a:pt x="9139985" y="2801216"/>
                  <a:pt x="9111033" y="2830169"/>
                  <a:pt x="9075319" y="2830169"/>
                </a:cubicBezTo>
                <a:cubicBezTo>
                  <a:pt x="9039605" y="2830169"/>
                  <a:pt x="9010653" y="2801216"/>
                  <a:pt x="9010653" y="2765504"/>
                </a:cubicBezTo>
                <a:cubicBezTo>
                  <a:pt x="9010653" y="2729788"/>
                  <a:pt x="9039605" y="2700836"/>
                  <a:pt x="9075319" y="2700836"/>
                </a:cubicBezTo>
                <a:close/>
                <a:moveTo>
                  <a:pt x="8914831" y="2700836"/>
                </a:moveTo>
                <a:cubicBezTo>
                  <a:pt x="8950545" y="2700836"/>
                  <a:pt x="8979497" y="2729788"/>
                  <a:pt x="8979497" y="2765504"/>
                </a:cubicBezTo>
                <a:cubicBezTo>
                  <a:pt x="8979497" y="2801216"/>
                  <a:pt x="8950545" y="2830169"/>
                  <a:pt x="8914831" y="2830169"/>
                </a:cubicBezTo>
                <a:cubicBezTo>
                  <a:pt x="8879117" y="2830169"/>
                  <a:pt x="8850165" y="2801216"/>
                  <a:pt x="8850165" y="2765504"/>
                </a:cubicBezTo>
                <a:cubicBezTo>
                  <a:pt x="8850165" y="2729788"/>
                  <a:pt x="8879117" y="2700836"/>
                  <a:pt x="8914831" y="2700836"/>
                </a:cubicBezTo>
                <a:close/>
                <a:moveTo>
                  <a:pt x="8766086" y="2700836"/>
                </a:moveTo>
                <a:cubicBezTo>
                  <a:pt x="8801800" y="2700836"/>
                  <a:pt x="8830752" y="2729788"/>
                  <a:pt x="8830752" y="2765504"/>
                </a:cubicBezTo>
                <a:cubicBezTo>
                  <a:pt x="8830752" y="2801216"/>
                  <a:pt x="8801800" y="2830169"/>
                  <a:pt x="8766086" y="2830169"/>
                </a:cubicBezTo>
                <a:cubicBezTo>
                  <a:pt x="8730372" y="2830169"/>
                  <a:pt x="8701420" y="2801216"/>
                  <a:pt x="8701420" y="2765504"/>
                </a:cubicBezTo>
                <a:cubicBezTo>
                  <a:pt x="8701420" y="2729788"/>
                  <a:pt x="8730372" y="2700836"/>
                  <a:pt x="8766086" y="2700836"/>
                </a:cubicBezTo>
                <a:close/>
                <a:moveTo>
                  <a:pt x="8601683" y="2700836"/>
                </a:moveTo>
                <a:cubicBezTo>
                  <a:pt x="8637397" y="2700836"/>
                  <a:pt x="8666349" y="2729788"/>
                  <a:pt x="8666349" y="2765504"/>
                </a:cubicBezTo>
                <a:cubicBezTo>
                  <a:pt x="8666349" y="2801216"/>
                  <a:pt x="8637397" y="2830169"/>
                  <a:pt x="8601683" y="2830169"/>
                </a:cubicBezTo>
                <a:cubicBezTo>
                  <a:pt x="8565969" y="2830169"/>
                  <a:pt x="8537017" y="2801216"/>
                  <a:pt x="8537017" y="2765504"/>
                </a:cubicBezTo>
                <a:cubicBezTo>
                  <a:pt x="8537017" y="2729788"/>
                  <a:pt x="8565969" y="2700836"/>
                  <a:pt x="8601683" y="2700836"/>
                </a:cubicBezTo>
                <a:close/>
                <a:moveTo>
                  <a:pt x="10003015" y="2559922"/>
                </a:moveTo>
                <a:cubicBezTo>
                  <a:pt x="10038729" y="2559922"/>
                  <a:pt x="10067681" y="2588874"/>
                  <a:pt x="10067681" y="2624589"/>
                </a:cubicBezTo>
                <a:cubicBezTo>
                  <a:pt x="10067681" y="2660302"/>
                  <a:pt x="10038729" y="2689256"/>
                  <a:pt x="10003015" y="2689256"/>
                </a:cubicBezTo>
                <a:cubicBezTo>
                  <a:pt x="9967301" y="2689256"/>
                  <a:pt x="9938349" y="2660302"/>
                  <a:pt x="9938349" y="2624589"/>
                </a:cubicBezTo>
                <a:cubicBezTo>
                  <a:pt x="9938349" y="2588874"/>
                  <a:pt x="9967301" y="2559922"/>
                  <a:pt x="10003015" y="2559922"/>
                </a:cubicBezTo>
                <a:close/>
                <a:moveTo>
                  <a:pt x="9850356" y="2559922"/>
                </a:moveTo>
                <a:cubicBezTo>
                  <a:pt x="9886070" y="2559922"/>
                  <a:pt x="9915022" y="2588874"/>
                  <a:pt x="9915022" y="2624589"/>
                </a:cubicBezTo>
                <a:cubicBezTo>
                  <a:pt x="9915022" y="2660302"/>
                  <a:pt x="9886070" y="2689256"/>
                  <a:pt x="9850356" y="2689256"/>
                </a:cubicBezTo>
                <a:cubicBezTo>
                  <a:pt x="9814642" y="2689256"/>
                  <a:pt x="9785690" y="2660302"/>
                  <a:pt x="9785690" y="2624589"/>
                </a:cubicBezTo>
                <a:cubicBezTo>
                  <a:pt x="9785690" y="2588874"/>
                  <a:pt x="9814642" y="2559922"/>
                  <a:pt x="9850356" y="2559922"/>
                </a:cubicBezTo>
                <a:close/>
                <a:moveTo>
                  <a:pt x="9384549" y="2559922"/>
                </a:moveTo>
                <a:cubicBezTo>
                  <a:pt x="9420263" y="2559922"/>
                  <a:pt x="9449215" y="2588874"/>
                  <a:pt x="9449215" y="2624589"/>
                </a:cubicBezTo>
                <a:cubicBezTo>
                  <a:pt x="9449215" y="2660302"/>
                  <a:pt x="9420263" y="2689256"/>
                  <a:pt x="9384549" y="2689256"/>
                </a:cubicBezTo>
                <a:cubicBezTo>
                  <a:pt x="9348835" y="2689256"/>
                  <a:pt x="9319883" y="2660302"/>
                  <a:pt x="9319883" y="2624589"/>
                </a:cubicBezTo>
                <a:cubicBezTo>
                  <a:pt x="9319883" y="2588874"/>
                  <a:pt x="9348835" y="2559922"/>
                  <a:pt x="9384549" y="2559922"/>
                </a:cubicBezTo>
                <a:close/>
                <a:moveTo>
                  <a:pt x="9227976" y="2559922"/>
                </a:moveTo>
                <a:cubicBezTo>
                  <a:pt x="9263690" y="2559922"/>
                  <a:pt x="9292642" y="2588874"/>
                  <a:pt x="9292642" y="2624589"/>
                </a:cubicBezTo>
                <a:cubicBezTo>
                  <a:pt x="9292642" y="2660302"/>
                  <a:pt x="9263690" y="2689256"/>
                  <a:pt x="9227976" y="2689256"/>
                </a:cubicBezTo>
                <a:cubicBezTo>
                  <a:pt x="9192262" y="2689256"/>
                  <a:pt x="9163310" y="2660302"/>
                  <a:pt x="9163310" y="2624589"/>
                </a:cubicBezTo>
                <a:cubicBezTo>
                  <a:pt x="9163310" y="2588874"/>
                  <a:pt x="9192262" y="2559922"/>
                  <a:pt x="9227976" y="2559922"/>
                </a:cubicBezTo>
                <a:close/>
                <a:moveTo>
                  <a:pt x="9075317" y="2559922"/>
                </a:moveTo>
                <a:cubicBezTo>
                  <a:pt x="9111031" y="2559922"/>
                  <a:pt x="9139983" y="2588874"/>
                  <a:pt x="9139983" y="2624589"/>
                </a:cubicBezTo>
                <a:cubicBezTo>
                  <a:pt x="9139983" y="2660302"/>
                  <a:pt x="9111031" y="2689256"/>
                  <a:pt x="9075317" y="2689256"/>
                </a:cubicBezTo>
                <a:cubicBezTo>
                  <a:pt x="9039603" y="2689256"/>
                  <a:pt x="9010651" y="2660302"/>
                  <a:pt x="9010651" y="2624589"/>
                </a:cubicBezTo>
                <a:cubicBezTo>
                  <a:pt x="9010651" y="2588874"/>
                  <a:pt x="9039603" y="2559922"/>
                  <a:pt x="9075317" y="2559922"/>
                </a:cubicBezTo>
                <a:close/>
                <a:moveTo>
                  <a:pt x="8914829" y="2559922"/>
                </a:moveTo>
                <a:cubicBezTo>
                  <a:pt x="8950543" y="2559922"/>
                  <a:pt x="8979495" y="2588874"/>
                  <a:pt x="8979495" y="2624589"/>
                </a:cubicBezTo>
                <a:cubicBezTo>
                  <a:pt x="8979495" y="2660302"/>
                  <a:pt x="8950543" y="2689256"/>
                  <a:pt x="8914829" y="2689256"/>
                </a:cubicBezTo>
                <a:cubicBezTo>
                  <a:pt x="8879115" y="2689256"/>
                  <a:pt x="8850163" y="2660302"/>
                  <a:pt x="8850163" y="2624589"/>
                </a:cubicBezTo>
                <a:cubicBezTo>
                  <a:pt x="8850163" y="2588874"/>
                  <a:pt x="8879115" y="2559922"/>
                  <a:pt x="8914829" y="2559922"/>
                </a:cubicBezTo>
                <a:close/>
                <a:moveTo>
                  <a:pt x="8766084" y="2559922"/>
                </a:moveTo>
                <a:cubicBezTo>
                  <a:pt x="8801798" y="2559922"/>
                  <a:pt x="8830750" y="2588874"/>
                  <a:pt x="8830750" y="2624589"/>
                </a:cubicBezTo>
                <a:cubicBezTo>
                  <a:pt x="8830750" y="2660302"/>
                  <a:pt x="8801798" y="2689256"/>
                  <a:pt x="8766084" y="2689256"/>
                </a:cubicBezTo>
                <a:cubicBezTo>
                  <a:pt x="8730370" y="2689256"/>
                  <a:pt x="8701418" y="2660302"/>
                  <a:pt x="8701418" y="2624589"/>
                </a:cubicBezTo>
                <a:cubicBezTo>
                  <a:pt x="8701418" y="2588874"/>
                  <a:pt x="8730370" y="2559922"/>
                  <a:pt x="8766084" y="2559922"/>
                </a:cubicBezTo>
                <a:close/>
                <a:moveTo>
                  <a:pt x="8601683" y="2559922"/>
                </a:moveTo>
                <a:cubicBezTo>
                  <a:pt x="8637397" y="2559922"/>
                  <a:pt x="8666349" y="2588874"/>
                  <a:pt x="8666349" y="2624589"/>
                </a:cubicBezTo>
                <a:cubicBezTo>
                  <a:pt x="8666349" y="2660302"/>
                  <a:pt x="8637397" y="2689256"/>
                  <a:pt x="8601683" y="2689256"/>
                </a:cubicBezTo>
                <a:cubicBezTo>
                  <a:pt x="8565969" y="2689256"/>
                  <a:pt x="8537017" y="2660302"/>
                  <a:pt x="8537017" y="2624589"/>
                </a:cubicBezTo>
                <a:cubicBezTo>
                  <a:pt x="8537017" y="2588874"/>
                  <a:pt x="8565969" y="2559922"/>
                  <a:pt x="8601683" y="2559922"/>
                </a:cubicBezTo>
                <a:close/>
                <a:moveTo>
                  <a:pt x="8449023" y="2559922"/>
                </a:moveTo>
                <a:cubicBezTo>
                  <a:pt x="8484737" y="2559922"/>
                  <a:pt x="8513689" y="2588874"/>
                  <a:pt x="8513689" y="2624589"/>
                </a:cubicBezTo>
                <a:cubicBezTo>
                  <a:pt x="8513689" y="2660302"/>
                  <a:pt x="8484737" y="2689256"/>
                  <a:pt x="8449023" y="2689256"/>
                </a:cubicBezTo>
                <a:cubicBezTo>
                  <a:pt x="8413309" y="2689256"/>
                  <a:pt x="8384357" y="2660302"/>
                  <a:pt x="8384357" y="2624589"/>
                </a:cubicBezTo>
                <a:cubicBezTo>
                  <a:pt x="8384357" y="2588874"/>
                  <a:pt x="8413309" y="2559922"/>
                  <a:pt x="8449023" y="2559922"/>
                </a:cubicBezTo>
                <a:close/>
                <a:moveTo>
                  <a:pt x="8296367" y="2559922"/>
                </a:moveTo>
                <a:cubicBezTo>
                  <a:pt x="8332081" y="2559922"/>
                  <a:pt x="8361033" y="2588874"/>
                  <a:pt x="8361033" y="2624589"/>
                </a:cubicBezTo>
                <a:cubicBezTo>
                  <a:pt x="8361033" y="2660302"/>
                  <a:pt x="8332081" y="2689256"/>
                  <a:pt x="8296367" y="2689256"/>
                </a:cubicBezTo>
                <a:cubicBezTo>
                  <a:pt x="8260653" y="2689256"/>
                  <a:pt x="8231701" y="2660302"/>
                  <a:pt x="8231701" y="2624589"/>
                </a:cubicBezTo>
                <a:cubicBezTo>
                  <a:pt x="8231701" y="2588874"/>
                  <a:pt x="8260653" y="2559922"/>
                  <a:pt x="8296367" y="2559922"/>
                </a:cubicBezTo>
                <a:close/>
                <a:moveTo>
                  <a:pt x="8139792" y="2559922"/>
                </a:moveTo>
                <a:cubicBezTo>
                  <a:pt x="8175506" y="2559922"/>
                  <a:pt x="8204458" y="2588874"/>
                  <a:pt x="8204458" y="2624589"/>
                </a:cubicBezTo>
                <a:cubicBezTo>
                  <a:pt x="8204458" y="2660302"/>
                  <a:pt x="8175506" y="2689256"/>
                  <a:pt x="8139792" y="2689256"/>
                </a:cubicBezTo>
                <a:cubicBezTo>
                  <a:pt x="8104078" y="2689256"/>
                  <a:pt x="8075126" y="2660302"/>
                  <a:pt x="8075126" y="2624589"/>
                </a:cubicBezTo>
                <a:cubicBezTo>
                  <a:pt x="8075126" y="2588874"/>
                  <a:pt x="8104078" y="2559922"/>
                  <a:pt x="8139792" y="2559922"/>
                </a:cubicBezTo>
                <a:close/>
                <a:moveTo>
                  <a:pt x="7987133" y="2559922"/>
                </a:moveTo>
                <a:cubicBezTo>
                  <a:pt x="8022847" y="2559922"/>
                  <a:pt x="8051799" y="2588874"/>
                  <a:pt x="8051799" y="2624589"/>
                </a:cubicBezTo>
                <a:cubicBezTo>
                  <a:pt x="8051799" y="2660302"/>
                  <a:pt x="8022847" y="2689256"/>
                  <a:pt x="7987133" y="2689256"/>
                </a:cubicBezTo>
                <a:cubicBezTo>
                  <a:pt x="7951419" y="2689256"/>
                  <a:pt x="7922467" y="2660302"/>
                  <a:pt x="7922467" y="2624589"/>
                </a:cubicBezTo>
                <a:cubicBezTo>
                  <a:pt x="7922467" y="2588874"/>
                  <a:pt x="7951419" y="2559922"/>
                  <a:pt x="7987133" y="2559922"/>
                </a:cubicBezTo>
                <a:close/>
                <a:moveTo>
                  <a:pt x="7830562" y="2559922"/>
                </a:moveTo>
                <a:cubicBezTo>
                  <a:pt x="7866276" y="2559922"/>
                  <a:pt x="7895228" y="2588874"/>
                  <a:pt x="7895228" y="2624589"/>
                </a:cubicBezTo>
                <a:cubicBezTo>
                  <a:pt x="7895228" y="2660302"/>
                  <a:pt x="7866276" y="2689256"/>
                  <a:pt x="7830562" y="2689256"/>
                </a:cubicBezTo>
                <a:cubicBezTo>
                  <a:pt x="7794848" y="2689256"/>
                  <a:pt x="7765896" y="2660302"/>
                  <a:pt x="7765896" y="2624589"/>
                </a:cubicBezTo>
                <a:cubicBezTo>
                  <a:pt x="7765896" y="2588874"/>
                  <a:pt x="7794848" y="2559922"/>
                  <a:pt x="7830562" y="2559922"/>
                </a:cubicBezTo>
                <a:close/>
                <a:moveTo>
                  <a:pt x="7677902" y="2559922"/>
                </a:moveTo>
                <a:cubicBezTo>
                  <a:pt x="7713616" y="2559922"/>
                  <a:pt x="7742568" y="2588874"/>
                  <a:pt x="7742568" y="2624589"/>
                </a:cubicBezTo>
                <a:cubicBezTo>
                  <a:pt x="7742568" y="2660302"/>
                  <a:pt x="7713616" y="2689256"/>
                  <a:pt x="7677902" y="2689256"/>
                </a:cubicBezTo>
                <a:cubicBezTo>
                  <a:pt x="7642188" y="2689256"/>
                  <a:pt x="7613236" y="2660302"/>
                  <a:pt x="7613236" y="2624589"/>
                </a:cubicBezTo>
                <a:cubicBezTo>
                  <a:pt x="7613236" y="2588874"/>
                  <a:pt x="7642188" y="2559922"/>
                  <a:pt x="7677902" y="2559922"/>
                </a:cubicBezTo>
                <a:close/>
                <a:moveTo>
                  <a:pt x="7521329" y="2559922"/>
                </a:moveTo>
                <a:cubicBezTo>
                  <a:pt x="7557043" y="2559922"/>
                  <a:pt x="7585995" y="2588874"/>
                  <a:pt x="7585995" y="2624589"/>
                </a:cubicBezTo>
                <a:cubicBezTo>
                  <a:pt x="7585995" y="2660302"/>
                  <a:pt x="7557043" y="2689256"/>
                  <a:pt x="7521329" y="2689256"/>
                </a:cubicBezTo>
                <a:cubicBezTo>
                  <a:pt x="7485615" y="2689256"/>
                  <a:pt x="7456663" y="2660302"/>
                  <a:pt x="7456663" y="2624589"/>
                </a:cubicBezTo>
                <a:cubicBezTo>
                  <a:pt x="7456663" y="2588874"/>
                  <a:pt x="7485615" y="2559922"/>
                  <a:pt x="7521329" y="2559922"/>
                </a:cubicBezTo>
                <a:close/>
                <a:moveTo>
                  <a:pt x="7368669" y="2559922"/>
                </a:moveTo>
                <a:cubicBezTo>
                  <a:pt x="7404383" y="2559922"/>
                  <a:pt x="7433335" y="2588874"/>
                  <a:pt x="7433335" y="2624589"/>
                </a:cubicBezTo>
                <a:cubicBezTo>
                  <a:pt x="7433335" y="2660302"/>
                  <a:pt x="7404383" y="2689256"/>
                  <a:pt x="7368669" y="2689256"/>
                </a:cubicBezTo>
                <a:cubicBezTo>
                  <a:pt x="7332955" y="2689256"/>
                  <a:pt x="7304003" y="2660302"/>
                  <a:pt x="7304003" y="2624589"/>
                </a:cubicBezTo>
                <a:cubicBezTo>
                  <a:pt x="7304003" y="2588874"/>
                  <a:pt x="7332955" y="2559922"/>
                  <a:pt x="7368669" y="2559922"/>
                </a:cubicBezTo>
                <a:close/>
                <a:moveTo>
                  <a:pt x="7212096" y="2559922"/>
                </a:moveTo>
                <a:cubicBezTo>
                  <a:pt x="7247810" y="2559922"/>
                  <a:pt x="7276762" y="2588874"/>
                  <a:pt x="7276762" y="2624589"/>
                </a:cubicBezTo>
                <a:cubicBezTo>
                  <a:pt x="7276762" y="2660302"/>
                  <a:pt x="7247810" y="2689256"/>
                  <a:pt x="7212096" y="2689256"/>
                </a:cubicBezTo>
                <a:cubicBezTo>
                  <a:pt x="7176382" y="2689256"/>
                  <a:pt x="7147430" y="2660302"/>
                  <a:pt x="7147430" y="2624589"/>
                </a:cubicBezTo>
                <a:cubicBezTo>
                  <a:pt x="7147430" y="2588874"/>
                  <a:pt x="7176382" y="2559922"/>
                  <a:pt x="7212096" y="2559922"/>
                </a:cubicBezTo>
                <a:close/>
                <a:moveTo>
                  <a:pt x="7055523" y="2559922"/>
                </a:moveTo>
                <a:cubicBezTo>
                  <a:pt x="7091237" y="2559922"/>
                  <a:pt x="7120189" y="2588874"/>
                  <a:pt x="7120189" y="2624589"/>
                </a:cubicBezTo>
                <a:cubicBezTo>
                  <a:pt x="7120189" y="2660302"/>
                  <a:pt x="7091237" y="2689256"/>
                  <a:pt x="7055523" y="2689256"/>
                </a:cubicBezTo>
                <a:cubicBezTo>
                  <a:pt x="7019809" y="2689256"/>
                  <a:pt x="6990857" y="2660302"/>
                  <a:pt x="6990857" y="2624589"/>
                </a:cubicBezTo>
                <a:cubicBezTo>
                  <a:pt x="6990857" y="2588874"/>
                  <a:pt x="7019809" y="2559922"/>
                  <a:pt x="7055523" y="2559922"/>
                </a:cubicBezTo>
                <a:close/>
                <a:moveTo>
                  <a:pt x="6895037" y="2559922"/>
                </a:moveTo>
                <a:cubicBezTo>
                  <a:pt x="6930751" y="2559922"/>
                  <a:pt x="6959703" y="2588874"/>
                  <a:pt x="6959703" y="2624589"/>
                </a:cubicBezTo>
                <a:cubicBezTo>
                  <a:pt x="6959703" y="2660302"/>
                  <a:pt x="6930751" y="2689256"/>
                  <a:pt x="6895037" y="2689256"/>
                </a:cubicBezTo>
                <a:cubicBezTo>
                  <a:pt x="6859323" y="2689256"/>
                  <a:pt x="6830371" y="2660302"/>
                  <a:pt x="6830371" y="2624589"/>
                </a:cubicBezTo>
                <a:cubicBezTo>
                  <a:pt x="6830371" y="2588874"/>
                  <a:pt x="6859323" y="2559922"/>
                  <a:pt x="6895037" y="2559922"/>
                </a:cubicBezTo>
                <a:close/>
                <a:moveTo>
                  <a:pt x="6742375" y="2559922"/>
                </a:moveTo>
                <a:cubicBezTo>
                  <a:pt x="6778089" y="2559922"/>
                  <a:pt x="6807041" y="2588874"/>
                  <a:pt x="6807041" y="2624589"/>
                </a:cubicBezTo>
                <a:cubicBezTo>
                  <a:pt x="6807041" y="2660302"/>
                  <a:pt x="6778089" y="2689256"/>
                  <a:pt x="6742375" y="2689256"/>
                </a:cubicBezTo>
                <a:cubicBezTo>
                  <a:pt x="6706661" y="2689256"/>
                  <a:pt x="6677709" y="2660302"/>
                  <a:pt x="6677709" y="2624589"/>
                </a:cubicBezTo>
                <a:cubicBezTo>
                  <a:pt x="6677709" y="2588874"/>
                  <a:pt x="6706661" y="2559922"/>
                  <a:pt x="6742375" y="2559922"/>
                </a:cubicBezTo>
                <a:close/>
                <a:moveTo>
                  <a:pt x="5810787" y="2559922"/>
                </a:moveTo>
                <a:cubicBezTo>
                  <a:pt x="5846479" y="2559922"/>
                  <a:pt x="5875431" y="2588874"/>
                  <a:pt x="5875431" y="2624589"/>
                </a:cubicBezTo>
                <a:cubicBezTo>
                  <a:pt x="5875431" y="2660302"/>
                  <a:pt x="5846479" y="2689256"/>
                  <a:pt x="5810787" y="2689256"/>
                </a:cubicBezTo>
                <a:cubicBezTo>
                  <a:pt x="5775066" y="2689256"/>
                  <a:pt x="5746110" y="2660302"/>
                  <a:pt x="5746110" y="2624589"/>
                </a:cubicBezTo>
                <a:cubicBezTo>
                  <a:pt x="5746110" y="2588874"/>
                  <a:pt x="5775066" y="2559922"/>
                  <a:pt x="5810787" y="2559922"/>
                </a:cubicBezTo>
                <a:close/>
                <a:moveTo>
                  <a:pt x="5658107" y="2559922"/>
                </a:moveTo>
                <a:cubicBezTo>
                  <a:pt x="5693823" y="2559922"/>
                  <a:pt x="5722779" y="2588874"/>
                  <a:pt x="5722779" y="2624589"/>
                </a:cubicBezTo>
                <a:cubicBezTo>
                  <a:pt x="5722779" y="2660302"/>
                  <a:pt x="5693823" y="2689256"/>
                  <a:pt x="5658107" y="2689256"/>
                </a:cubicBezTo>
                <a:cubicBezTo>
                  <a:pt x="5622395" y="2689256"/>
                  <a:pt x="5593441" y="2660302"/>
                  <a:pt x="5593441" y="2624589"/>
                </a:cubicBezTo>
                <a:cubicBezTo>
                  <a:pt x="5593441" y="2588874"/>
                  <a:pt x="5622395" y="2559922"/>
                  <a:pt x="5658107" y="2559922"/>
                </a:cubicBezTo>
                <a:close/>
                <a:moveTo>
                  <a:pt x="5501539" y="2559922"/>
                </a:moveTo>
                <a:cubicBezTo>
                  <a:pt x="5537252" y="2559922"/>
                  <a:pt x="5566203" y="2588874"/>
                  <a:pt x="5566203" y="2624589"/>
                </a:cubicBezTo>
                <a:cubicBezTo>
                  <a:pt x="5566203" y="2660302"/>
                  <a:pt x="5537252" y="2689256"/>
                  <a:pt x="5501539" y="2689256"/>
                </a:cubicBezTo>
                <a:cubicBezTo>
                  <a:pt x="5465825" y="2689256"/>
                  <a:pt x="5436879" y="2660302"/>
                  <a:pt x="5436879" y="2624589"/>
                </a:cubicBezTo>
                <a:cubicBezTo>
                  <a:pt x="5436879" y="2588874"/>
                  <a:pt x="5465825" y="2559922"/>
                  <a:pt x="5501539" y="2559922"/>
                </a:cubicBezTo>
                <a:close/>
                <a:moveTo>
                  <a:pt x="5348883" y="2559922"/>
                </a:moveTo>
                <a:cubicBezTo>
                  <a:pt x="5384600" y="2559922"/>
                  <a:pt x="5413550" y="2588874"/>
                  <a:pt x="5413550" y="2624589"/>
                </a:cubicBezTo>
                <a:cubicBezTo>
                  <a:pt x="5413550" y="2660302"/>
                  <a:pt x="5384600" y="2689256"/>
                  <a:pt x="5348883" y="2689256"/>
                </a:cubicBezTo>
                <a:cubicBezTo>
                  <a:pt x="5313179" y="2689256"/>
                  <a:pt x="5284224" y="2660302"/>
                  <a:pt x="5284224" y="2624589"/>
                </a:cubicBezTo>
                <a:cubicBezTo>
                  <a:pt x="5284224" y="2588874"/>
                  <a:pt x="5313179" y="2559922"/>
                  <a:pt x="5348883" y="2559922"/>
                </a:cubicBezTo>
                <a:close/>
                <a:moveTo>
                  <a:pt x="2855521" y="2559922"/>
                </a:moveTo>
                <a:cubicBezTo>
                  <a:pt x="2891231" y="2559922"/>
                  <a:pt x="2920181" y="2588874"/>
                  <a:pt x="2920181" y="2624589"/>
                </a:cubicBezTo>
                <a:cubicBezTo>
                  <a:pt x="2920181" y="2660302"/>
                  <a:pt x="2891231" y="2689256"/>
                  <a:pt x="2855521" y="2689256"/>
                </a:cubicBezTo>
                <a:cubicBezTo>
                  <a:pt x="2819809" y="2689256"/>
                  <a:pt x="2790860" y="2660302"/>
                  <a:pt x="2790860" y="2624589"/>
                </a:cubicBezTo>
                <a:cubicBezTo>
                  <a:pt x="2790860" y="2588874"/>
                  <a:pt x="2819809" y="2559922"/>
                  <a:pt x="2855521" y="2559922"/>
                </a:cubicBezTo>
                <a:close/>
                <a:moveTo>
                  <a:pt x="2698961" y="2559922"/>
                </a:moveTo>
                <a:cubicBezTo>
                  <a:pt x="2734673" y="2559922"/>
                  <a:pt x="2763622" y="2588874"/>
                  <a:pt x="2763622" y="2624589"/>
                </a:cubicBezTo>
                <a:cubicBezTo>
                  <a:pt x="2763622" y="2660302"/>
                  <a:pt x="2734673" y="2689256"/>
                  <a:pt x="2698961" y="2689256"/>
                </a:cubicBezTo>
                <a:cubicBezTo>
                  <a:pt x="2663251" y="2689256"/>
                  <a:pt x="2634302" y="2660302"/>
                  <a:pt x="2634302" y="2624589"/>
                </a:cubicBezTo>
                <a:cubicBezTo>
                  <a:pt x="2634302" y="2588874"/>
                  <a:pt x="2663251" y="2559922"/>
                  <a:pt x="2698961" y="2559922"/>
                </a:cubicBezTo>
                <a:close/>
                <a:moveTo>
                  <a:pt x="2546316" y="2559922"/>
                </a:moveTo>
                <a:cubicBezTo>
                  <a:pt x="2582028" y="2559922"/>
                  <a:pt x="2610977" y="2588874"/>
                  <a:pt x="2610977" y="2624589"/>
                </a:cubicBezTo>
                <a:cubicBezTo>
                  <a:pt x="2610977" y="2660302"/>
                  <a:pt x="2582028" y="2689256"/>
                  <a:pt x="2546316" y="2689256"/>
                </a:cubicBezTo>
                <a:cubicBezTo>
                  <a:pt x="2510598" y="2689256"/>
                  <a:pt x="2481655" y="2660302"/>
                  <a:pt x="2481655" y="2624589"/>
                </a:cubicBezTo>
                <a:cubicBezTo>
                  <a:pt x="2481655" y="2588874"/>
                  <a:pt x="2510598" y="2559922"/>
                  <a:pt x="2546316" y="2559922"/>
                </a:cubicBezTo>
                <a:close/>
                <a:moveTo>
                  <a:pt x="2389740" y="2559922"/>
                </a:moveTo>
                <a:cubicBezTo>
                  <a:pt x="2425467" y="2559922"/>
                  <a:pt x="2454414" y="2588874"/>
                  <a:pt x="2454414" y="2624589"/>
                </a:cubicBezTo>
                <a:cubicBezTo>
                  <a:pt x="2454414" y="2660302"/>
                  <a:pt x="2425467" y="2689256"/>
                  <a:pt x="2389740" y="2689256"/>
                </a:cubicBezTo>
                <a:cubicBezTo>
                  <a:pt x="2354036" y="2689256"/>
                  <a:pt x="2325081" y="2660302"/>
                  <a:pt x="2325081" y="2624589"/>
                </a:cubicBezTo>
                <a:cubicBezTo>
                  <a:pt x="2325081" y="2588874"/>
                  <a:pt x="2354036" y="2559922"/>
                  <a:pt x="2389740" y="2559922"/>
                </a:cubicBezTo>
                <a:close/>
                <a:moveTo>
                  <a:pt x="2237072" y="2559922"/>
                </a:moveTo>
                <a:cubicBezTo>
                  <a:pt x="2272791" y="2559922"/>
                  <a:pt x="2301749" y="2588874"/>
                  <a:pt x="2301749" y="2624589"/>
                </a:cubicBezTo>
                <a:cubicBezTo>
                  <a:pt x="2301749" y="2660302"/>
                  <a:pt x="2272791" y="2689256"/>
                  <a:pt x="2237072" y="2689256"/>
                </a:cubicBezTo>
                <a:cubicBezTo>
                  <a:pt x="2201352" y="2689256"/>
                  <a:pt x="2172394" y="2660302"/>
                  <a:pt x="2172394" y="2624589"/>
                </a:cubicBezTo>
                <a:cubicBezTo>
                  <a:pt x="2172394" y="2588874"/>
                  <a:pt x="2201352" y="2559922"/>
                  <a:pt x="2237072" y="2559922"/>
                </a:cubicBezTo>
                <a:close/>
                <a:moveTo>
                  <a:pt x="2084396" y="2559922"/>
                </a:moveTo>
                <a:cubicBezTo>
                  <a:pt x="2120112" y="2559922"/>
                  <a:pt x="2149064" y="2588874"/>
                  <a:pt x="2149064" y="2624589"/>
                </a:cubicBezTo>
                <a:cubicBezTo>
                  <a:pt x="2149064" y="2660302"/>
                  <a:pt x="2120112" y="2689256"/>
                  <a:pt x="2084396" y="2689256"/>
                </a:cubicBezTo>
                <a:cubicBezTo>
                  <a:pt x="2048675" y="2689256"/>
                  <a:pt x="2019746" y="2660302"/>
                  <a:pt x="2019746" y="2624589"/>
                </a:cubicBezTo>
                <a:cubicBezTo>
                  <a:pt x="2019746" y="2588874"/>
                  <a:pt x="2048675" y="2559922"/>
                  <a:pt x="2084396" y="2559922"/>
                </a:cubicBezTo>
                <a:close/>
                <a:moveTo>
                  <a:pt x="1927818" y="2559922"/>
                </a:moveTo>
                <a:cubicBezTo>
                  <a:pt x="1963544" y="2559922"/>
                  <a:pt x="1992499" y="2588874"/>
                  <a:pt x="1992499" y="2624589"/>
                </a:cubicBezTo>
                <a:cubicBezTo>
                  <a:pt x="1992499" y="2660302"/>
                  <a:pt x="1963544" y="2689256"/>
                  <a:pt x="1927818" y="2689256"/>
                </a:cubicBezTo>
                <a:cubicBezTo>
                  <a:pt x="1892124" y="2689256"/>
                  <a:pt x="1863171" y="2660302"/>
                  <a:pt x="1863171" y="2624589"/>
                </a:cubicBezTo>
                <a:cubicBezTo>
                  <a:pt x="1863171" y="2588874"/>
                  <a:pt x="1892124" y="2559922"/>
                  <a:pt x="1927818" y="2559922"/>
                </a:cubicBezTo>
                <a:close/>
                <a:moveTo>
                  <a:pt x="1775165" y="2559922"/>
                </a:moveTo>
                <a:cubicBezTo>
                  <a:pt x="1810873" y="2559922"/>
                  <a:pt x="1839842" y="2588874"/>
                  <a:pt x="1839842" y="2624589"/>
                </a:cubicBezTo>
                <a:cubicBezTo>
                  <a:pt x="1839842" y="2660302"/>
                  <a:pt x="1810873" y="2689256"/>
                  <a:pt x="1775165" y="2689256"/>
                </a:cubicBezTo>
                <a:cubicBezTo>
                  <a:pt x="1739451" y="2689256"/>
                  <a:pt x="1710496" y="2660302"/>
                  <a:pt x="1710496" y="2624589"/>
                </a:cubicBezTo>
                <a:cubicBezTo>
                  <a:pt x="1710496" y="2588874"/>
                  <a:pt x="1739451" y="2559922"/>
                  <a:pt x="1775165" y="2559922"/>
                </a:cubicBezTo>
                <a:close/>
                <a:moveTo>
                  <a:pt x="1618586" y="2559922"/>
                </a:moveTo>
                <a:cubicBezTo>
                  <a:pt x="1654302" y="2559922"/>
                  <a:pt x="1683255" y="2588874"/>
                  <a:pt x="1683255" y="2624589"/>
                </a:cubicBezTo>
                <a:cubicBezTo>
                  <a:pt x="1683255" y="2660302"/>
                  <a:pt x="1654302" y="2689256"/>
                  <a:pt x="1618586" y="2689256"/>
                </a:cubicBezTo>
                <a:cubicBezTo>
                  <a:pt x="1582874" y="2689256"/>
                  <a:pt x="1553923" y="2660302"/>
                  <a:pt x="1553923" y="2624589"/>
                </a:cubicBezTo>
                <a:cubicBezTo>
                  <a:pt x="1553923" y="2588874"/>
                  <a:pt x="1582874" y="2559922"/>
                  <a:pt x="1618586" y="2559922"/>
                </a:cubicBezTo>
                <a:close/>
                <a:moveTo>
                  <a:pt x="10003015" y="2422922"/>
                </a:moveTo>
                <a:cubicBezTo>
                  <a:pt x="10038729" y="2422922"/>
                  <a:pt x="10067681" y="2451875"/>
                  <a:pt x="10067681" y="2487589"/>
                </a:cubicBezTo>
                <a:cubicBezTo>
                  <a:pt x="10067681" y="2523303"/>
                  <a:pt x="10038729" y="2552255"/>
                  <a:pt x="10003015" y="2552255"/>
                </a:cubicBezTo>
                <a:cubicBezTo>
                  <a:pt x="9967301" y="2552255"/>
                  <a:pt x="9938349" y="2523303"/>
                  <a:pt x="9938349" y="2487589"/>
                </a:cubicBezTo>
                <a:cubicBezTo>
                  <a:pt x="9938349" y="2451875"/>
                  <a:pt x="9967301" y="2422922"/>
                  <a:pt x="10003015" y="2422922"/>
                </a:cubicBezTo>
                <a:close/>
                <a:moveTo>
                  <a:pt x="9693782" y="2422922"/>
                </a:moveTo>
                <a:cubicBezTo>
                  <a:pt x="9729496" y="2422922"/>
                  <a:pt x="9758448" y="2451875"/>
                  <a:pt x="9758448" y="2487589"/>
                </a:cubicBezTo>
                <a:cubicBezTo>
                  <a:pt x="9758448" y="2523303"/>
                  <a:pt x="9729496" y="2552255"/>
                  <a:pt x="9693782" y="2552255"/>
                </a:cubicBezTo>
                <a:cubicBezTo>
                  <a:pt x="9658068" y="2552255"/>
                  <a:pt x="9629116" y="2523303"/>
                  <a:pt x="9629116" y="2487589"/>
                </a:cubicBezTo>
                <a:cubicBezTo>
                  <a:pt x="9629116" y="2451875"/>
                  <a:pt x="9658068" y="2422922"/>
                  <a:pt x="9693782" y="2422922"/>
                </a:cubicBezTo>
                <a:close/>
                <a:moveTo>
                  <a:pt x="9384549" y="2422922"/>
                </a:moveTo>
                <a:cubicBezTo>
                  <a:pt x="9420263" y="2422922"/>
                  <a:pt x="9449215" y="2451875"/>
                  <a:pt x="9449215" y="2487589"/>
                </a:cubicBezTo>
                <a:cubicBezTo>
                  <a:pt x="9449215" y="2523303"/>
                  <a:pt x="9420263" y="2552255"/>
                  <a:pt x="9384549" y="2552255"/>
                </a:cubicBezTo>
                <a:cubicBezTo>
                  <a:pt x="9348835" y="2552255"/>
                  <a:pt x="9319883" y="2523303"/>
                  <a:pt x="9319883" y="2487589"/>
                </a:cubicBezTo>
                <a:cubicBezTo>
                  <a:pt x="9319883" y="2451875"/>
                  <a:pt x="9348835" y="2422922"/>
                  <a:pt x="9384549" y="2422922"/>
                </a:cubicBezTo>
                <a:close/>
                <a:moveTo>
                  <a:pt x="9227976" y="2422922"/>
                </a:moveTo>
                <a:cubicBezTo>
                  <a:pt x="9263690" y="2422922"/>
                  <a:pt x="9292642" y="2451875"/>
                  <a:pt x="9292642" y="2487589"/>
                </a:cubicBezTo>
                <a:cubicBezTo>
                  <a:pt x="9292642" y="2523303"/>
                  <a:pt x="9263690" y="2552255"/>
                  <a:pt x="9227976" y="2552255"/>
                </a:cubicBezTo>
                <a:cubicBezTo>
                  <a:pt x="9192262" y="2552255"/>
                  <a:pt x="9163310" y="2523303"/>
                  <a:pt x="9163310" y="2487589"/>
                </a:cubicBezTo>
                <a:cubicBezTo>
                  <a:pt x="9163310" y="2451875"/>
                  <a:pt x="9192262" y="2422922"/>
                  <a:pt x="9227976" y="2422922"/>
                </a:cubicBezTo>
                <a:close/>
                <a:moveTo>
                  <a:pt x="9075317" y="2422922"/>
                </a:moveTo>
                <a:cubicBezTo>
                  <a:pt x="9111031" y="2422922"/>
                  <a:pt x="9139983" y="2451875"/>
                  <a:pt x="9139983" y="2487589"/>
                </a:cubicBezTo>
                <a:cubicBezTo>
                  <a:pt x="9139983" y="2523303"/>
                  <a:pt x="9111031" y="2552255"/>
                  <a:pt x="9075317" y="2552255"/>
                </a:cubicBezTo>
                <a:cubicBezTo>
                  <a:pt x="9039603" y="2552255"/>
                  <a:pt x="9010651" y="2523303"/>
                  <a:pt x="9010651" y="2487589"/>
                </a:cubicBezTo>
                <a:cubicBezTo>
                  <a:pt x="9010651" y="2451875"/>
                  <a:pt x="9039603" y="2422922"/>
                  <a:pt x="9075317" y="2422922"/>
                </a:cubicBezTo>
                <a:close/>
                <a:moveTo>
                  <a:pt x="8914831" y="2422922"/>
                </a:moveTo>
                <a:cubicBezTo>
                  <a:pt x="8950545" y="2422922"/>
                  <a:pt x="8979497" y="2451875"/>
                  <a:pt x="8979497" y="2487589"/>
                </a:cubicBezTo>
                <a:cubicBezTo>
                  <a:pt x="8979497" y="2523303"/>
                  <a:pt x="8950545" y="2552255"/>
                  <a:pt x="8914831" y="2552255"/>
                </a:cubicBezTo>
                <a:cubicBezTo>
                  <a:pt x="8879117" y="2552255"/>
                  <a:pt x="8850165" y="2523303"/>
                  <a:pt x="8850165" y="2487589"/>
                </a:cubicBezTo>
                <a:cubicBezTo>
                  <a:pt x="8850165" y="2451875"/>
                  <a:pt x="8879117" y="2422922"/>
                  <a:pt x="8914831" y="2422922"/>
                </a:cubicBezTo>
                <a:close/>
                <a:moveTo>
                  <a:pt x="8766086" y="2422922"/>
                </a:moveTo>
                <a:cubicBezTo>
                  <a:pt x="8801800" y="2422922"/>
                  <a:pt x="8830752" y="2451875"/>
                  <a:pt x="8830752" y="2487589"/>
                </a:cubicBezTo>
                <a:cubicBezTo>
                  <a:pt x="8830752" y="2523303"/>
                  <a:pt x="8801800" y="2552255"/>
                  <a:pt x="8766086" y="2552255"/>
                </a:cubicBezTo>
                <a:cubicBezTo>
                  <a:pt x="8730372" y="2552255"/>
                  <a:pt x="8701420" y="2523303"/>
                  <a:pt x="8701420" y="2487589"/>
                </a:cubicBezTo>
                <a:cubicBezTo>
                  <a:pt x="8701420" y="2451875"/>
                  <a:pt x="8730372" y="2422922"/>
                  <a:pt x="8766086" y="2422922"/>
                </a:cubicBezTo>
                <a:close/>
                <a:moveTo>
                  <a:pt x="8601685" y="2422922"/>
                </a:moveTo>
                <a:cubicBezTo>
                  <a:pt x="8637399" y="2422922"/>
                  <a:pt x="8666351" y="2451875"/>
                  <a:pt x="8666351" y="2487589"/>
                </a:cubicBezTo>
                <a:cubicBezTo>
                  <a:pt x="8666351" y="2523303"/>
                  <a:pt x="8637399" y="2552255"/>
                  <a:pt x="8601685" y="2552255"/>
                </a:cubicBezTo>
                <a:cubicBezTo>
                  <a:pt x="8565971" y="2552255"/>
                  <a:pt x="8537019" y="2523303"/>
                  <a:pt x="8537019" y="2487589"/>
                </a:cubicBezTo>
                <a:cubicBezTo>
                  <a:pt x="8537019" y="2451875"/>
                  <a:pt x="8565971" y="2422922"/>
                  <a:pt x="8601685" y="2422922"/>
                </a:cubicBezTo>
                <a:close/>
                <a:moveTo>
                  <a:pt x="8449025" y="2422922"/>
                </a:moveTo>
                <a:cubicBezTo>
                  <a:pt x="8484739" y="2422922"/>
                  <a:pt x="8513691" y="2451875"/>
                  <a:pt x="8513691" y="2487589"/>
                </a:cubicBezTo>
                <a:cubicBezTo>
                  <a:pt x="8513691" y="2523303"/>
                  <a:pt x="8484739" y="2552255"/>
                  <a:pt x="8449025" y="2552255"/>
                </a:cubicBezTo>
                <a:cubicBezTo>
                  <a:pt x="8413311" y="2552255"/>
                  <a:pt x="8384359" y="2523303"/>
                  <a:pt x="8384359" y="2487589"/>
                </a:cubicBezTo>
                <a:cubicBezTo>
                  <a:pt x="8384359" y="2451875"/>
                  <a:pt x="8413311" y="2422922"/>
                  <a:pt x="8449025" y="2422922"/>
                </a:cubicBezTo>
                <a:close/>
                <a:moveTo>
                  <a:pt x="8296368" y="2422922"/>
                </a:moveTo>
                <a:cubicBezTo>
                  <a:pt x="8332082" y="2422922"/>
                  <a:pt x="8361034" y="2451875"/>
                  <a:pt x="8361034" y="2487589"/>
                </a:cubicBezTo>
                <a:cubicBezTo>
                  <a:pt x="8361034" y="2523303"/>
                  <a:pt x="8332082" y="2552255"/>
                  <a:pt x="8296368" y="2552255"/>
                </a:cubicBezTo>
                <a:cubicBezTo>
                  <a:pt x="8260654" y="2552255"/>
                  <a:pt x="8231702" y="2523303"/>
                  <a:pt x="8231702" y="2487589"/>
                </a:cubicBezTo>
                <a:cubicBezTo>
                  <a:pt x="8231702" y="2451875"/>
                  <a:pt x="8260654" y="2422922"/>
                  <a:pt x="8296368" y="2422922"/>
                </a:cubicBezTo>
                <a:close/>
                <a:moveTo>
                  <a:pt x="8139793" y="2422922"/>
                </a:moveTo>
                <a:cubicBezTo>
                  <a:pt x="8175507" y="2422922"/>
                  <a:pt x="8204459" y="2451875"/>
                  <a:pt x="8204459" y="2487589"/>
                </a:cubicBezTo>
                <a:cubicBezTo>
                  <a:pt x="8204459" y="2523303"/>
                  <a:pt x="8175507" y="2552255"/>
                  <a:pt x="8139793" y="2552255"/>
                </a:cubicBezTo>
                <a:cubicBezTo>
                  <a:pt x="8104079" y="2552255"/>
                  <a:pt x="8075127" y="2523303"/>
                  <a:pt x="8075127" y="2487589"/>
                </a:cubicBezTo>
                <a:cubicBezTo>
                  <a:pt x="8075127" y="2451875"/>
                  <a:pt x="8104079" y="2422922"/>
                  <a:pt x="8139793" y="2422922"/>
                </a:cubicBezTo>
                <a:close/>
                <a:moveTo>
                  <a:pt x="7987133" y="2422922"/>
                </a:moveTo>
                <a:cubicBezTo>
                  <a:pt x="8022847" y="2422922"/>
                  <a:pt x="8051799" y="2451875"/>
                  <a:pt x="8051799" y="2487589"/>
                </a:cubicBezTo>
                <a:cubicBezTo>
                  <a:pt x="8051799" y="2523303"/>
                  <a:pt x="8022847" y="2552255"/>
                  <a:pt x="7987133" y="2552255"/>
                </a:cubicBezTo>
                <a:cubicBezTo>
                  <a:pt x="7951419" y="2552255"/>
                  <a:pt x="7922467" y="2523303"/>
                  <a:pt x="7922467" y="2487589"/>
                </a:cubicBezTo>
                <a:cubicBezTo>
                  <a:pt x="7922467" y="2451875"/>
                  <a:pt x="7951419" y="2422922"/>
                  <a:pt x="7987133" y="2422922"/>
                </a:cubicBezTo>
                <a:close/>
                <a:moveTo>
                  <a:pt x="7830562" y="2422922"/>
                </a:moveTo>
                <a:cubicBezTo>
                  <a:pt x="7866276" y="2422922"/>
                  <a:pt x="7895228" y="2451875"/>
                  <a:pt x="7895228" y="2487589"/>
                </a:cubicBezTo>
                <a:cubicBezTo>
                  <a:pt x="7895228" y="2523303"/>
                  <a:pt x="7866276" y="2552255"/>
                  <a:pt x="7830562" y="2552255"/>
                </a:cubicBezTo>
                <a:cubicBezTo>
                  <a:pt x="7794848" y="2552255"/>
                  <a:pt x="7765896" y="2523303"/>
                  <a:pt x="7765896" y="2487589"/>
                </a:cubicBezTo>
                <a:cubicBezTo>
                  <a:pt x="7765896" y="2451875"/>
                  <a:pt x="7794848" y="2422922"/>
                  <a:pt x="7830562" y="2422922"/>
                </a:cubicBezTo>
                <a:close/>
                <a:moveTo>
                  <a:pt x="7677904" y="2422922"/>
                </a:moveTo>
                <a:cubicBezTo>
                  <a:pt x="7713618" y="2422922"/>
                  <a:pt x="7742570" y="2451875"/>
                  <a:pt x="7742570" y="2487589"/>
                </a:cubicBezTo>
                <a:cubicBezTo>
                  <a:pt x="7742570" y="2523303"/>
                  <a:pt x="7713618" y="2552255"/>
                  <a:pt x="7677904" y="2552255"/>
                </a:cubicBezTo>
                <a:cubicBezTo>
                  <a:pt x="7642190" y="2552255"/>
                  <a:pt x="7613238" y="2523303"/>
                  <a:pt x="7613238" y="2487589"/>
                </a:cubicBezTo>
                <a:cubicBezTo>
                  <a:pt x="7613238" y="2451875"/>
                  <a:pt x="7642190" y="2422922"/>
                  <a:pt x="7677904" y="2422922"/>
                </a:cubicBezTo>
                <a:close/>
                <a:moveTo>
                  <a:pt x="7521331" y="2422922"/>
                </a:moveTo>
                <a:cubicBezTo>
                  <a:pt x="7557045" y="2422922"/>
                  <a:pt x="7585997" y="2451875"/>
                  <a:pt x="7585997" y="2487589"/>
                </a:cubicBezTo>
                <a:cubicBezTo>
                  <a:pt x="7585997" y="2523303"/>
                  <a:pt x="7557045" y="2552255"/>
                  <a:pt x="7521331" y="2552255"/>
                </a:cubicBezTo>
                <a:cubicBezTo>
                  <a:pt x="7485617" y="2552255"/>
                  <a:pt x="7456665" y="2523303"/>
                  <a:pt x="7456665" y="2487589"/>
                </a:cubicBezTo>
                <a:cubicBezTo>
                  <a:pt x="7456665" y="2451875"/>
                  <a:pt x="7485617" y="2422922"/>
                  <a:pt x="7521331" y="2422922"/>
                </a:cubicBezTo>
                <a:close/>
                <a:moveTo>
                  <a:pt x="7368671" y="2422922"/>
                </a:moveTo>
                <a:cubicBezTo>
                  <a:pt x="7404385" y="2422922"/>
                  <a:pt x="7433337" y="2451875"/>
                  <a:pt x="7433337" y="2487589"/>
                </a:cubicBezTo>
                <a:cubicBezTo>
                  <a:pt x="7433337" y="2523303"/>
                  <a:pt x="7404385" y="2552255"/>
                  <a:pt x="7368671" y="2552255"/>
                </a:cubicBezTo>
                <a:cubicBezTo>
                  <a:pt x="7332957" y="2552255"/>
                  <a:pt x="7304005" y="2523303"/>
                  <a:pt x="7304005" y="2487589"/>
                </a:cubicBezTo>
                <a:cubicBezTo>
                  <a:pt x="7304005" y="2451875"/>
                  <a:pt x="7332957" y="2422922"/>
                  <a:pt x="7368671" y="2422922"/>
                </a:cubicBezTo>
                <a:close/>
                <a:moveTo>
                  <a:pt x="7055523" y="2422922"/>
                </a:moveTo>
                <a:cubicBezTo>
                  <a:pt x="7091237" y="2422922"/>
                  <a:pt x="7120189" y="2451875"/>
                  <a:pt x="7120189" y="2487589"/>
                </a:cubicBezTo>
                <a:cubicBezTo>
                  <a:pt x="7120189" y="2523303"/>
                  <a:pt x="7091237" y="2552255"/>
                  <a:pt x="7055523" y="2552255"/>
                </a:cubicBezTo>
                <a:cubicBezTo>
                  <a:pt x="7019809" y="2552255"/>
                  <a:pt x="6990857" y="2523303"/>
                  <a:pt x="6990857" y="2487589"/>
                </a:cubicBezTo>
                <a:cubicBezTo>
                  <a:pt x="6990857" y="2451875"/>
                  <a:pt x="7019809" y="2422922"/>
                  <a:pt x="7055523" y="2422922"/>
                </a:cubicBezTo>
                <a:close/>
                <a:moveTo>
                  <a:pt x="6895037" y="2422922"/>
                </a:moveTo>
                <a:cubicBezTo>
                  <a:pt x="6930751" y="2422922"/>
                  <a:pt x="6959703" y="2451875"/>
                  <a:pt x="6959703" y="2487589"/>
                </a:cubicBezTo>
                <a:cubicBezTo>
                  <a:pt x="6959703" y="2523303"/>
                  <a:pt x="6930751" y="2552255"/>
                  <a:pt x="6895037" y="2552255"/>
                </a:cubicBezTo>
                <a:cubicBezTo>
                  <a:pt x="6859323" y="2552255"/>
                  <a:pt x="6830371" y="2523303"/>
                  <a:pt x="6830371" y="2487589"/>
                </a:cubicBezTo>
                <a:cubicBezTo>
                  <a:pt x="6830371" y="2451875"/>
                  <a:pt x="6859323" y="2422922"/>
                  <a:pt x="6895037" y="2422922"/>
                </a:cubicBezTo>
                <a:close/>
                <a:moveTo>
                  <a:pt x="6742377" y="2422922"/>
                </a:moveTo>
                <a:cubicBezTo>
                  <a:pt x="6778091" y="2422922"/>
                  <a:pt x="6807043" y="2451875"/>
                  <a:pt x="6807043" y="2487589"/>
                </a:cubicBezTo>
                <a:cubicBezTo>
                  <a:pt x="6807043" y="2523303"/>
                  <a:pt x="6778091" y="2552255"/>
                  <a:pt x="6742377" y="2552255"/>
                </a:cubicBezTo>
                <a:cubicBezTo>
                  <a:pt x="6706663" y="2552255"/>
                  <a:pt x="6677711" y="2523303"/>
                  <a:pt x="6677711" y="2487589"/>
                </a:cubicBezTo>
                <a:cubicBezTo>
                  <a:pt x="6677711" y="2451875"/>
                  <a:pt x="6706663" y="2422922"/>
                  <a:pt x="6742377" y="2422922"/>
                </a:cubicBezTo>
                <a:close/>
                <a:moveTo>
                  <a:pt x="6585804" y="2422922"/>
                </a:moveTo>
                <a:cubicBezTo>
                  <a:pt x="6621518" y="2422922"/>
                  <a:pt x="6650470" y="2451875"/>
                  <a:pt x="6650470" y="2487589"/>
                </a:cubicBezTo>
                <a:cubicBezTo>
                  <a:pt x="6650470" y="2523303"/>
                  <a:pt x="6621518" y="2552255"/>
                  <a:pt x="6585804" y="2552255"/>
                </a:cubicBezTo>
                <a:cubicBezTo>
                  <a:pt x="6550090" y="2552255"/>
                  <a:pt x="6521138" y="2523303"/>
                  <a:pt x="6521138" y="2487589"/>
                </a:cubicBezTo>
                <a:cubicBezTo>
                  <a:pt x="6521138" y="2451875"/>
                  <a:pt x="6550090" y="2422922"/>
                  <a:pt x="6585804" y="2422922"/>
                </a:cubicBezTo>
                <a:close/>
                <a:moveTo>
                  <a:pt x="6429231" y="2422922"/>
                </a:moveTo>
                <a:cubicBezTo>
                  <a:pt x="6464945" y="2422922"/>
                  <a:pt x="6493897" y="2451875"/>
                  <a:pt x="6493897" y="2487589"/>
                </a:cubicBezTo>
                <a:cubicBezTo>
                  <a:pt x="6493897" y="2523303"/>
                  <a:pt x="6464945" y="2552255"/>
                  <a:pt x="6429231" y="2552255"/>
                </a:cubicBezTo>
                <a:cubicBezTo>
                  <a:pt x="6393517" y="2552255"/>
                  <a:pt x="6364565" y="2523303"/>
                  <a:pt x="6364565" y="2487589"/>
                </a:cubicBezTo>
                <a:cubicBezTo>
                  <a:pt x="6364565" y="2451875"/>
                  <a:pt x="6393517" y="2422922"/>
                  <a:pt x="6429231" y="2422922"/>
                </a:cubicBezTo>
                <a:close/>
                <a:moveTo>
                  <a:pt x="6276571" y="2422922"/>
                </a:moveTo>
                <a:cubicBezTo>
                  <a:pt x="6312285" y="2422922"/>
                  <a:pt x="6341237" y="2451875"/>
                  <a:pt x="6341237" y="2487589"/>
                </a:cubicBezTo>
                <a:cubicBezTo>
                  <a:pt x="6341237" y="2523303"/>
                  <a:pt x="6312285" y="2552255"/>
                  <a:pt x="6276571" y="2552255"/>
                </a:cubicBezTo>
                <a:cubicBezTo>
                  <a:pt x="6240857" y="2552255"/>
                  <a:pt x="6211905" y="2523303"/>
                  <a:pt x="6211905" y="2487589"/>
                </a:cubicBezTo>
                <a:cubicBezTo>
                  <a:pt x="6211905" y="2451875"/>
                  <a:pt x="6240857" y="2422922"/>
                  <a:pt x="6276571" y="2422922"/>
                </a:cubicBezTo>
                <a:close/>
                <a:moveTo>
                  <a:pt x="5967339" y="2422922"/>
                </a:moveTo>
                <a:cubicBezTo>
                  <a:pt x="6003053" y="2422922"/>
                  <a:pt x="6032005" y="2451875"/>
                  <a:pt x="6032005" y="2487589"/>
                </a:cubicBezTo>
                <a:cubicBezTo>
                  <a:pt x="6032005" y="2523303"/>
                  <a:pt x="6003053" y="2552255"/>
                  <a:pt x="5967339" y="2552255"/>
                </a:cubicBezTo>
                <a:cubicBezTo>
                  <a:pt x="5931625" y="2552255"/>
                  <a:pt x="5902673" y="2523303"/>
                  <a:pt x="5902673" y="2487589"/>
                </a:cubicBezTo>
                <a:cubicBezTo>
                  <a:pt x="5902673" y="2451875"/>
                  <a:pt x="5931625" y="2422922"/>
                  <a:pt x="5967339" y="2422922"/>
                </a:cubicBezTo>
                <a:close/>
                <a:moveTo>
                  <a:pt x="5348888" y="2422922"/>
                </a:moveTo>
                <a:cubicBezTo>
                  <a:pt x="5384602" y="2422922"/>
                  <a:pt x="5413551" y="2451875"/>
                  <a:pt x="5413551" y="2487589"/>
                </a:cubicBezTo>
                <a:cubicBezTo>
                  <a:pt x="5413551" y="2523303"/>
                  <a:pt x="5384602" y="2552255"/>
                  <a:pt x="5348888" y="2552255"/>
                </a:cubicBezTo>
                <a:cubicBezTo>
                  <a:pt x="5313182" y="2552255"/>
                  <a:pt x="5284224" y="2523303"/>
                  <a:pt x="5284224" y="2487589"/>
                </a:cubicBezTo>
                <a:cubicBezTo>
                  <a:pt x="5284224" y="2451875"/>
                  <a:pt x="5313182" y="2422922"/>
                  <a:pt x="5348888" y="2422922"/>
                </a:cubicBezTo>
                <a:close/>
                <a:moveTo>
                  <a:pt x="5192318" y="2422922"/>
                </a:moveTo>
                <a:cubicBezTo>
                  <a:pt x="5228035" y="2422922"/>
                  <a:pt x="5256980" y="2451875"/>
                  <a:pt x="5256980" y="2487589"/>
                </a:cubicBezTo>
                <a:cubicBezTo>
                  <a:pt x="5256980" y="2523303"/>
                  <a:pt x="5228035" y="2552255"/>
                  <a:pt x="5192318" y="2552255"/>
                </a:cubicBezTo>
                <a:cubicBezTo>
                  <a:pt x="5156606" y="2552255"/>
                  <a:pt x="5127651" y="2523303"/>
                  <a:pt x="5127651" y="2487589"/>
                </a:cubicBezTo>
                <a:cubicBezTo>
                  <a:pt x="5127651" y="2451875"/>
                  <a:pt x="5156606" y="2422922"/>
                  <a:pt x="5192318" y="2422922"/>
                </a:cubicBezTo>
                <a:close/>
                <a:moveTo>
                  <a:pt x="3012086" y="2422922"/>
                </a:moveTo>
                <a:cubicBezTo>
                  <a:pt x="3047798" y="2422922"/>
                  <a:pt x="3076754" y="2451875"/>
                  <a:pt x="3076754" y="2487589"/>
                </a:cubicBezTo>
                <a:cubicBezTo>
                  <a:pt x="3076754" y="2523303"/>
                  <a:pt x="3047798" y="2552255"/>
                  <a:pt x="3012086" y="2552255"/>
                </a:cubicBezTo>
                <a:cubicBezTo>
                  <a:pt x="2976375" y="2552255"/>
                  <a:pt x="2947426" y="2523303"/>
                  <a:pt x="2947426" y="2487589"/>
                </a:cubicBezTo>
                <a:cubicBezTo>
                  <a:pt x="2947426" y="2451875"/>
                  <a:pt x="2976375" y="2422922"/>
                  <a:pt x="3012086" y="2422922"/>
                </a:cubicBezTo>
                <a:close/>
                <a:moveTo>
                  <a:pt x="2855526" y="2422922"/>
                </a:moveTo>
                <a:cubicBezTo>
                  <a:pt x="2891237" y="2422922"/>
                  <a:pt x="2920186" y="2451875"/>
                  <a:pt x="2920186" y="2487589"/>
                </a:cubicBezTo>
                <a:cubicBezTo>
                  <a:pt x="2920186" y="2523303"/>
                  <a:pt x="2891237" y="2552255"/>
                  <a:pt x="2855526" y="2552255"/>
                </a:cubicBezTo>
                <a:cubicBezTo>
                  <a:pt x="2819816" y="2552255"/>
                  <a:pt x="2790866" y="2523303"/>
                  <a:pt x="2790866" y="2487589"/>
                </a:cubicBezTo>
                <a:cubicBezTo>
                  <a:pt x="2790866" y="2451875"/>
                  <a:pt x="2819816" y="2422922"/>
                  <a:pt x="2855526" y="2422922"/>
                </a:cubicBezTo>
                <a:close/>
                <a:moveTo>
                  <a:pt x="2698968" y="2422922"/>
                </a:moveTo>
                <a:cubicBezTo>
                  <a:pt x="2734678" y="2422922"/>
                  <a:pt x="2763629" y="2451875"/>
                  <a:pt x="2763629" y="2487589"/>
                </a:cubicBezTo>
                <a:cubicBezTo>
                  <a:pt x="2763629" y="2523303"/>
                  <a:pt x="2734678" y="2552255"/>
                  <a:pt x="2698968" y="2552255"/>
                </a:cubicBezTo>
                <a:cubicBezTo>
                  <a:pt x="2663258" y="2552255"/>
                  <a:pt x="2634309" y="2523303"/>
                  <a:pt x="2634309" y="2487589"/>
                </a:cubicBezTo>
                <a:cubicBezTo>
                  <a:pt x="2634309" y="2451875"/>
                  <a:pt x="2663258" y="2422922"/>
                  <a:pt x="2698968" y="2422922"/>
                </a:cubicBezTo>
                <a:close/>
                <a:moveTo>
                  <a:pt x="2546324" y="2422922"/>
                </a:moveTo>
                <a:cubicBezTo>
                  <a:pt x="2582035" y="2422922"/>
                  <a:pt x="2610985" y="2451875"/>
                  <a:pt x="2610985" y="2487589"/>
                </a:cubicBezTo>
                <a:cubicBezTo>
                  <a:pt x="2610985" y="2523303"/>
                  <a:pt x="2582035" y="2552255"/>
                  <a:pt x="2546324" y="2552255"/>
                </a:cubicBezTo>
                <a:cubicBezTo>
                  <a:pt x="2510602" y="2552255"/>
                  <a:pt x="2481663" y="2523303"/>
                  <a:pt x="2481663" y="2487589"/>
                </a:cubicBezTo>
                <a:cubicBezTo>
                  <a:pt x="2481663" y="2451875"/>
                  <a:pt x="2510602" y="2422922"/>
                  <a:pt x="2546324" y="2422922"/>
                </a:cubicBezTo>
                <a:close/>
                <a:moveTo>
                  <a:pt x="2389740" y="2422922"/>
                </a:moveTo>
                <a:cubicBezTo>
                  <a:pt x="2425476" y="2422922"/>
                  <a:pt x="2454426" y="2451875"/>
                  <a:pt x="2454426" y="2487589"/>
                </a:cubicBezTo>
                <a:cubicBezTo>
                  <a:pt x="2454426" y="2523303"/>
                  <a:pt x="2425476" y="2552255"/>
                  <a:pt x="2389740" y="2552255"/>
                </a:cubicBezTo>
                <a:cubicBezTo>
                  <a:pt x="2354046" y="2552255"/>
                  <a:pt x="2325089" y="2523303"/>
                  <a:pt x="2325089" y="2487589"/>
                </a:cubicBezTo>
                <a:cubicBezTo>
                  <a:pt x="2325089" y="2451875"/>
                  <a:pt x="2354046" y="2422922"/>
                  <a:pt x="2389740" y="2422922"/>
                </a:cubicBezTo>
                <a:close/>
                <a:moveTo>
                  <a:pt x="2237079" y="2422922"/>
                </a:moveTo>
                <a:cubicBezTo>
                  <a:pt x="2272800" y="2422922"/>
                  <a:pt x="2301758" y="2451875"/>
                  <a:pt x="2301758" y="2487589"/>
                </a:cubicBezTo>
                <a:cubicBezTo>
                  <a:pt x="2301758" y="2523303"/>
                  <a:pt x="2272800" y="2552255"/>
                  <a:pt x="2237079" y="2552255"/>
                </a:cubicBezTo>
                <a:cubicBezTo>
                  <a:pt x="2201359" y="2552255"/>
                  <a:pt x="2172401" y="2523303"/>
                  <a:pt x="2172401" y="2487589"/>
                </a:cubicBezTo>
                <a:cubicBezTo>
                  <a:pt x="2172401" y="2451875"/>
                  <a:pt x="2201359" y="2422922"/>
                  <a:pt x="2237079" y="2422922"/>
                </a:cubicBezTo>
                <a:close/>
                <a:moveTo>
                  <a:pt x="2084402" y="2422922"/>
                </a:moveTo>
                <a:cubicBezTo>
                  <a:pt x="2120120" y="2422922"/>
                  <a:pt x="2149069" y="2451875"/>
                  <a:pt x="2149069" y="2487589"/>
                </a:cubicBezTo>
                <a:cubicBezTo>
                  <a:pt x="2149069" y="2523303"/>
                  <a:pt x="2120120" y="2552255"/>
                  <a:pt x="2084402" y="2552255"/>
                </a:cubicBezTo>
                <a:cubicBezTo>
                  <a:pt x="2048680" y="2552255"/>
                  <a:pt x="2019753" y="2523303"/>
                  <a:pt x="2019753" y="2487589"/>
                </a:cubicBezTo>
                <a:cubicBezTo>
                  <a:pt x="2019753" y="2451875"/>
                  <a:pt x="2048680" y="2422922"/>
                  <a:pt x="2084402" y="2422922"/>
                </a:cubicBezTo>
                <a:close/>
                <a:moveTo>
                  <a:pt x="1927830" y="2422922"/>
                </a:moveTo>
                <a:cubicBezTo>
                  <a:pt x="1963544" y="2422922"/>
                  <a:pt x="1992505" y="2451875"/>
                  <a:pt x="1992505" y="2487589"/>
                </a:cubicBezTo>
                <a:cubicBezTo>
                  <a:pt x="1992505" y="2523303"/>
                  <a:pt x="1963544" y="2552255"/>
                  <a:pt x="1927830" y="2552255"/>
                </a:cubicBezTo>
                <a:cubicBezTo>
                  <a:pt x="1892129" y="2552255"/>
                  <a:pt x="1863179" y="2523303"/>
                  <a:pt x="1863179" y="2487589"/>
                </a:cubicBezTo>
                <a:cubicBezTo>
                  <a:pt x="1863179" y="2451875"/>
                  <a:pt x="1892129" y="2422922"/>
                  <a:pt x="1927830" y="2422922"/>
                </a:cubicBezTo>
                <a:close/>
                <a:moveTo>
                  <a:pt x="1775172" y="2422922"/>
                </a:moveTo>
                <a:cubicBezTo>
                  <a:pt x="1810880" y="2422922"/>
                  <a:pt x="1839851" y="2451875"/>
                  <a:pt x="1839851" y="2487589"/>
                </a:cubicBezTo>
                <a:cubicBezTo>
                  <a:pt x="1839851" y="2523303"/>
                  <a:pt x="1810880" y="2552255"/>
                  <a:pt x="1775172" y="2552255"/>
                </a:cubicBezTo>
                <a:cubicBezTo>
                  <a:pt x="1739456" y="2552255"/>
                  <a:pt x="1710504" y="2523303"/>
                  <a:pt x="1710504" y="2487589"/>
                </a:cubicBezTo>
                <a:cubicBezTo>
                  <a:pt x="1710504" y="2451875"/>
                  <a:pt x="1739456" y="2422922"/>
                  <a:pt x="1775172" y="2422922"/>
                </a:cubicBezTo>
                <a:close/>
                <a:moveTo>
                  <a:pt x="1618593" y="2422922"/>
                </a:moveTo>
                <a:cubicBezTo>
                  <a:pt x="1654311" y="2422922"/>
                  <a:pt x="1683262" y="2451875"/>
                  <a:pt x="1683262" y="2487589"/>
                </a:cubicBezTo>
                <a:cubicBezTo>
                  <a:pt x="1683262" y="2523303"/>
                  <a:pt x="1654311" y="2552255"/>
                  <a:pt x="1618593" y="2552255"/>
                </a:cubicBezTo>
                <a:cubicBezTo>
                  <a:pt x="1582881" y="2552255"/>
                  <a:pt x="1553929" y="2523303"/>
                  <a:pt x="1553929" y="2487589"/>
                </a:cubicBezTo>
                <a:cubicBezTo>
                  <a:pt x="1553929" y="2451875"/>
                  <a:pt x="1582881" y="2422922"/>
                  <a:pt x="1618593" y="2422922"/>
                </a:cubicBezTo>
                <a:close/>
                <a:moveTo>
                  <a:pt x="1465935" y="2422922"/>
                </a:moveTo>
                <a:cubicBezTo>
                  <a:pt x="1501649" y="2422922"/>
                  <a:pt x="1530601" y="2451875"/>
                  <a:pt x="1530601" y="2487589"/>
                </a:cubicBezTo>
                <a:cubicBezTo>
                  <a:pt x="1530601" y="2523303"/>
                  <a:pt x="1501649" y="2552255"/>
                  <a:pt x="1465935" y="2552255"/>
                </a:cubicBezTo>
                <a:cubicBezTo>
                  <a:pt x="1430221" y="2552255"/>
                  <a:pt x="1401271" y="2523303"/>
                  <a:pt x="1401271" y="2487589"/>
                </a:cubicBezTo>
                <a:cubicBezTo>
                  <a:pt x="1401271" y="2451875"/>
                  <a:pt x="1430221" y="2422922"/>
                  <a:pt x="1465935" y="2422922"/>
                </a:cubicBezTo>
                <a:close/>
                <a:moveTo>
                  <a:pt x="1465941" y="2278094"/>
                </a:moveTo>
                <a:cubicBezTo>
                  <a:pt x="1501654" y="2278094"/>
                  <a:pt x="1530607" y="2307046"/>
                  <a:pt x="1530607" y="2342760"/>
                </a:cubicBezTo>
                <a:cubicBezTo>
                  <a:pt x="1530607" y="2378474"/>
                  <a:pt x="1501654" y="2407426"/>
                  <a:pt x="1465941" y="2407426"/>
                </a:cubicBezTo>
                <a:cubicBezTo>
                  <a:pt x="1430228" y="2407426"/>
                  <a:pt x="1401277" y="2378474"/>
                  <a:pt x="1401277" y="2342760"/>
                </a:cubicBezTo>
                <a:cubicBezTo>
                  <a:pt x="1401277" y="2307046"/>
                  <a:pt x="1430228" y="2278094"/>
                  <a:pt x="1465941" y="2278094"/>
                </a:cubicBezTo>
                <a:close/>
                <a:moveTo>
                  <a:pt x="2084411" y="2278092"/>
                </a:moveTo>
                <a:cubicBezTo>
                  <a:pt x="2120125" y="2278092"/>
                  <a:pt x="2149075" y="2307044"/>
                  <a:pt x="2149075" y="2342758"/>
                </a:cubicBezTo>
                <a:cubicBezTo>
                  <a:pt x="2149075" y="2378472"/>
                  <a:pt x="2120125" y="2407425"/>
                  <a:pt x="2084411" y="2407425"/>
                </a:cubicBezTo>
                <a:cubicBezTo>
                  <a:pt x="2048687" y="2407425"/>
                  <a:pt x="2019760" y="2378472"/>
                  <a:pt x="2019760" y="2342758"/>
                </a:cubicBezTo>
                <a:cubicBezTo>
                  <a:pt x="2019760" y="2307044"/>
                  <a:pt x="2048687" y="2278092"/>
                  <a:pt x="2084411" y="2278092"/>
                </a:cubicBezTo>
                <a:close/>
                <a:moveTo>
                  <a:pt x="1927830" y="2278092"/>
                </a:moveTo>
                <a:cubicBezTo>
                  <a:pt x="1963544" y="2278092"/>
                  <a:pt x="1992511" y="2307044"/>
                  <a:pt x="1992511" y="2342758"/>
                </a:cubicBezTo>
                <a:cubicBezTo>
                  <a:pt x="1992511" y="2378472"/>
                  <a:pt x="1963544" y="2407425"/>
                  <a:pt x="1927830" y="2407425"/>
                </a:cubicBezTo>
                <a:cubicBezTo>
                  <a:pt x="1892137" y="2407425"/>
                  <a:pt x="1863187" y="2378472"/>
                  <a:pt x="1863187" y="2342758"/>
                </a:cubicBezTo>
                <a:cubicBezTo>
                  <a:pt x="1863187" y="2307044"/>
                  <a:pt x="1892137" y="2278092"/>
                  <a:pt x="1927830" y="2278092"/>
                </a:cubicBezTo>
                <a:close/>
                <a:moveTo>
                  <a:pt x="1775179" y="2278092"/>
                </a:moveTo>
                <a:cubicBezTo>
                  <a:pt x="1810886" y="2278092"/>
                  <a:pt x="1839858" y="2307044"/>
                  <a:pt x="1839858" y="2342758"/>
                </a:cubicBezTo>
                <a:cubicBezTo>
                  <a:pt x="1839858" y="2378472"/>
                  <a:pt x="1810886" y="2407425"/>
                  <a:pt x="1775179" y="2407425"/>
                </a:cubicBezTo>
                <a:cubicBezTo>
                  <a:pt x="1739462" y="2407425"/>
                  <a:pt x="1710510" y="2378472"/>
                  <a:pt x="1710510" y="2342758"/>
                </a:cubicBezTo>
                <a:cubicBezTo>
                  <a:pt x="1710510" y="2307044"/>
                  <a:pt x="1739462" y="2278092"/>
                  <a:pt x="1775179" y="2278092"/>
                </a:cubicBezTo>
                <a:close/>
                <a:moveTo>
                  <a:pt x="1618599" y="2278092"/>
                </a:moveTo>
                <a:cubicBezTo>
                  <a:pt x="1654318" y="2278092"/>
                  <a:pt x="1683268" y="2307044"/>
                  <a:pt x="1683268" y="2342758"/>
                </a:cubicBezTo>
                <a:cubicBezTo>
                  <a:pt x="1683268" y="2378472"/>
                  <a:pt x="1654318" y="2407425"/>
                  <a:pt x="1618599" y="2407425"/>
                </a:cubicBezTo>
                <a:cubicBezTo>
                  <a:pt x="1582887" y="2407425"/>
                  <a:pt x="1553936" y="2378472"/>
                  <a:pt x="1553936" y="2342758"/>
                </a:cubicBezTo>
                <a:cubicBezTo>
                  <a:pt x="1553936" y="2307044"/>
                  <a:pt x="1582887" y="2278092"/>
                  <a:pt x="1618599" y="2278092"/>
                </a:cubicBezTo>
                <a:close/>
                <a:moveTo>
                  <a:pt x="10003016" y="2278090"/>
                </a:moveTo>
                <a:cubicBezTo>
                  <a:pt x="10038730" y="2278090"/>
                  <a:pt x="10067682" y="2307043"/>
                  <a:pt x="10067682" y="2342756"/>
                </a:cubicBezTo>
                <a:cubicBezTo>
                  <a:pt x="10067682" y="2378470"/>
                  <a:pt x="10038730" y="2407423"/>
                  <a:pt x="10003016" y="2407423"/>
                </a:cubicBezTo>
                <a:cubicBezTo>
                  <a:pt x="9967302" y="2407423"/>
                  <a:pt x="9938350" y="2378470"/>
                  <a:pt x="9938350" y="2342756"/>
                </a:cubicBezTo>
                <a:cubicBezTo>
                  <a:pt x="9938350" y="2307043"/>
                  <a:pt x="9967302" y="2278090"/>
                  <a:pt x="10003016" y="2278090"/>
                </a:cubicBezTo>
                <a:close/>
                <a:moveTo>
                  <a:pt x="9693783" y="2278090"/>
                </a:moveTo>
                <a:cubicBezTo>
                  <a:pt x="9729497" y="2278090"/>
                  <a:pt x="9758449" y="2307043"/>
                  <a:pt x="9758449" y="2342756"/>
                </a:cubicBezTo>
                <a:cubicBezTo>
                  <a:pt x="9758449" y="2378470"/>
                  <a:pt x="9729497" y="2407423"/>
                  <a:pt x="9693783" y="2407423"/>
                </a:cubicBezTo>
                <a:cubicBezTo>
                  <a:pt x="9658069" y="2407423"/>
                  <a:pt x="9629117" y="2378470"/>
                  <a:pt x="9629117" y="2342756"/>
                </a:cubicBezTo>
                <a:cubicBezTo>
                  <a:pt x="9629117" y="2307043"/>
                  <a:pt x="9658069" y="2278090"/>
                  <a:pt x="9693783" y="2278090"/>
                </a:cubicBezTo>
                <a:close/>
                <a:moveTo>
                  <a:pt x="9541123" y="2278090"/>
                </a:moveTo>
                <a:cubicBezTo>
                  <a:pt x="9576837" y="2278090"/>
                  <a:pt x="9605789" y="2307043"/>
                  <a:pt x="9605789" y="2342756"/>
                </a:cubicBezTo>
                <a:cubicBezTo>
                  <a:pt x="9605789" y="2378470"/>
                  <a:pt x="9576837" y="2407423"/>
                  <a:pt x="9541123" y="2407423"/>
                </a:cubicBezTo>
                <a:cubicBezTo>
                  <a:pt x="9505409" y="2407423"/>
                  <a:pt x="9476457" y="2378470"/>
                  <a:pt x="9476457" y="2342756"/>
                </a:cubicBezTo>
                <a:cubicBezTo>
                  <a:pt x="9476457" y="2307043"/>
                  <a:pt x="9505409" y="2278090"/>
                  <a:pt x="9541123" y="2278090"/>
                </a:cubicBezTo>
                <a:close/>
                <a:moveTo>
                  <a:pt x="9384550" y="2278090"/>
                </a:moveTo>
                <a:cubicBezTo>
                  <a:pt x="9420264" y="2278090"/>
                  <a:pt x="9449216" y="2307043"/>
                  <a:pt x="9449216" y="2342756"/>
                </a:cubicBezTo>
                <a:cubicBezTo>
                  <a:pt x="9449216" y="2378470"/>
                  <a:pt x="9420264" y="2407423"/>
                  <a:pt x="9384550" y="2407423"/>
                </a:cubicBezTo>
                <a:cubicBezTo>
                  <a:pt x="9348836" y="2407423"/>
                  <a:pt x="9319884" y="2378470"/>
                  <a:pt x="9319884" y="2342756"/>
                </a:cubicBezTo>
                <a:cubicBezTo>
                  <a:pt x="9319884" y="2307043"/>
                  <a:pt x="9348836" y="2278090"/>
                  <a:pt x="9384550" y="2278090"/>
                </a:cubicBezTo>
                <a:close/>
                <a:moveTo>
                  <a:pt x="9227977" y="2278090"/>
                </a:moveTo>
                <a:cubicBezTo>
                  <a:pt x="9263691" y="2278090"/>
                  <a:pt x="9292643" y="2307043"/>
                  <a:pt x="9292643" y="2342756"/>
                </a:cubicBezTo>
                <a:cubicBezTo>
                  <a:pt x="9292643" y="2378470"/>
                  <a:pt x="9263691" y="2407423"/>
                  <a:pt x="9227977" y="2407423"/>
                </a:cubicBezTo>
                <a:cubicBezTo>
                  <a:pt x="9192263" y="2407423"/>
                  <a:pt x="9163311" y="2378470"/>
                  <a:pt x="9163311" y="2342756"/>
                </a:cubicBezTo>
                <a:cubicBezTo>
                  <a:pt x="9163311" y="2307043"/>
                  <a:pt x="9192263" y="2278090"/>
                  <a:pt x="9227977" y="2278090"/>
                </a:cubicBezTo>
                <a:close/>
                <a:moveTo>
                  <a:pt x="9075319" y="2278090"/>
                </a:moveTo>
                <a:cubicBezTo>
                  <a:pt x="9111033" y="2278090"/>
                  <a:pt x="9139985" y="2307043"/>
                  <a:pt x="9139985" y="2342756"/>
                </a:cubicBezTo>
                <a:cubicBezTo>
                  <a:pt x="9139985" y="2378470"/>
                  <a:pt x="9111033" y="2407423"/>
                  <a:pt x="9075319" y="2407423"/>
                </a:cubicBezTo>
                <a:cubicBezTo>
                  <a:pt x="9039605" y="2407423"/>
                  <a:pt x="9010653" y="2378470"/>
                  <a:pt x="9010653" y="2342756"/>
                </a:cubicBezTo>
                <a:cubicBezTo>
                  <a:pt x="9010653" y="2307043"/>
                  <a:pt x="9039605" y="2278090"/>
                  <a:pt x="9075319" y="2278090"/>
                </a:cubicBezTo>
                <a:close/>
                <a:moveTo>
                  <a:pt x="8914831" y="2278090"/>
                </a:moveTo>
                <a:cubicBezTo>
                  <a:pt x="8950545" y="2278090"/>
                  <a:pt x="8979497" y="2307043"/>
                  <a:pt x="8979497" y="2342756"/>
                </a:cubicBezTo>
                <a:cubicBezTo>
                  <a:pt x="8979497" y="2378470"/>
                  <a:pt x="8950545" y="2407423"/>
                  <a:pt x="8914831" y="2407423"/>
                </a:cubicBezTo>
                <a:cubicBezTo>
                  <a:pt x="8879117" y="2407423"/>
                  <a:pt x="8850165" y="2378470"/>
                  <a:pt x="8850165" y="2342756"/>
                </a:cubicBezTo>
                <a:cubicBezTo>
                  <a:pt x="8850165" y="2307043"/>
                  <a:pt x="8879117" y="2278090"/>
                  <a:pt x="8914831" y="2278090"/>
                </a:cubicBezTo>
                <a:close/>
                <a:moveTo>
                  <a:pt x="8766086" y="2278090"/>
                </a:moveTo>
                <a:cubicBezTo>
                  <a:pt x="8801800" y="2278090"/>
                  <a:pt x="8830752" y="2307043"/>
                  <a:pt x="8830752" y="2342756"/>
                </a:cubicBezTo>
                <a:cubicBezTo>
                  <a:pt x="8830752" y="2378470"/>
                  <a:pt x="8801800" y="2407423"/>
                  <a:pt x="8766086" y="2407423"/>
                </a:cubicBezTo>
                <a:cubicBezTo>
                  <a:pt x="8730372" y="2407423"/>
                  <a:pt x="8701420" y="2378470"/>
                  <a:pt x="8701420" y="2342756"/>
                </a:cubicBezTo>
                <a:cubicBezTo>
                  <a:pt x="8701420" y="2307043"/>
                  <a:pt x="8730372" y="2278090"/>
                  <a:pt x="8766086" y="2278090"/>
                </a:cubicBezTo>
                <a:close/>
                <a:moveTo>
                  <a:pt x="8601685" y="2278090"/>
                </a:moveTo>
                <a:cubicBezTo>
                  <a:pt x="8637399" y="2278090"/>
                  <a:pt x="8666351" y="2307043"/>
                  <a:pt x="8666351" y="2342756"/>
                </a:cubicBezTo>
                <a:cubicBezTo>
                  <a:pt x="8666351" y="2378470"/>
                  <a:pt x="8637399" y="2407423"/>
                  <a:pt x="8601685" y="2407423"/>
                </a:cubicBezTo>
                <a:cubicBezTo>
                  <a:pt x="8565971" y="2407423"/>
                  <a:pt x="8537019" y="2378470"/>
                  <a:pt x="8537019" y="2342756"/>
                </a:cubicBezTo>
                <a:cubicBezTo>
                  <a:pt x="8537019" y="2307043"/>
                  <a:pt x="8565971" y="2278090"/>
                  <a:pt x="8601685" y="2278090"/>
                </a:cubicBezTo>
                <a:close/>
                <a:moveTo>
                  <a:pt x="8449025" y="2278090"/>
                </a:moveTo>
                <a:cubicBezTo>
                  <a:pt x="8484739" y="2278090"/>
                  <a:pt x="8513691" y="2307043"/>
                  <a:pt x="8513691" y="2342756"/>
                </a:cubicBezTo>
                <a:cubicBezTo>
                  <a:pt x="8513691" y="2378470"/>
                  <a:pt x="8484739" y="2407423"/>
                  <a:pt x="8449025" y="2407423"/>
                </a:cubicBezTo>
                <a:cubicBezTo>
                  <a:pt x="8413311" y="2407423"/>
                  <a:pt x="8384359" y="2378470"/>
                  <a:pt x="8384359" y="2342756"/>
                </a:cubicBezTo>
                <a:cubicBezTo>
                  <a:pt x="8384359" y="2307043"/>
                  <a:pt x="8413311" y="2278090"/>
                  <a:pt x="8449025" y="2278090"/>
                </a:cubicBezTo>
                <a:close/>
                <a:moveTo>
                  <a:pt x="8296368" y="2278090"/>
                </a:moveTo>
                <a:cubicBezTo>
                  <a:pt x="8332082" y="2278090"/>
                  <a:pt x="8361034" y="2307043"/>
                  <a:pt x="8361034" y="2342756"/>
                </a:cubicBezTo>
                <a:cubicBezTo>
                  <a:pt x="8361034" y="2378470"/>
                  <a:pt x="8332082" y="2407423"/>
                  <a:pt x="8296368" y="2407423"/>
                </a:cubicBezTo>
                <a:cubicBezTo>
                  <a:pt x="8260654" y="2407423"/>
                  <a:pt x="8231702" y="2378470"/>
                  <a:pt x="8231702" y="2342756"/>
                </a:cubicBezTo>
                <a:cubicBezTo>
                  <a:pt x="8231702" y="2307043"/>
                  <a:pt x="8260654" y="2278090"/>
                  <a:pt x="8296368" y="2278090"/>
                </a:cubicBezTo>
                <a:close/>
                <a:moveTo>
                  <a:pt x="8139793" y="2278090"/>
                </a:moveTo>
                <a:cubicBezTo>
                  <a:pt x="8175507" y="2278090"/>
                  <a:pt x="8204459" y="2307043"/>
                  <a:pt x="8204459" y="2342756"/>
                </a:cubicBezTo>
                <a:cubicBezTo>
                  <a:pt x="8204459" y="2378470"/>
                  <a:pt x="8175507" y="2407423"/>
                  <a:pt x="8139793" y="2407423"/>
                </a:cubicBezTo>
                <a:cubicBezTo>
                  <a:pt x="8104079" y="2407423"/>
                  <a:pt x="8075127" y="2378470"/>
                  <a:pt x="8075127" y="2342756"/>
                </a:cubicBezTo>
                <a:cubicBezTo>
                  <a:pt x="8075127" y="2307043"/>
                  <a:pt x="8104079" y="2278090"/>
                  <a:pt x="8139793" y="2278090"/>
                </a:cubicBezTo>
                <a:close/>
                <a:moveTo>
                  <a:pt x="7987133" y="2278090"/>
                </a:moveTo>
                <a:cubicBezTo>
                  <a:pt x="8022847" y="2278090"/>
                  <a:pt x="8051799" y="2307043"/>
                  <a:pt x="8051799" y="2342756"/>
                </a:cubicBezTo>
                <a:cubicBezTo>
                  <a:pt x="8051799" y="2378470"/>
                  <a:pt x="8022847" y="2407423"/>
                  <a:pt x="7987133" y="2407423"/>
                </a:cubicBezTo>
                <a:cubicBezTo>
                  <a:pt x="7951419" y="2407423"/>
                  <a:pt x="7922467" y="2378470"/>
                  <a:pt x="7922467" y="2342756"/>
                </a:cubicBezTo>
                <a:cubicBezTo>
                  <a:pt x="7922467" y="2307043"/>
                  <a:pt x="7951419" y="2278090"/>
                  <a:pt x="7987133" y="2278090"/>
                </a:cubicBezTo>
                <a:close/>
                <a:moveTo>
                  <a:pt x="7830562" y="2278090"/>
                </a:moveTo>
                <a:cubicBezTo>
                  <a:pt x="7866276" y="2278090"/>
                  <a:pt x="7895228" y="2307043"/>
                  <a:pt x="7895228" y="2342756"/>
                </a:cubicBezTo>
                <a:cubicBezTo>
                  <a:pt x="7895228" y="2378470"/>
                  <a:pt x="7866276" y="2407423"/>
                  <a:pt x="7830562" y="2407423"/>
                </a:cubicBezTo>
                <a:cubicBezTo>
                  <a:pt x="7794848" y="2407423"/>
                  <a:pt x="7765896" y="2378470"/>
                  <a:pt x="7765896" y="2342756"/>
                </a:cubicBezTo>
                <a:cubicBezTo>
                  <a:pt x="7765896" y="2307043"/>
                  <a:pt x="7794848" y="2278090"/>
                  <a:pt x="7830562" y="2278090"/>
                </a:cubicBezTo>
                <a:close/>
                <a:moveTo>
                  <a:pt x="7677904" y="2278090"/>
                </a:moveTo>
                <a:cubicBezTo>
                  <a:pt x="7713618" y="2278090"/>
                  <a:pt x="7742570" y="2307043"/>
                  <a:pt x="7742570" y="2342756"/>
                </a:cubicBezTo>
                <a:cubicBezTo>
                  <a:pt x="7742570" y="2378470"/>
                  <a:pt x="7713618" y="2407423"/>
                  <a:pt x="7677904" y="2407423"/>
                </a:cubicBezTo>
                <a:cubicBezTo>
                  <a:pt x="7642190" y="2407423"/>
                  <a:pt x="7613238" y="2378470"/>
                  <a:pt x="7613238" y="2342756"/>
                </a:cubicBezTo>
                <a:cubicBezTo>
                  <a:pt x="7613238" y="2307043"/>
                  <a:pt x="7642190" y="2278090"/>
                  <a:pt x="7677904" y="2278090"/>
                </a:cubicBezTo>
                <a:close/>
                <a:moveTo>
                  <a:pt x="7521331" y="2278090"/>
                </a:moveTo>
                <a:cubicBezTo>
                  <a:pt x="7557045" y="2278090"/>
                  <a:pt x="7585997" y="2307043"/>
                  <a:pt x="7585997" y="2342756"/>
                </a:cubicBezTo>
                <a:cubicBezTo>
                  <a:pt x="7585997" y="2378470"/>
                  <a:pt x="7557045" y="2407423"/>
                  <a:pt x="7521331" y="2407423"/>
                </a:cubicBezTo>
                <a:cubicBezTo>
                  <a:pt x="7485617" y="2407423"/>
                  <a:pt x="7456665" y="2378470"/>
                  <a:pt x="7456665" y="2342756"/>
                </a:cubicBezTo>
                <a:cubicBezTo>
                  <a:pt x="7456665" y="2307043"/>
                  <a:pt x="7485617" y="2278090"/>
                  <a:pt x="7521331" y="2278090"/>
                </a:cubicBezTo>
                <a:close/>
                <a:moveTo>
                  <a:pt x="7368671" y="2278090"/>
                </a:moveTo>
                <a:cubicBezTo>
                  <a:pt x="7404385" y="2278090"/>
                  <a:pt x="7433337" y="2307043"/>
                  <a:pt x="7433337" y="2342756"/>
                </a:cubicBezTo>
                <a:cubicBezTo>
                  <a:pt x="7433337" y="2378470"/>
                  <a:pt x="7404385" y="2407423"/>
                  <a:pt x="7368671" y="2407423"/>
                </a:cubicBezTo>
                <a:cubicBezTo>
                  <a:pt x="7332957" y="2407423"/>
                  <a:pt x="7304005" y="2378470"/>
                  <a:pt x="7304005" y="2342756"/>
                </a:cubicBezTo>
                <a:cubicBezTo>
                  <a:pt x="7304005" y="2307043"/>
                  <a:pt x="7332957" y="2278090"/>
                  <a:pt x="7368671" y="2278090"/>
                </a:cubicBezTo>
                <a:close/>
                <a:moveTo>
                  <a:pt x="7055523" y="2278090"/>
                </a:moveTo>
                <a:cubicBezTo>
                  <a:pt x="7091237" y="2278090"/>
                  <a:pt x="7120189" y="2307043"/>
                  <a:pt x="7120189" y="2342756"/>
                </a:cubicBezTo>
                <a:cubicBezTo>
                  <a:pt x="7120189" y="2378470"/>
                  <a:pt x="7091237" y="2407423"/>
                  <a:pt x="7055523" y="2407423"/>
                </a:cubicBezTo>
                <a:cubicBezTo>
                  <a:pt x="7019809" y="2407423"/>
                  <a:pt x="6990857" y="2378470"/>
                  <a:pt x="6990857" y="2342756"/>
                </a:cubicBezTo>
                <a:cubicBezTo>
                  <a:pt x="6990857" y="2307043"/>
                  <a:pt x="7019809" y="2278090"/>
                  <a:pt x="7055523" y="2278090"/>
                </a:cubicBezTo>
                <a:close/>
                <a:moveTo>
                  <a:pt x="6895037" y="2278090"/>
                </a:moveTo>
                <a:cubicBezTo>
                  <a:pt x="6930751" y="2278090"/>
                  <a:pt x="6959703" y="2307043"/>
                  <a:pt x="6959703" y="2342756"/>
                </a:cubicBezTo>
                <a:cubicBezTo>
                  <a:pt x="6959703" y="2378470"/>
                  <a:pt x="6930751" y="2407423"/>
                  <a:pt x="6895037" y="2407423"/>
                </a:cubicBezTo>
                <a:cubicBezTo>
                  <a:pt x="6859323" y="2407423"/>
                  <a:pt x="6830371" y="2378470"/>
                  <a:pt x="6830371" y="2342756"/>
                </a:cubicBezTo>
                <a:cubicBezTo>
                  <a:pt x="6830371" y="2307043"/>
                  <a:pt x="6859323" y="2278090"/>
                  <a:pt x="6895037" y="2278090"/>
                </a:cubicBezTo>
                <a:close/>
                <a:moveTo>
                  <a:pt x="6742377" y="2278090"/>
                </a:moveTo>
                <a:cubicBezTo>
                  <a:pt x="6778091" y="2278090"/>
                  <a:pt x="6807043" y="2307043"/>
                  <a:pt x="6807043" y="2342756"/>
                </a:cubicBezTo>
                <a:cubicBezTo>
                  <a:pt x="6807043" y="2378470"/>
                  <a:pt x="6778091" y="2407423"/>
                  <a:pt x="6742377" y="2407423"/>
                </a:cubicBezTo>
                <a:cubicBezTo>
                  <a:pt x="6706663" y="2407423"/>
                  <a:pt x="6677711" y="2378470"/>
                  <a:pt x="6677711" y="2342756"/>
                </a:cubicBezTo>
                <a:cubicBezTo>
                  <a:pt x="6677711" y="2307043"/>
                  <a:pt x="6706663" y="2278090"/>
                  <a:pt x="6742377" y="2278090"/>
                </a:cubicBezTo>
                <a:close/>
                <a:moveTo>
                  <a:pt x="6585804" y="2278090"/>
                </a:moveTo>
                <a:cubicBezTo>
                  <a:pt x="6621518" y="2278090"/>
                  <a:pt x="6650470" y="2307043"/>
                  <a:pt x="6650470" y="2342756"/>
                </a:cubicBezTo>
                <a:cubicBezTo>
                  <a:pt x="6650470" y="2378470"/>
                  <a:pt x="6621518" y="2407423"/>
                  <a:pt x="6585804" y="2407423"/>
                </a:cubicBezTo>
                <a:cubicBezTo>
                  <a:pt x="6550090" y="2407423"/>
                  <a:pt x="6521138" y="2378470"/>
                  <a:pt x="6521138" y="2342756"/>
                </a:cubicBezTo>
                <a:cubicBezTo>
                  <a:pt x="6521138" y="2307043"/>
                  <a:pt x="6550090" y="2278090"/>
                  <a:pt x="6585804" y="2278090"/>
                </a:cubicBezTo>
                <a:close/>
                <a:moveTo>
                  <a:pt x="6429231" y="2278090"/>
                </a:moveTo>
                <a:cubicBezTo>
                  <a:pt x="6464945" y="2278090"/>
                  <a:pt x="6493897" y="2307043"/>
                  <a:pt x="6493897" y="2342756"/>
                </a:cubicBezTo>
                <a:cubicBezTo>
                  <a:pt x="6493897" y="2378470"/>
                  <a:pt x="6464945" y="2407423"/>
                  <a:pt x="6429231" y="2407423"/>
                </a:cubicBezTo>
                <a:cubicBezTo>
                  <a:pt x="6393517" y="2407423"/>
                  <a:pt x="6364565" y="2378470"/>
                  <a:pt x="6364565" y="2342756"/>
                </a:cubicBezTo>
                <a:cubicBezTo>
                  <a:pt x="6364565" y="2307043"/>
                  <a:pt x="6393517" y="2278090"/>
                  <a:pt x="6429231" y="2278090"/>
                </a:cubicBezTo>
                <a:close/>
                <a:moveTo>
                  <a:pt x="6276571" y="2278090"/>
                </a:moveTo>
                <a:cubicBezTo>
                  <a:pt x="6312285" y="2278090"/>
                  <a:pt x="6341237" y="2307043"/>
                  <a:pt x="6341237" y="2342756"/>
                </a:cubicBezTo>
                <a:cubicBezTo>
                  <a:pt x="6341237" y="2378470"/>
                  <a:pt x="6312285" y="2407423"/>
                  <a:pt x="6276571" y="2407423"/>
                </a:cubicBezTo>
                <a:cubicBezTo>
                  <a:pt x="6240857" y="2407423"/>
                  <a:pt x="6211905" y="2378470"/>
                  <a:pt x="6211905" y="2342756"/>
                </a:cubicBezTo>
                <a:cubicBezTo>
                  <a:pt x="6211905" y="2307043"/>
                  <a:pt x="6240857" y="2278090"/>
                  <a:pt x="6276571" y="2278090"/>
                </a:cubicBezTo>
                <a:close/>
                <a:moveTo>
                  <a:pt x="6119999" y="2278090"/>
                </a:moveTo>
                <a:cubicBezTo>
                  <a:pt x="6155713" y="2278090"/>
                  <a:pt x="6184665" y="2307043"/>
                  <a:pt x="6184665" y="2342756"/>
                </a:cubicBezTo>
                <a:cubicBezTo>
                  <a:pt x="6184665" y="2378470"/>
                  <a:pt x="6155713" y="2407423"/>
                  <a:pt x="6119999" y="2407423"/>
                </a:cubicBezTo>
                <a:cubicBezTo>
                  <a:pt x="6084285" y="2407423"/>
                  <a:pt x="6055333" y="2378470"/>
                  <a:pt x="6055333" y="2342756"/>
                </a:cubicBezTo>
                <a:cubicBezTo>
                  <a:pt x="6055333" y="2307043"/>
                  <a:pt x="6084285" y="2278090"/>
                  <a:pt x="6119999" y="2278090"/>
                </a:cubicBezTo>
                <a:close/>
                <a:moveTo>
                  <a:pt x="5967339" y="2278090"/>
                </a:moveTo>
                <a:cubicBezTo>
                  <a:pt x="6003053" y="2278090"/>
                  <a:pt x="6032005" y="2307043"/>
                  <a:pt x="6032005" y="2342756"/>
                </a:cubicBezTo>
                <a:cubicBezTo>
                  <a:pt x="6032005" y="2378470"/>
                  <a:pt x="6003053" y="2407423"/>
                  <a:pt x="5967339" y="2407423"/>
                </a:cubicBezTo>
                <a:cubicBezTo>
                  <a:pt x="5931625" y="2407423"/>
                  <a:pt x="5902673" y="2378470"/>
                  <a:pt x="5902673" y="2342756"/>
                </a:cubicBezTo>
                <a:cubicBezTo>
                  <a:pt x="5902673" y="2307043"/>
                  <a:pt x="5931625" y="2278090"/>
                  <a:pt x="5967339" y="2278090"/>
                </a:cubicBezTo>
                <a:close/>
                <a:moveTo>
                  <a:pt x="5501540" y="2278090"/>
                </a:moveTo>
                <a:cubicBezTo>
                  <a:pt x="5537254" y="2278090"/>
                  <a:pt x="5566203" y="2307043"/>
                  <a:pt x="5566203" y="2342756"/>
                </a:cubicBezTo>
                <a:cubicBezTo>
                  <a:pt x="5566203" y="2378470"/>
                  <a:pt x="5537254" y="2407423"/>
                  <a:pt x="5501540" y="2407423"/>
                </a:cubicBezTo>
                <a:cubicBezTo>
                  <a:pt x="5465826" y="2407423"/>
                  <a:pt x="5436881" y="2378470"/>
                  <a:pt x="5436881" y="2342756"/>
                </a:cubicBezTo>
                <a:cubicBezTo>
                  <a:pt x="5436881" y="2307043"/>
                  <a:pt x="5465826" y="2278090"/>
                  <a:pt x="5501540" y="2278090"/>
                </a:cubicBezTo>
                <a:close/>
                <a:moveTo>
                  <a:pt x="5348888" y="2278090"/>
                </a:moveTo>
                <a:cubicBezTo>
                  <a:pt x="5384602" y="2278090"/>
                  <a:pt x="5413553" y="2307043"/>
                  <a:pt x="5413553" y="2342756"/>
                </a:cubicBezTo>
                <a:cubicBezTo>
                  <a:pt x="5413553" y="2378470"/>
                  <a:pt x="5384602" y="2407423"/>
                  <a:pt x="5348888" y="2407423"/>
                </a:cubicBezTo>
                <a:cubicBezTo>
                  <a:pt x="5313182" y="2407423"/>
                  <a:pt x="5284227" y="2378470"/>
                  <a:pt x="5284227" y="2342756"/>
                </a:cubicBezTo>
                <a:cubicBezTo>
                  <a:pt x="5284227" y="2307043"/>
                  <a:pt x="5313182" y="2278090"/>
                  <a:pt x="5348888" y="2278090"/>
                </a:cubicBezTo>
                <a:close/>
                <a:moveTo>
                  <a:pt x="5192318" y="2278090"/>
                </a:moveTo>
                <a:cubicBezTo>
                  <a:pt x="5228037" y="2278090"/>
                  <a:pt x="5256980" y="2307043"/>
                  <a:pt x="5256980" y="2342756"/>
                </a:cubicBezTo>
                <a:cubicBezTo>
                  <a:pt x="5256980" y="2378470"/>
                  <a:pt x="5228037" y="2407423"/>
                  <a:pt x="5192318" y="2407423"/>
                </a:cubicBezTo>
                <a:cubicBezTo>
                  <a:pt x="5156609" y="2407423"/>
                  <a:pt x="5127652" y="2378470"/>
                  <a:pt x="5127652" y="2342756"/>
                </a:cubicBezTo>
                <a:cubicBezTo>
                  <a:pt x="5127652" y="2307043"/>
                  <a:pt x="5156609" y="2278090"/>
                  <a:pt x="5192318" y="2278090"/>
                </a:cubicBezTo>
                <a:close/>
                <a:moveTo>
                  <a:pt x="3172598" y="2278090"/>
                </a:moveTo>
                <a:cubicBezTo>
                  <a:pt x="3208318" y="2278090"/>
                  <a:pt x="3237268" y="2307043"/>
                  <a:pt x="3237268" y="2342756"/>
                </a:cubicBezTo>
                <a:cubicBezTo>
                  <a:pt x="3237268" y="2378470"/>
                  <a:pt x="3208318" y="2407423"/>
                  <a:pt x="3172598" y="2407423"/>
                </a:cubicBezTo>
                <a:cubicBezTo>
                  <a:pt x="3136878" y="2407423"/>
                  <a:pt x="3107920" y="2378470"/>
                  <a:pt x="3107920" y="2342756"/>
                </a:cubicBezTo>
                <a:cubicBezTo>
                  <a:pt x="3107920" y="2307043"/>
                  <a:pt x="3136878" y="2278090"/>
                  <a:pt x="3172598" y="2278090"/>
                </a:cubicBezTo>
                <a:close/>
                <a:moveTo>
                  <a:pt x="3012091" y="2278090"/>
                </a:moveTo>
                <a:cubicBezTo>
                  <a:pt x="3047802" y="2278090"/>
                  <a:pt x="3076760" y="2307043"/>
                  <a:pt x="3076760" y="2342756"/>
                </a:cubicBezTo>
                <a:cubicBezTo>
                  <a:pt x="3076760" y="2378470"/>
                  <a:pt x="3047802" y="2407423"/>
                  <a:pt x="3012091" y="2407423"/>
                </a:cubicBezTo>
                <a:cubicBezTo>
                  <a:pt x="2976381" y="2407423"/>
                  <a:pt x="2947431" y="2378470"/>
                  <a:pt x="2947431" y="2342756"/>
                </a:cubicBezTo>
                <a:cubicBezTo>
                  <a:pt x="2947431" y="2307043"/>
                  <a:pt x="2976381" y="2278090"/>
                  <a:pt x="3012091" y="2278090"/>
                </a:cubicBezTo>
                <a:close/>
                <a:moveTo>
                  <a:pt x="2855533" y="2278090"/>
                </a:moveTo>
                <a:cubicBezTo>
                  <a:pt x="2891243" y="2278090"/>
                  <a:pt x="2920192" y="2307043"/>
                  <a:pt x="2920192" y="2342756"/>
                </a:cubicBezTo>
                <a:cubicBezTo>
                  <a:pt x="2920192" y="2378470"/>
                  <a:pt x="2891243" y="2407423"/>
                  <a:pt x="2855533" y="2407423"/>
                </a:cubicBezTo>
                <a:cubicBezTo>
                  <a:pt x="2819822" y="2407423"/>
                  <a:pt x="2790873" y="2378470"/>
                  <a:pt x="2790873" y="2342756"/>
                </a:cubicBezTo>
                <a:cubicBezTo>
                  <a:pt x="2790873" y="2307043"/>
                  <a:pt x="2819822" y="2278090"/>
                  <a:pt x="2855533" y="2278090"/>
                </a:cubicBezTo>
                <a:close/>
                <a:moveTo>
                  <a:pt x="2698976" y="2278090"/>
                </a:moveTo>
                <a:cubicBezTo>
                  <a:pt x="2734686" y="2278090"/>
                  <a:pt x="2763635" y="2307043"/>
                  <a:pt x="2763635" y="2342756"/>
                </a:cubicBezTo>
                <a:cubicBezTo>
                  <a:pt x="2763635" y="2378470"/>
                  <a:pt x="2734686" y="2407423"/>
                  <a:pt x="2698976" y="2407423"/>
                </a:cubicBezTo>
                <a:cubicBezTo>
                  <a:pt x="2663266" y="2407423"/>
                  <a:pt x="2634317" y="2378470"/>
                  <a:pt x="2634317" y="2342756"/>
                </a:cubicBezTo>
                <a:cubicBezTo>
                  <a:pt x="2634317" y="2307043"/>
                  <a:pt x="2663266" y="2278090"/>
                  <a:pt x="2698976" y="2278090"/>
                </a:cubicBezTo>
                <a:close/>
                <a:moveTo>
                  <a:pt x="2546333" y="2278090"/>
                </a:moveTo>
                <a:cubicBezTo>
                  <a:pt x="2582041" y="2278090"/>
                  <a:pt x="2610993" y="2307043"/>
                  <a:pt x="2610993" y="2342756"/>
                </a:cubicBezTo>
                <a:cubicBezTo>
                  <a:pt x="2610993" y="2378470"/>
                  <a:pt x="2582041" y="2407423"/>
                  <a:pt x="2546333" y="2407423"/>
                </a:cubicBezTo>
                <a:cubicBezTo>
                  <a:pt x="2510612" y="2407423"/>
                  <a:pt x="2481673" y="2378470"/>
                  <a:pt x="2481673" y="2342756"/>
                </a:cubicBezTo>
                <a:cubicBezTo>
                  <a:pt x="2481673" y="2307043"/>
                  <a:pt x="2510612" y="2278090"/>
                  <a:pt x="2546333" y="2278090"/>
                </a:cubicBezTo>
                <a:close/>
                <a:moveTo>
                  <a:pt x="2389761" y="2278090"/>
                </a:moveTo>
                <a:cubicBezTo>
                  <a:pt x="2425486" y="2278090"/>
                  <a:pt x="2454433" y="2307043"/>
                  <a:pt x="2454433" y="2342756"/>
                </a:cubicBezTo>
                <a:cubicBezTo>
                  <a:pt x="2454433" y="2378470"/>
                  <a:pt x="2425486" y="2407423"/>
                  <a:pt x="2389761" y="2407423"/>
                </a:cubicBezTo>
                <a:cubicBezTo>
                  <a:pt x="2354056" y="2407423"/>
                  <a:pt x="2325098" y="2378470"/>
                  <a:pt x="2325098" y="2342756"/>
                </a:cubicBezTo>
                <a:cubicBezTo>
                  <a:pt x="2325098" y="2307043"/>
                  <a:pt x="2354056" y="2278090"/>
                  <a:pt x="2389761" y="2278090"/>
                </a:cubicBezTo>
                <a:close/>
                <a:moveTo>
                  <a:pt x="2237087" y="2278090"/>
                </a:moveTo>
                <a:cubicBezTo>
                  <a:pt x="2272808" y="2278090"/>
                  <a:pt x="2301766" y="2307043"/>
                  <a:pt x="2301766" y="2342756"/>
                </a:cubicBezTo>
                <a:cubicBezTo>
                  <a:pt x="2301766" y="2378470"/>
                  <a:pt x="2272808" y="2407423"/>
                  <a:pt x="2237087" y="2407423"/>
                </a:cubicBezTo>
                <a:cubicBezTo>
                  <a:pt x="2201366" y="2407423"/>
                  <a:pt x="2172408" y="2378470"/>
                  <a:pt x="2172408" y="2342756"/>
                </a:cubicBezTo>
                <a:cubicBezTo>
                  <a:pt x="2172408" y="2307043"/>
                  <a:pt x="2201366" y="2278090"/>
                  <a:pt x="2237087" y="2278090"/>
                </a:cubicBezTo>
                <a:close/>
                <a:moveTo>
                  <a:pt x="9850358" y="2137178"/>
                </a:moveTo>
                <a:cubicBezTo>
                  <a:pt x="9886072" y="2137178"/>
                  <a:pt x="9915024" y="2166130"/>
                  <a:pt x="9915024" y="2201844"/>
                </a:cubicBezTo>
                <a:cubicBezTo>
                  <a:pt x="9915024" y="2237558"/>
                  <a:pt x="9886072" y="2266510"/>
                  <a:pt x="9850358" y="2266510"/>
                </a:cubicBezTo>
                <a:cubicBezTo>
                  <a:pt x="9814644" y="2266510"/>
                  <a:pt x="9785692" y="2237558"/>
                  <a:pt x="9785692" y="2201844"/>
                </a:cubicBezTo>
                <a:cubicBezTo>
                  <a:pt x="9785692" y="2166130"/>
                  <a:pt x="9814644" y="2137178"/>
                  <a:pt x="9850358" y="2137178"/>
                </a:cubicBezTo>
                <a:close/>
                <a:moveTo>
                  <a:pt x="9693783" y="2137178"/>
                </a:moveTo>
                <a:cubicBezTo>
                  <a:pt x="9729497" y="2137178"/>
                  <a:pt x="9758449" y="2166130"/>
                  <a:pt x="9758449" y="2201844"/>
                </a:cubicBezTo>
                <a:cubicBezTo>
                  <a:pt x="9758449" y="2237558"/>
                  <a:pt x="9729497" y="2266510"/>
                  <a:pt x="9693783" y="2266510"/>
                </a:cubicBezTo>
                <a:cubicBezTo>
                  <a:pt x="9658069" y="2266510"/>
                  <a:pt x="9629117" y="2237558"/>
                  <a:pt x="9629117" y="2201844"/>
                </a:cubicBezTo>
                <a:cubicBezTo>
                  <a:pt x="9629117" y="2166130"/>
                  <a:pt x="9658069" y="2137178"/>
                  <a:pt x="9693783" y="2137178"/>
                </a:cubicBezTo>
                <a:close/>
                <a:moveTo>
                  <a:pt x="9541123" y="2137178"/>
                </a:moveTo>
                <a:cubicBezTo>
                  <a:pt x="9576837" y="2137178"/>
                  <a:pt x="9605789" y="2166130"/>
                  <a:pt x="9605789" y="2201844"/>
                </a:cubicBezTo>
                <a:cubicBezTo>
                  <a:pt x="9605789" y="2237558"/>
                  <a:pt x="9576837" y="2266510"/>
                  <a:pt x="9541123" y="2266510"/>
                </a:cubicBezTo>
                <a:cubicBezTo>
                  <a:pt x="9505409" y="2266510"/>
                  <a:pt x="9476457" y="2237558"/>
                  <a:pt x="9476457" y="2201844"/>
                </a:cubicBezTo>
                <a:cubicBezTo>
                  <a:pt x="9476457" y="2166130"/>
                  <a:pt x="9505409" y="2137178"/>
                  <a:pt x="9541123" y="2137178"/>
                </a:cubicBezTo>
                <a:close/>
                <a:moveTo>
                  <a:pt x="9384550" y="2137178"/>
                </a:moveTo>
                <a:cubicBezTo>
                  <a:pt x="9420264" y="2137178"/>
                  <a:pt x="9449216" y="2166130"/>
                  <a:pt x="9449216" y="2201844"/>
                </a:cubicBezTo>
                <a:cubicBezTo>
                  <a:pt x="9449216" y="2237558"/>
                  <a:pt x="9420264" y="2266510"/>
                  <a:pt x="9384550" y="2266510"/>
                </a:cubicBezTo>
                <a:cubicBezTo>
                  <a:pt x="9348836" y="2266510"/>
                  <a:pt x="9319884" y="2237558"/>
                  <a:pt x="9319884" y="2201844"/>
                </a:cubicBezTo>
                <a:cubicBezTo>
                  <a:pt x="9319884" y="2166130"/>
                  <a:pt x="9348836" y="2137178"/>
                  <a:pt x="9384550" y="2137178"/>
                </a:cubicBezTo>
                <a:close/>
                <a:moveTo>
                  <a:pt x="9227977" y="2137178"/>
                </a:moveTo>
                <a:cubicBezTo>
                  <a:pt x="9263691" y="2137178"/>
                  <a:pt x="9292643" y="2166130"/>
                  <a:pt x="9292643" y="2201844"/>
                </a:cubicBezTo>
                <a:cubicBezTo>
                  <a:pt x="9292643" y="2237558"/>
                  <a:pt x="9263691" y="2266510"/>
                  <a:pt x="9227977" y="2266510"/>
                </a:cubicBezTo>
                <a:cubicBezTo>
                  <a:pt x="9192263" y="2266510"/>
                  <a:pt x="9163311" y="2237558"/>
                  <a:pt x="9163311" y="2201844"/>
                </a:cubicBezTo>
                <a:cubicBezTo>
                  <a:pt x="9163311" y="2166130"/>
                  <a:pt x="9192263" y="2137178"/>
                  <a:pt x="9227977" y="2137178"/>
                </a:cubicBezTo>
                <a:close/>
                <a:moveTo>
                  <a:pt x="9075319" y="2137178"/>
                </a:moveTo>
                <a:cubicBezTo>
                  <a:pt x="9111033" y="2137178"/>
                  <a:pt x="9139985" y="2166130"/>
                  <a:pt x="9139985" y="2201844"/>
                </a:cubicBezTo>
                <a:cubicBezTo>
                  <a:pt x="9139985" y="2237558"/>
                  <a:pt x="9111033" y="2266510"/>
                  <a:pt x="9075319" y="2266510"/>
                </a:cubicBezTo>
                <a:cubicBezTo>
                  <a:pt x="9039605" y="2266510"/>
                  <a:pt x="9010653" y="2237558"/>
                  <a:pt x="9010653" y="2201844"/>
                </a:cubicBezTo>
                <a:cubicBezTo>
                  <a:pt x="9010653" y="2166130"/>
                  <a:pt x="9039605" y="2137178"/>
                  <a:pt x="9075319" y="2137178"/>
                </a:cubicBezTo>
                <a:close/>
                <a:moveTo>
                  <a:pt x="8914831" y="2137178"/>
                </a:moveTo>
                <a:cubicBezTo>
                  <a:pt x="8950545" y="2137178"/>
                  <a:pt x="8979497" y="2166130"/>
                  <a:pt x="8979497" y="2201844"/>
                </a:cubicBezTo>
                <a:cubicBezTo>
                  <a:pt x="8979497" y="2237558"/>
                  <a:pt x="8950545" y="2266510"/>
                  <a:pt x="8914831" y="2266510"/>
                </a:cubicBezTo>
                <a:cubicBezTo>
                  <a:pt x="8879117" y="2266510"/>
                  <a:pt x="8850165" y="2237558"/>
                  <a:pt x="8850165" y="2201844"/>
                </a:cubicBezTo>
                <a:cubicBezTo>
                  <a:pt x="8850165" y="2166130"/>
                  <a:pt x="8879117" y="2137178"/>
                  <a:pt x="8914831" y="2137178"/>
                </a:cubicBezTo>
                <a:close/>
                <a:moveTo>
                  <a:pt x="8766086" y="2137178"/>
                </a:moveTo>
                <a:cubicBezTo>
                  <a:pt x="8801800" y="2137178"/>
                  <a:pt x="8830752" y="2166130"/>
                  <a:pt x="8830752" y="2201844"/>
                </a:cubicBezTo>
                <a:cubicBezTo>
                  <a:pt x="8830752" y="2237558"/>
                  <a:pt x="8801800" y="2266510"/>
                  <a:pt x="8766086" y="2266510"/>
                </a:cubicBezTo>
                <a:cubicBezTo>
                  <a:pt x="8730372" y="2266510"/>
                  <a:pt x="8701420" y="2237558"/>
                  <a:pt x="8701420" y="2201844"/>
                </a:cubicBezTo>
                <a:cubicBezTo>
                  <a:pt x="8701420" y="2166130"/>
                  <a:pt x="8730372" y="2137178"/>
                  <a:pt x="8766086" y="2137178"/>
                </a:cubicBezTo>
                <a:close/>
                <a:moveTo>
                  <a:pt x="8601685" y="2137178"/>
                </a:moveTo>
                <a:cubicBezTo>
                  <a:pt x="8637399" y="2137178"/>
                  <a:pt x="8666351" y="2166130"/>
                  <a:pt x="8666351" y="2201844"/>
                </a:cubicBezTo>
                <a:cubicBezTo>
                  <a:pt x="8666351" y="2237558"/>
                  <a:pt x="8637399" y="2266510"/>
                  <a:pt x="8601685" y="2266510"/>
                </a:cubicBezTo>
                <a:cubicBezTo>
                  <a:pt x="8565971" y="2266510"/>
                  <a:pt x="8537019" y="2237558"/>
                  <a:pt x="8537019" y="2201844"/>
                </a:cubicBezTo>
                <a:cubicBezTo>
                  <a:pt x="8537019" y="2166130"/>
                  <a:pt x="8565971" y="2137178"/>
                  <a:pt x="8601685" y="2137178"/>
                </a:cubicBezTo>
                <a:close/>
                <a:moveTo>
                  <a:pt x="8449025" y="2137178"/>
                </a:moveTo>
                <a:cubicBezTo>
                  <a:pt x="8484739" y="2137178"/>
                  <a:pt x="8513691" y="2166130"/>
                  <a:pt x="8513691" y="2201844"/>
                </a:cubicBezTo>
                <a:cubicBezTo>
                  <a:pt x="8513691" y="2237558"/>
                  <a:pt x="8484739" y="2266510"/>
                  <a:pt x="8449025" y="2266510"/>
                </a:cubicBezTo>
                <a:cubicBezTo>
                  <a:pt x="8413311" y="2266510"/>
                  <a:pt x="8384359" y="2237558"/>
                  <a:pt x="8384359" y="2201844"/>
                </a:cubicBezTo>
                <a:cubicBezTo>
                  <a:pt x="8384359" y="2166130"/>
                  <a:pt x="8413311" y="2137178"/>
                  <a:pt x="8449025" y="2137178"/>
                </a:cubicBezTo>
                <a:close/>
                <a:moveTo>
                  <a:pt x="8296368" y="2137178"/>
                </a:moveTo>
                <a:cubicBezTo>
                  <a:pt x="8332082" y="2137178"/>
                  <a:pt x="8361034" y="2166130"/>
                  <a:pt x="8361034" y="2201844"/>
                </a:cubicBezTo>
                <a:cubicBezTo>
                  <a:pt x="8361034" y="2237558"/>
                  <a:pt x="8332082" y="2266510"/>
                  <a:pt x="8296368" y="2266510"/>
                </a:cubicBezTo>
                <a:cubicBezTo>
                  <a:pt x="8260654" y="2266510"/>
                  <a:pt x="8231702" y="2237558"/>
                  <a:pt x="8231702" y="2201844"/>
                </a:cubicBezTo>
                <a:cubicBezTo>
                  <a:pt x="8231702" y="2166130"/>
                  <a:pt x="8260654" y="2137178"/>
                  <a:pt x="8296368" y="2137178"/>
                </a:cubicBezTo>
                <a:close/>
                <a:moveTo>
                  <a:pt x="8139793" y="2137178"/>
                </a:moveTo>
                <a:cubicBezTo>
                  <a:pt x="8175507" y="2137178"/>
                  <a:pt x="8204459" y="2166130"/>
                  <a:pt x="8204459" y="2201844"/>
                </a:cubicBezTo>
                <a:cubicBezTo>
                  <a:pt x="8204459" y="2237558"/>
                  <a:pt x="8175507" y="2266510"/>
                  <a:pt x="8139793" y="2266510"/>
                </a:cubicBezTo>
                <a:cubicBezTo>
                  <a:pt x="8104079" y="2266510"/>
                  <a:pt x="8075127" y="2237558"/>
                  <a:pt x="8075127" y="2201844"/>
                </a:cubicBezTo>
                <a:cubicBezTo>
                  <a:pt x="8075127" y="2166130"/>
                  <a:pt x="8104079" y="2137178"/>
                  <a:pt x="8139793" y="2137178"/>
                </a:cubicBezTo>
                <a:close/>
                <a:moveTo>
                  <a:pt x="7987133" y="2137178"/>
                </a:moveTo>
                <a:cubicBezTo>
                  <a:pt x="8022847" y="2137178"/>
                  <a:pt x="8051799" y="2166130"/>
                  <a:pt x="8051799" y="2201844"/>
                </a:cubicBezTo>
                <a:cubicBezTo>
                  <a:pt x="8051799" y="2237558"/>
                  <a:pt x="8022847" y="2266510"/>
                  <a:pt x="7987133" y="2266510"/>
                </a:cubicBezTo>
                <a:cubicBezTo>
                  <a:pt x="7951419" y="2266510"/>
                  <a:pt x="7922467" y="2237558"/>
                  <a:pt x="7922467" y="2201844"/>
                </a:cubicBezTo>
                <a:cubicBezTo>
                  <a:pt x="7922467" y="2166130"/>
                  <a:pt x="7951419" y="2137178"/>
                  <a:pt x="7987133" y="2137178"/>
                </a:cubicBezTo>
                <a:close/>
                <a:moveTo>
                  <a:pt x="7830562" y="2137178"/>
                </a:moveTo>
                <a:cubicBezTo>
                  <a:pt x="7866276" y="2137178"/>
                  <a:pt x="7895228" y="2166130"/>
                  <a:pt x="7895228" y="2201844"/>
                </a:cubicBezTo>
                <a:cubicBezTo>
                  <a:pt x="7895228" y="2237558"/>
                  <a:pt x="7866276" y="2266510"/>
                  <a:pt x="7830562" y="2266510"/>
                </a:cubicBezTo>
                <a:cubicBezTo>
                  <a:pt x="7794848" y="2266510"/>
                  <a:pt x="7765896" y="2237558"/>
                  <a:pt x="7765896" y="2201844"/>
                </a:cubicBezTo>
                <a:cubicBezTo>
                  <a:pt x="7765896" y="2166130"/>
                  <a:pt x="7794848" y="2137178"/>
                  <a:pt x="7830562" y="2137178"/>
                </a:cubicBezTo>
                <a:close/>
                <a:moveTo>
                  <a:pt x="7677904" y="2137178"/>
                </a:moveTo>
                <a:cubicBezTo>
                  <a:pt x="7713618" y="2137178"/>
                  <a:pt x="7742570" y="2166130"/>
                  <a:pt x="7742570" y="2201844"/>
                </a:cubicBezTo>
                <a:cubicBezTo>
                  <a:pt x="7742570" y="2237558"/>
                  <a:pt x="7713618" y="2266510"/>
                  <a:pt x="7677904" y="2266510"/>
                </a:cubicBezTo>
                <a:cubicBezTo>
                  <a:pt x="7642190" y="2266510"/>
                  <a:pt x="7613238" y="2237558"/>
                  <a:pt x="7613238" y="2201844"/>
                </a:cubicBezTo>
                <a:cubicBezTo>
                  <a:pt x="7613238" y="2166130"/>
                  <a:pt x="7642190" y="2137178"/>
                  <a:pt x="7677904" y="2137178"/>
                </a:cubicBezTo>
                <a:close/>
                <a:moveTo>
                  <a:pt x="7368669" y="2137178"/>
                </a:moveTo>
                <a:cubicBezTo>
                  <a:pt x="7404383" y="2137178"/>
                  <a:pt x="7433335" y="2166130"/>
                  <a:pt x="7433335" y="2201844"/>
                </a:cubicBezTo>
                <a:cubicBezTo>
                  <a:pt x="7433335" y="2237558"/>
                  <a:pt x="7404383" y="2266510"/>
                  <a:pt x="7368669" y="2266510"/>
                </a:cubicBezTo>
                <a:cubicBezTo>
                  <a:pt x="7332955" y="2266510"/>
                  <a:pt x="7304003" y="2237558"/>
                  <a:pt x="7304003" y="2201844"/>
                </a:cubicBezTo>
                <a:cubicBezTo>
                  <a:pt x="7304003" y="2166130"/>
                  <a:pt x="7332955" y="2137178"/>
                  <a:pt x="7368669" y="2137178"/>
                </a:cubicBezTo>
                <a:close/>
                <a:moveTo>
                  <a:pt x="7212096" y="2137178"/>
                </a:moveTo>
                <a:cubicBezTo>
                  <a:pt x="7247810" y="2137178"/>
                  <a:pt x="7276762" y="2166130"/>
                  <a:pt x="7276762" y="2201844"/>
                </a:cubicBezTo>
                <a:cubicBezTo>
                  <a:pt x="7276762" y="2237558"/>
                  <a:pt x="7247810" y="2266510"/>
                  <a:pt x="7212096" y="2266510"/>
                </a:cubicBezTo>
                <a:cubicBezTo>
                  <a:pt x="7176382" y="2266510"/>
                  <a:pt x="7147430" y="2237558"/>
                  <a:pt x="7147430" y="2201844"/>
                </a:cubicBezTo>
                <a:cubicBezTo>
                  <a:pt x="7147430" y="2166130"/>
                  <a:pt x="7176382" y="2137178"/>
                  <a:pt x="7212096" y="2137178"/>
                </a:cubicBezTo>
                <a:close/>
                <a:moveTo>
                  <a:pt x="7055523" y="2137178"/>
                </a:moveTo>
                <a:cubicBezTo>
                  <a:pt x="7091237" y="2137178"/>
                  <a:pt x="7120189" y="2166130"/>
                  <a:pt x="7120189" y="2201844"/>
                </a:cubicBezTo>
                <a:cubicBezTo>
                  <a:pt x="7120189" y="2237558"/>
                  <a:pt x="7091237" y="2266510"/>
                  <a:pt x="7055523" y="2266510"/>
                </a:cubicBezTo>
                <a:cubicBezTo>
                  <a:pt x="7019809" y="2266510"/>
                  <a:pt x="6990857" y="2237558"/>
                  <a:pt x="6990857" y="2201844"/>
                </a:cubicBezTo>
                <a:cubicBezTo>
                  <a:pt x="6990857" y="2166130"/>
                  <a:pt x="7019809" y="2137178"/>
                  <a:pt x="7055523" y="2137178"/>
                </a:cubicBezTo>
                <a:close/>
                <a:moveTo>
                  <a:pt x="6895037" y="2137178"/>
                </a:moveTo>
                <a:cubicBezTo>
                  <a:pt x="6930751" y="2137178"/>
                  <a:pt x="6959703" y="2166130"/>
                  <a:pt x="6959703" y="2201844"/>
                </a:cubicBezTo>
                <a:cubicBezTo>
                  <a:pt x="6959703" y="2237558"/>
                  <a:pt x="6930751" y="2266510"/>
                  <a:pt x="6895037" y="2266510"/>
                </a:cubicBezTo>
                <a:cubicBezTo>
                  <a:pt x="6859323" y="2266510"/>
                  <a:pt x="6830371" y="2237558"/>
                  <a:pt x="6830371" y="2201844"/>
                </a:cubicBezTo>
                <a:cubicBezTo>
                  <a:pt x="6830371" y="2166130"/>
                  <a:pt x="6859323" y="2137178"/>
                  <a:pt x="6895037" y="2137178"/>
                </a:cubicBezTo>
                <a:close/>
                <a:moveTo>
                  <a:pt x="6742377" y="2137178"/>
                </a:moveTo>
                <a:cubicBezTo>
                  <a:pt x="6778091" y="2137178"/>
                  <a:pt x="6807043" y="2166130"/>
                  <a:pt x="6807043" y="2201844"/>
                </a:cubicBezTo>
                <a:cubicBezTo>
                  <a:pt x="6807043" y="2237558"/>
                  <a:pt x="6778091" y="2266510"/>
                  <a:pt x="6742377" y="2266510"/>
                </a:cubicBezTo>
                <a:cubicBezTo>
                  <a:pt x="6706663" y="2266510"/>
                  <a:pt x="6677711" y="2237558"/>
                  <a:pt x="6677711" y="2201844"/>
                </a:cubicBezTo>
                <a:cubicBezTo>
                  <a:pt x="6677711" y="2166130"/>
                  <a:pt x="6706663" y="2137178"/>
                  <a:pt x="6742377" y="2137178"/>
                </a:cubicBezTo>
                <a:close/>
                <a:moveTo>
                  <a:pt x="6429231" y="2137178"/>
                </a:moveTo>
                <a:cubicBezTo>
                  <a:pt x="6464945" y="2137178"/>
                  <a:pt x="6493897" y="2166130"/>
                  <a:pt x="6493897" y="2201844"/>
                </a:cubicBezTo>
                <a:cubicBezTo>
                  <a:pt x="6493897" y="2237558"/>
                  <a:pt x="6464945" y="2266510"/>
                  <a:pt x="6429231" y="2266510"/>
                </a:cubicBezTo>
                <a:cubicBezTo>
                  <a:pt x="6393517" y="2266510"/>
                  <a:pt x="6364565" y="2237558"/>
                  <a:pt x="6364565" y="2201844"/>
                </a:cubicBezTo>
                <a:cubicBezTo>
                  <a:pt x="6364565" y="2166130"/>
                  <a:pt x="6393517" y="2137178"/>
                  <a:pt x="6429231" y="2137178"/>
                </a:cubicBezTo>
                <a:close/>
                <a:moveTo>
                  <a:pt x="6276571" y="2137178"/>
                </a:moveTo>
                <a:cubicBezTo>
                  <a:pt x="6312285" y="2137178"/>
                  <a:pt x="6341237" y="2166130"/>
                  <a:pt x="6341237" y="2201844"/>
                </a:cubicBezTo>
                <a:cubicBezTo>
                  <a:pt x="6341237" y="2237558"/>
                  <a:pt x="6312285" y="2266510"/>
                  <a:pt x="6276571" y="2266510"/>
                </a:cubicBezTo>
                <a:cubicBezTo>
                  <a:pt x="6240857" y="2266510"/>
                  <a:pt x="6211905" y="2237558"/>
                  <a:pt x="6211905" y="2201844"/>
                </a:cubicBezTo>
                <a:cubicBezTo>
                  <a:pt x="6211905" y="2166130"/>
                  <a:pt x="6240857" y="2137178"/>
                  <a:pt x="6276571" y="2137178"/>
                </a:cubicBezTo>
                <a:close/>
                <a:moveTo>
                  <a:pt x="6119999" y="2137178"/>
                </a:moveTo>
                <a:cubicBezTo>
                  <a:pt x="6155713" y="2137178"/>
                  <a:pt x="6184665" y="2166130"/>
                  <a:pt x="6184665" y="2201844"/>
                </a:cubicBezTo>
                <a:cubicBezTo>
                  <a:pt x="6184665" y="2237558"/>
                  <a:pt x="6155713" y="2266510"/>
                  <a:pt x="6119999" y="2266510"/>
                </a:cubicBezTo>
                <a:cubicBezTo>
                  <a:pt x="6084285" y="2266510"/>
                  <a:pt x="6055333" y="2237558"/>
                  <a:pt x="6055333" y="2201844"/>
                </a:cubicBezTo>
                <a:cubicBezTo>
                  <a:pt x="6055333" y="2166130"/>
                  <a:pt x="6084285" y="2137178"/>
                  <a:pt x="6119999" y="2137178"/>
                </a:cubicBezTo>
                <a:close/>
                <a:moveTo>
                  <a:pt x="5967339" y="2137178"/>
                </a:moveTo>
                <a:cubicBezTo>
                  <a:pt x="6003053" y="2137178"/>
                  <a:pt x="6032005" y="2166130"/>
                  <a:pt x="6032005" y="2201844"/>
                </a:cubicBezTo>
                <a:cubicBezTo>
                  <a:pt x="6032005" y="2237558"/>
                  <a:pt x="6003053" y="2266510"/>
                  <a:pt x="5967339" y="2266510"/>
                </a:cubicBezTo>
                <a:cubicBezTo>
                  <a:pt x="5931625" y="2266510"/>
                  <a:pt x="5902673" y="2237558"/>
                  <a:pt x="5902673" y="2201844"/>
                </a:cubicBezTo>
                <a:cubicBezTo>
                  <a:pt x="5902673" y="2166130"/>
                  <a:pt x="5931625" y="2137178"/>
                  <a:pt x="5967339" y="2137178"/>
                </a:cubicBezTo>
                <a:close/>
                <a:moveTo>
                  <a:pt x="5810794" y="2137178"/>
                </a:moveTo>
                <a:cubicBezTo>
                  <a:pt x="5846480" y="2137178"/>
                  <a:pt x="5875432" y="2166130"/>
                  <a:pt x="5875432" y="2201844"/>
                </a:cubicBezTo>
                <a:cubicBezTo>
                  <a:pt x="5875432" y="2237558"/>
                  <a:pt x="5846480" y="2266510"/>
                  <a:pt x="5810794" y="2266510"/>
                </a:cubicBezTo>
                <a:cubicBezTo>
                  <a:pt x="5775072" y="2266510"/>
                  <a:pt x="5746114" y="2237558"/>
                  <a:pt x="5746114" y="2201844"/>
                </a:cubicBezTo>
                <a:cubicBezTo>
                  <a:pt x="5746114" y="2166130"/>
                  <a:pt x="5775072" y="2137178"/>
                  <a:pt x="5810794" y="2137178"/>
                </a:cubicBezTo>
                <a:close/>
                <a:moveTo>
                  <a:pt x="5658108" y="2137178"/>
                </a:moveTo>
                <a:cubicBezTo>
                  <a:pt x="5693823" y="2137178"/>
                  <a:pt x="5722781" y="2166130"/>
                  <a:pt x="5722781" y="2201844"/>
                </a:cubicBezTo>
                <a:cubicBezTo>
                  <a:pt x="5722781" y="2237558"/>
                  <a:pt x="5693823" y="2266510"/>
                  <a:pt x="5658108" y="2266510"/>
                </a:cubicBezTo>
                <a:cubicBezTo>
                  <a:pt x="5622396" y="2266510"/>
                  <a:pt x="5593441" y="2237558"/>
                  <a:pt x="5593441" y="2201844"/>
                </a:cubicBezTo>
                <a:cubicBezTo>
                  <a:pt x="5593441" y="2166130"/>
                  <a:pt x="5622396" y="2137178"/>
                  <a:pt x="5658108" y="2137178"/>
                </a:cubicBezTo>
                <a:close/>
                <a:moveTo>
                  <a:pt x="5501540" y="2137178"/>
                </a:moveTo>
                <a:cubicBezTo>
                  <a:pt x="5537254" y="2137178"/>
                  <a:pt x="5566204" y="2166130"/>
                  <a:pt x="5566204" y="2201844"/>
                </a:cubicBezTo>
                <a:cubicBezTo>
                  <a:pt x="5566204" y="2237558"/>
                  <a:pt x="5537254" y="2266510"/>
                  <a:pt x="5501540" y="2266510"/>
                </a:cubicBezTo>
                <a:cubicBezTo>
                  <a:pt x="5465826" y="2266510"/>
                  <a:pt x="5436883" y="2237558"/>
                  <a:pt x="5436883" y="2201844"/>
                </a:cubicBezTo>
                <a:cubicBezTo>
                  <a:pt x="5436883" y="2166130"/>
                  <a:pt x="5465826" y="2137178"/>
                  <a:pt x="5501540" y="2137178"/>
                </a:cubicBezTo>
                <a:close/>
                <a:moveTo>
                  <a:pt x="3321359" y="2137178"/>
                </a:moveTo>
                <a:cubicBezTo>
                  <a:pt x="3357071" y="2137178"/>
                  <a:pt x="3386011" y="2166130"/>
                  <a:pt x="3386011" y="2201844"/>
                </a:cubicBezTo>
                <a:cubicBezTo>
                  <a:pt x="3386011" y="2237558"/>
                  <a:pt x="3357071" y="2266510"/>
                  <a:pt x="3321359" y="2266510"/>
                </a:cubicBezTo>
                <a:cubicBezTo>
                  <a:pt x="3285638" y="2266510"/>
                  <a:pt x="3256695" y="2237558"/>
                  <a:pt x="3256695" y="2201844"/>
                </a:cubicBezTo>
                <a:cubicBezTo>
                  <a:pt x="3256695" y="2166130"/>
                  <a:pt x="3285638" y="2137178"/>
                  <a:pt x="3321359" y="2137178"/>
                </a:cubicBezTo>
                <a:close/>
                <a:moveTo>
                  <a:pt x="3172606" y="2137178"/>
                </a:moveTo>
                <a:cubicBezTo>
                  <a:pt x="3208327" y="2137178"/>
                  <a:pt x="3237278" y="2166130"/>
                  <a:pt x="3237278" y="2201844"/>
                </a:cubicBezTo>
                <a:cubicBezTo>
                  <a:pt x="3237278" y="2237558"/>
                  <a:pt x="3208327" y="2266510"/>
                  <a:pt x="3172606" y="2266510"/>
                </a:cubicBezTo>
                <a:cubicBezTo>
                  <a:pt x="3136884" y="2266510"/>
                  <a:pt x="3107925" y="2237558"/>
                  <a:pt x="3107925" y="2201844"/>
                </a:cubicBezTo>
                <a:cubicBezTo>
                  <a:pt x="3107925" y="2166130"/>
                  <a:pt x="3136884" y="2137178"/>
                  <a:pt x="3172606" y="2137178"/>
                </a:cubicBezTo>
                <a:close/>
                <a:moveTo>
                  <a:pt x="3012096" y="2137178"/>
                </a:moveTo>
                <a:cubicBezTo>
                  <a:pt x="3047807" y="2137178"/>
                  <a:pt x="3076765" y="2166130"/>
                  <a:pt x="3076765" y="2201844"/>
                </a:cubicBezTo>
                <a:cubicBezTo>
                  <a:pt x="3076765" y="2237558"/>
                  <a:pt x="3047807" y="2266510"/>
                  <a:pt x="3012096" y="2266510"/>
                </a:cubicBezTo>
                <a:cubicBezTo>
                  <a:pt x="2976386" y="2266510"/>
                  <a:pt x="2947438" y="2237558"/>
                  <a:pt x="2947438" y="2201844"/>
                </a:cubicBezTo>
                <a:cubicBezTo>
                  <a:pt x="2947438" y="2166130"/>
                  <a:pt x="2976386" y="2137178"/>
                  <a:pt x="3012096" y="2137178"/>
                </a:cubicBezTo>
                <a:close/>
                <a:moveTo>
                  <a:pt x="2855539" y="2137178"/>
                </a:moveTo>
                <a:cubicBezTo>
                  <a:pt x="2891249" y="2137178"/>
                  <a:pt x="2920198" y="2166130"/>
                  <a:pt x="2920198" y="2201844"/>
                </a:cubicBezTo>
                <a:cubicBezTo>
                  <a:pt x="2920198" y="2237558"/>
                  <a:pt x="2891249" y="2266510"/>
                  <a:pt x="2855539" y="2266510"/>
                </a:cubicBezTo>
                <a:cubicBezTo>
                  <a:pt x="2819829" y="2266510"/>
                  <a:pt x="2790880" y="2237558"/>
                  <a:pt x="2790880" y="2201844"/>
                </a:cubicBezTo>
                <a:cubicBezTo>
                  <a:pt x="2790880" y="2166130"/>
                  <a:pt x="2819829" y="2137178"/>
                  <a:pt x="2855539" y="2137178"/>
                </a:cubicBezTo>
                <a:close/>
                <a:moveTo>
                  <a:pt x="2698983" y="2137178"/>
                </a:moveTo>
                <a:cubicBezTo>
                  <a:pt x="2734694" y="2137178"/>
                  <a:pt x="2763642" y="2166130"/>
                  <a:pt x="2763642" y="2201844"/>
                </a:cubicBezTo>
                <a:cubicBezTo>
                  <a:pt x="2763642" y="2237558"/>
                  <a:pt x="2734694" y="2266510"/>
                  <a:pt x="2698983" y="2266510"/>
                </a:cubicBezTo>
                <a:cubicBezTo>
                  <a:pt x="2663274" y="2266510"/>
                  <a:pt x="2634325" y="2237558"/>
                  <a:pt x="2634325" y="2201844"/>
                </a:cubicBezTo>
                <a:cubicBezTo>
                  <a:pt x="2634325" y="2166130"/>
                  <a:pt x="2663274" y="2137178"/>
                  <a:pt x="2698983" y="2137178"/>
                </a:cubicBezTo>
                <a:close/>
                <a:moveTo>
                  <a:pt x="2546341" y="2137178"/>
                </a:moveTo>
                <a:cubicBezTo>
                  <a:pt x="2582052" y="2137178"/>
                  <a:pt x="2611002" y="2166130"/>
                  <a:pt x="2611002" y="2201844"/>
                </a:cubicBezTo>
                <a:cubicBezTo>
                  <a:pt x="2611002" y="2237558"/>
                  <a:pt x="2582052" y="2266510"/>
                  <a:pt x="2546341" y="2266510"/>
                </a:cubicBezTo>
                <a:cubicBezTo>
                  <a:pt x="2510621" y="2266510"/>
                  <a:pt x="2481681" y="2237558"/>
                  <a:pt x="2481681" y="2201844"/>
                </a:cubicBezTo>
                <a:cubicBezTo>
                  <a:pt x="2481681" y="2166130"/>
                  <a:pt x="2510621" y="2137178"/>
                  <a:pt x="2546341" y="2137178"/>
                </a:cubicBezTo>
                <a:close/>
                <a:moveTo>
                  <a:pt x="2389761" y="2137178"/>
                </a:moveTo>
                <a:cubicBezTo>
                  <a:pt x="2425494" y="2137178"/>
                  <a:pt x="2454444" y="2166130"/>
                  <a:pt x="2454444" y="2201844"/>
                </a:cubicBezTo>
                <a:cubicBezTo>
                  <a:pt x="2454444" y="2237558"/>
                  <a:pt x="2425494" y="2266510"/>
                  <a:pt x="2389761" y="2266510"/>
                </a:cubicBezTo>
                <a:cubicBezTo>
                  <a:pt x="2354065" y="2266510"/>
                  <a:pt x="2325107" y="2237558"/>
                  <a:pt x="2325107" y="2201844"/>
                </a:cubicBezTo>
                <a:cubicBezTo>
                  <a:pt x="2325107" y="2166130"/>
                  <a:pt x="2354065" y="2137178"/>
                  <a:pt x="2389761" y="2137178"/>
                </a:cubicBezTo>
                <a:close/>
                <a:moveTo>
                  <a:pt x="2237094" y="2137178"/>
                </a:moveTo>
                <a:cubicBezTo>
                  <a:pt x="2272816" y="2137178"/>
                  <a:pt x="2301774" y="2166130"/>
                  <a:pt x="2301774" y="2201844"/>
                </a:cubicBezTo>
                <a:cubicBezTo>
                  <a:pt x="2301774" y="2237558"/>
                  <a:pt x="2272816" y="2266510"/>
                  <a:pt x="2237094" y="2266510"/>
                </a:cubicBezTo>
                <a:cubicBezTo>
                  <a:pt x="2201372" y="2266510"/>
                  <a:pt x="2172414" y="2237558"/>
                  <a:pt x="2172414" y="2201844"/>
                </a:cubicBezTo>
                <a:cubicBezTo>
                  <a:pt x="2172414" y="2166130"/>
                  <a:pt x="2201372" y="2137178"/>
                  <a:pt x="2237094" y="2137178"/>
                </a:cubicBezTo>
                <a:close/>
                <a:moveTo>
                  <a:pt x="2084416" y="2137178"/>
                </a:moveTo>
                <a:cubicBezTo>
                  <a:pt x="2120132" y="2137178"/>
                  <a:pt x="2149082" y="2166130"/>
                  <a:pt x="2149082" y="2201844"/>
                </a:cubicBezTo>
                <a:cubicBezTo>
                  <a:pt x="2149082" y="2237558"/>
                  <a:pt x="2120132" y="2266510"/>
                  <a:pt x="2084416" y="2266510"/>
                </a:cubicBezTo>
                <a:cubicBezTo>
                  <a:pt x="2048693" y="2266510"/>
                  <a:pt x="2019767" y="2237558"/>
                  <a:pt x="2019767" y="2201844"/>
                </a:cubicBezTo>
                <a:cubicBezTo>
                  <a:pt x="2019767" y="2166130"/>
                  <a:pt x="2048693" y="2137178"/>
                  <a:pt x="2084416" y="2137178"/>
                </a:cubicBezTo>
                <a:close/>
                <a:moveTo>
                  <a:pt x="1927830" y="2137178"/>
                </a:moveTo>
                <a:cubicBezTo>
                  <a:pt x="1963544" y="2137178"/>
                  <a:pt x="1992519" y="2166130"/>
                  <a:pt x="1992519" y="2201844"/>
                </a:cubicBezTo>
                <a:cubicBezTo>
                  <a:pt x="1992519" y="2237558"/>
                  <a:pt x="1963544" y="2266510"/>
                  <a:pt x="1927830" y="2266510"/>
                </a:cubicBezTo>
                <a:cubicBezTo>
                  <a:pt x="1892146" y="2266510"/>
                  <a:pt x="1863193" y="2237558"/>
                  <a:pt x="1863193" y="2201844"/>
                </a:cubicBezTo>
                <a:cubicBezTo>
                  <a:pt x="1863193" y="2166130"/>
                  <a:pt x="1892146" y="2137178"/>
                  <a:pt x="1927830" y="2137178"/>
                </a:cubicBezTo>
                <a:close/>
                <a:moveTo>
                  <a:pt x="1775186" y="2137178"/>
                </a:moveTo>
                <a:cubicBezTo>
                  <a:pt x="1810892" y="2137178"/>
                  <a:pt x="1839865" y="2166130"/>
                  <a:pt x="1839865" y="2201844"/>
                </a:cubicBezTo>
                <a:cubicBezTo>
                  <a:pt x="1839865" y="2237558"/>
                  <a:pt x="1810892" y="2266510"/>
                  <a:pt x="1775186" y="2266510"/>
                </a:cubicBezTo>
                <a:cubicBezTo>
                  <a:pt x="1739466" y="2266510"/>
                  <a:pt x="1710516" y="2237558"/>
                  <a:pt x="1710516" y="2201844"/>
                </a:cubicBezTo>
                <a:cubicBezTo>
                  <a:pt x="1710516" y="2166130"/>
                  <a:pt x="1739466" y="2137178"/>
                  <a:pt x="1775186" y="2137178"/>
                </a:cubicBezTo>
                <a:close/>
                <a:moveTo>
                  <a:pt x="1618605" y="2137178"/>
                </a:moveTo>
                <a:cubicBezTo>
                  <a:pt x="1654322" y="2137178"/>
                  <a:pt x="1683274" y="2166130"/>
                  <a:pt x="1683274" y="2201844"/>
                </a:cubicBezTo>
                <a:cubicBezTo>
                  <a:pt x="1683274" y="2237558"/>
                  <a:pt x="1654322" y="2266510"/>
                  <a:pt x="1618605" y="2266510"/>
                </a:cubicBezTo>
                <a:cubicBezTo>
                  <a:pt x="1582893" y="2266510"/>
                  <a:pt x="1553941" y="2237558"/>
                  <a:pt x="1553941" y="2201844"/>
                </a:cubicBezTo>
                <a:cubicBezTo>
                  <a:pt x="1553941" y="2166130"/>
                  <a:pt x="1582893" y="2137178"/>
                  <a:pt x="1618605" y="2137178"/>
                </a:cubicBezTo>
                <a:close/>
                <a:moveTo>
                  <a:pt x="1465947" y="2137178"/>
                </a:moveTo>
                <a:cubicBezTo>
                  <a:pt x="1501661" y="2137178"/>
                  <a:pt x="1530613" y="2166130"/>
                  <a:pt x="1530613" y="2201844"/>
                </a:cubicBezTo>
                <a:cubicBezTo>
                  <a:pt x="1530613" y="2237558"/>
                  <a:pt x="1501661" y="2266510"/>
                  <a:pt x="1465947" y="2266510"/>
                </a:cubicBezTo>
                <a:cubicBezTo>
                  <a:pt x="1430233" y="2266510"/>
                  <a:pt x="1401283" y="2237558"/>
                  <a:pt x="1401283" y="2201844"/>
                </a:cubicBezTo>
                <a:cubicBezTo>
                  <a:pt x="1401283" y="2166130"/>
                  <a:pt x="1430233" y="2137178"/>
                  <a:pt x="1465947" y="2137178"/>
                </a:cubicBezTo>
                <a:close/>
                <a:moveTo>
                  <a:pt x="5348894" y="2137174"/>
                </a:moveTo>
                <a:cubicBezTo>
                  <a:pt x="5384609" y="2137174"/>
                  <a:pt x="5413562" y="2166127"/>
                  <a:pt x="5413562" y="2201840"/>
                </a:cubicBezTo>
                <a:cubicBezTo>
                  <a:pt x="5413562" y="2237555"/>
                  <a:pt x="5384609" y="2266507"/>
                  <a:pt x="5348894" y="2266507"/>
                </a:cubicBezTo>
                <a:cubicBezTo>
                  <a:pt x="5313199" y="2266507"/>
                  <a:pt x="5284237" y="2237555"/>
                  <a:pt x="5284237" y="2201840"/>
                </a:cubicBezTo>
                <a:cubicBezTo>
                  <a:pt x="5284237" y="2166127"/>
                  <a:pt x="5313199" y="2137174"/>
                  <a:pt x="5348894" y="2137174"/>
                </a:cubicBezTo>
                <a:close/>
                <a:moveTo>
                  <a:pt x="5192302" y="2137174"/>
                </a:moveTo>
                <a:cubicBezTo>
                  <a:pt x="5228016" y="2137174"/>
                  <a:pt x="5256968" y="2166126"/>
                  <a:pt x="5256968" y="2201840"/>
                </a:cubicBezTo>
                <a:cubicBezTo>
                  <a:pt x="5256968" y="2237554"/>
                  <a:pt x="5228016" y="2266506"/>
                  <a:pt x="5192302" y="2266506"/>
                </a:cubicBezTo>
                <a:cubicBezTo>
                  <a:pt x="5156588" y="2266506"/>
                  <a:pt x="5127636" y="2237554"/>
                  <a:pt x="5127636" y="2201840"/>
                </a:cubicBezTo>
                <a:cubicBezTo>
                  <a:pt x="5127636" y="2166126"/>
                  <a:pt x="5156588" y="2137174"/>
                  <a:pt x="5192302" y="2137174"/>
                </a:cubicBezTo>
                <a:close/>
                <a:moveTo>
                  <a:pt x="10312248" y="2000175"/>
                </a:moveTo>
                <a:cubicBezTo>
                  <a:pt x="10347962" y="2000175"/>
                  <a:pt x="10376914" y="2029127"/>
                  <a:pt x="10376914" y="2064841"/>
                </a:cubicBezTo>
                <a:cubicBezTo>
                  <a:pt x="10376914" y="2100555"/>
                  <a:pt x="10347962" y="2129508"/>
                  <a:pt x="10312248" y="2129508"/>
                </a:cubicBezTo>
                <a:cubicBezTo>
                  <a:pt x="10276534" y="2129508"/>
                  <a:pt x="10247582" y="2100555"/>
                  <a:pt x="10247582" y="2064841"/>
                </a:cubicBezTo>
                <a:cubicBezTo>
                  <a:pt x="10247582" y="2029127"/>
                  <a:pt x="10276534" y="2000175"/>
                  <a:pt x="10312248" y="2000175"/>
                </a:cubicBezTo>
                <a:close/>
                <a:moveTo>
                  <a:pt x="10159588" y="2000175"/>
                </a:moveTo>
                <a:cubicBezTo>
                  <a:pt x="10195302" y="2000175"/>
                  <a:pt x="10224254" y="2029127"/>
                  <a:pt x="10224254" y="2064841"/>
                </a:cubicBezTo>
                <a:cubicBezTo>
                  <a:pt x="10224254" y="2100555"/>
                  <a:pt x="10195302" y="2129508"/>
                  <a:pt x="10159588" y="2129508"/>
                </a:cubicBezTo>
                <a:cubicBezTo>
                  <a:pt x="10123874" y="2129508"/>
                  <a:pt x="10094922" y="2100555"/>
                  <a:pt x="10094922" y="2064841"/>
                </a:cubicBezTo>
                <a:cubicBezTo>
                  <a:pt x="10094922" y="2029127"/>
                  <a:pt x="10123874" y="2000175"/>
                  <a:pt x="10159588" y="2000175"/>
                </a:cubicBezTo>
                <a:close/>
                <a:moveTo>
                  <a:pt x="10003016" y="2000175"/>
                </a:moveTo>
                <a:cubicBezTo>
                  <a:pt x="10038730" y="2000175"/>
                  <a:pt x="10067682" y="2029127"/>
                  <a:pt x="10067682" y="2064841"/>
                </a:cubicBezTo>
                <a:cubicBezTo>
                  <a:pt x="10067682" y="2100555"/>
                  <a:pt x="10038730" y="2129508"/>
                  <a:pt x="10003016" y="2129508"/>
                </a:cubicBezTo>
                <a:cubicBezTo>
                  <a:pt x="9967302" y="2129508"/>
                  <a:pt x="9938350" y="2100555"/>
                  <a:pt x="9938350" y="2064841"/>
                </a:cubicBezTo>
                <a:cubicBezTo>
                  <a:pt x="9938350" y="2029127"/>
                  <a:pt x="9967302" y="2000175"/>
                  <a:pt x="10003016" y="2000175"/>
                </a:cubicBezTo>
                <a:close/>
                <a:moveTo>
                  <a:pt x="9850358" y="2000175"/>
                </a:moveTo>
                <a:cubicBezTo>
                  <a:pt x="9886072" y="2000175"/>
                  <a:pt x="9915024" y="2029127"/>
                  <a:pt x="9915024" y="2064841"/>
                </a:cubicBezTo>
                <a:cubicBezTo>
                  <a:pt x="9915024" y="2100555"/>
                  <a:pt x="9886072" y="2129508"/>
                  <a:pt x="9850358" y="2129508"/>
                </a:cubicBezTo>
                <a:cubicBezTo>
                  <a:pt x="9814644" y="2129508"/>
                  <a:pt x="9785692" y="2100555"/>
                  <a:pt x="9785692" y="2064841"/>
                </a:cubicBezTo>
                <a:cubicBezTo>
                  <a:pt x="9785692" y="2029127"/>
                  <a:pt x="9814644" y="2000175"/>
                  <a:pt x="9850358" y="2000175"/>
                </a:cubicBezTo>
                <a:close/>
                <a:moveTo>
                  <a:pt x="9693783" y="2000175"/>
                </a:moveTo>
                <a:cubicBezTo>
                  <a:pt x="9729497" y="2000175"/>
                  <a:pt x="9758449" y="2029127"/>
                  <a:pt x="9758449" y="2064841"/>
                </a:cubicBezTo>
                <a:cubicBezTo>
                  <a:pt x="9758449" y="2100555"/>
                  <a:pt x="9729497" y="2129508"/>
                  <a:pt x="9693783" y="2129508"/>
                </a:cubicBezTo>
                <a:cubicBezTo>
                  <a:pt x="9658069" y="2129508"/>
                  <a:pt x="9629117" y="2100555"/>
                  <a:pt x="9629117" y="2064841"/>
                </a:cubicBezTo>
                <a:cubicBezTo>
                  <a:pt x="9629117" y="2029127"/>
                  <a:pt x="9658069" y="2000175"/>
                  <a:pt x="9693783" y="2000175"/>
                </a:cubicBezTo>
                <a:close/>
                <a:moveTo>
                  <a:pt x="9541123" y="2000175"/>
                </a:moveTo>
                <a:cubicBezTo>
                  <a:pt x="9576837" y="2000175"/>
                  <a:pt x="9605789" y="2029127"/>
                  <a:pt x="9605789" y="2064841"/>
                </a:cubicBezTo>
                <a:cubicBezTo>
                  <a:pt x="9605789" y="2100555"/>
                  <a:pt x="9576837" y="2129508"/>
                  <a:pt x="9541123" y="2129508"/>
                </a:cubicBezTo>
                <a:cubicBezTo>
                  <a:pt x="9505409" y="2129508"/>
                  <a:pt x="9476457" y="2100555"/>
                  <a:pt x="9476457" y="2064841"/>
                </a:cubicBezTo>
                <a:cubicBezTo>
                  <a:pt x="9476457" y="2029127"/>
                  <a:pt x="9505409" y="2000175"/>
                  <a:pt x="9541123" y="2000175"/>
                </a:cubicBezTo>
                <a:close/>
                <a:moveTo>
                  <a:pt x="9384550" y="2000175"/>
                </a:moveTo>
                <a:cubicBezTo>
                  <a:pt x="9420264" y="2000175"/>
                  <a:pt x="9449216" y="2029127"/>
                  <a:pt x="9449216" y="2064841"/>
                </a:cubicBezTo>
                <a:cubicBezTo>
                  <a:pt x="9449216" y="2100555"/>
                  <a:pt x="9420264" y="2129508"/>
                  <a:pt x="9384550" y="2129508"/>
                </a:cubicBezTo>
                <a:cubicBezTo>
                  <a:pt x="9348836" y="2129508"/>
                  <a:pt x="9319884" y="2100555"/>
                  <a:pt x="9319884" y="2064841"/>
                </a:cubicBezTo>
                <a:cubicBezTo>
                  <a:pt x="9319884" y="2029127"/>
                  <a:pt x="9348836" y="2000175"/>
                  <a:pt x="9384550" y="2000175"/>
                </a:cubicBezTo>
                <a:close/>
                <a:moveTo>
                  <a:pt x="9227977" y="2000175"/>
                </a:moveTo>
                <a:cubicBezTo>
                  <a:pt x="9263691" y="2000175"/>
                  <a:pt x="9292643" y="2029127"/>
                  <a:pt x="9292643" y="2064841"/>
                </a:cubicBezTo>
                <a:cubicBezTo>
                  <a:pt x="9292643" y="2100555"/>
                  <a:pt x="9263691" y="2129508"/>
                  <a:pt x="9227977" y="2129508"/>
                </a:cubicBezTo>
                <a:cubicBezTo>
                  <a:pt x="9192263" y="2129508"/>
                  <a:pt x="9163311" y="2100555"/>
                  <a:pt x="9163311" y="2064841"/>
                </a:cubicBezTo>
                <a:cubicBezTo>
                  <a:pt x="9163311" y="2029127"/>
                  <a:pt x="9192263" y="2000175"/>
                  <a:pt x="9227977" y="2000175"/>
                </a:cubicBezTo>
                <a:close/>
                <a:moveTo>
                  <a:pt x="9075319" y="2000175"/>
                </a:moveTo>
                <a:cubicBezTo>
                  <a:pt x="9111033" y="2000175"/>
                  <a:pt x="9139985" y="2029127"/>
                  <a:pt x="9139985" y="2064841"/>
                </a:cubicBezTo>
                <a:cubicBezTo>
                  <a:pt x="9139985" y="2100555"/>
                  <a:pt x="9111033" y="2129508"/>
                  <a:pt x="9075319" y="2129508"/>
                </a:cubicBezTo>
                <a:cubicBezTo>
                  <a:pt x="9039605" y="2129508"/>
                  <a:pt x="9010653" y="2100555"/>
                  <a:pt x="9010653" y="2064841"/>
                </a:cubicBezTo>
                <a:cubicBezTo>
                  <a:pt x="9010653" y="2029127"/>
                  <a:pt x="9039605" y="2000175"/>
                  <a:pt x="9075319" y="2000175"/>
                </a:cubicBezTo>
                <a:close/>
                <a:moveTo>
                  <a:pt x="8914831" y="2000175"/>
                </a:moveTo>
                <a:cubicBezTo>
                  <a:pt x="8950545" y="2000175"/>
                  <a:pt x="8979497" y="2029127"/>
                  <a:pt x="8979497" y="2064841"/>
                </a:cubicBezTo>
                <a:cubicBezTo>
                  <a:pt x="8979497" y="2100555"/>
                  <a:pt x="8950545" y="2129508"/>
                  <a:pt x="8914831" y="2129508"/>
                </a:cubicBezTo>
                <a:cubicBezTo>
                  <a:pt x="8879117" y="2129508"/>
                  <a:pt x="8850165" y="2100555"/>
                  <a:pt x="8850165" y="2064841"/>
                </a:cubicBezTo>
                <a:cubicBezTo>
                  <a:pt x="8850165" y="2029127"/>
                  <a:pt x="8879117" y="2000175"/>
                  <a:pt x="8914831" y="2000175"/>
                </a:cubicBezTo>
                <a:close/>
                <a:moveTo>
                  <a:pt x="8766086" y="2000175"/>
                </a:moveTo>
                <a:cubicBezTo>
                  <a:pt x="8801800" y="2000175"/>
                  <a:pt x="8830752" y="2029127"/>
                  <a:pt x="8830752" y="2064841"/>
                </a:cubicBezTo>
                <a:cubicBezTo>
                  <a:pt x="8830752" y="2100555"/>
                  <a:pt x="8801800" y="2129508"/>
                  <a:pt x="8766086" y="2129508"/>
                </a:cubicBezTo>
                <a:cubicBezTo>
                  <a:pt x="8730372" y="2129508"/>
                  <a:pt x="8701420" y="2100555"/>
                  <a:pt x="8701420" y="2064841"/>
                </a:cubicBezTo>
                <a:cubicBezTo>
                  <a:pt x="8701420" y="2029127"/>
                  <a:pt x="8730372" y="2000175"/>
                  <a:pt x="8766086" y="2000175"/>
                </a:cubicBezTo>
                <a:close/>
                <a:moveTo>
                  <a:pt x="8601685" y="2000175"/>
                </a:moveTo>
                <a:cubicBezTo>
                  <a:pt x="8637399" y="2000175"/>
                  <a:pt x="8666351" y="2029127"/>
                  <a:pt x="8666351" y="2064841"/>
                </a:cubicBezTo>
                <a:cubicBezTo>
                  <a:pt x="8666351" y="2100555"/>
                  <a:pt x="8637399" y="2129508"/>
                  <a:pt x="8601685" y="2129508"/>
                </a:cubicBezTo>
                <a:cubicBezTo>
                  <a:pt x="8565971" y="2129508"/>
                  <a:pt x="8537019" y="2100555"/>
                  <a:pt x="8537019" y="2064841"/>
                </a:cubicBezTo>
                <a:cubicBezTo>
                  <a:pt x="8537019" y="2029127"/>
                  <a:pt x="8565971" y="2000175"/>
                  <a:pt x="8601685" y="2000175"/>
                </a:cubicBezTo>
                <a:close/>
                <a:moveTo>
                  <a:pt x="8449025" y="2000175"/>
                </a:moveTo>
                <a:cubicBezTo>
                  <a:pt x="8484739" y="2000175"/>
                  <a:pt x="8513691" y="2029127"/>
                  <a:pt x="8513691" y="2064841"/>
                </a:cubicBezTo>
                <a:cubicBezTo>
                  <a:pt x="8513691" y="2100555"/>
                  <a:pt x="8484739" y="2129508"/>
                  <a:pt x="8449025" y="2129508"/>
                </a:cubicBezTo>
                <a:cubicBezTo>
                  <a:pt x="8413311" y="2129508"/>
                  <a:pt x="8384359" y="2100555"/>
                  <a:pt x="8384359" y="2064841"/>
                </a:cubicBezTo>
                <a:cubicBezTo>
                  <a:pt x="8384359" y="2029127"/>
                  <a:pt x="8413311" y="2000175"/>
                  <a:pt x="8449025" y="2000175"/>
                </a:cubicBezTo>
                <a:close/>
                <a:moveTo>
                  <a:pt x="8296368" y="2000175"/>
                </a:moveTo>
                <a:cubicBezTo>
                  <a:pt x="8332082" y="2000175"/>
                  <a:pt x="8361034" y="2029127"/>
                  <a:pt x="8361034" y="2064841"/>
                </a:cubicBezTo>
                <a:cubicBezTo>
                  <a:pt x="8361034" y="2100555"/>
                  <a:pt x="8332082" y="2129508"/>
                  <a:pt x="8296368" y="2129508"/>
                </a:cubicBezTo>
                <a:cubicBezTo>
                  <a:pt x="8260654" y="2129508"/>
                  <a:pt x="8231702" y="2100555"/>
                  <a:pt x="8231702" y="2064841"/>
                </a:cubicBezTo>
                <a:cubicBezTo>
                  <a:pt x="8231702" y="2029127"/>
                  <a:pt x="8260654" y="2000175"/>
                  <a:pt x="8296368" y="2000175"/>
                </a:cubicBezTo>
                <a:close/>
                <a:moveTo>
                  <a:pt x="8139793" y="2000175"/>
                </a:moveTo>
                <a:cubicBezTo>
                  <a:pt x="8175507" y="2000175"/>
                  <a:pt x="8204459" y="2029127"/>
                  <a:pt x="8204459" y="2064841"/>
                </a:cubicBezTo>
                <a:cubicBezTo>
                  <a:pt x="8204459" y="2100555"/>
                  <a:pt x="8175507" y="2129508"/>
                  <a:pt x="8139793" y="2129508"/>
                </a:cubicBezTo>
                <a:cubicBezTo>
                  <a:pt x="8104079" y="2129508"/>
                  <a:pt x="8075127" y="2100555"/>
                  <a:pt x="8075127" y="2064841"/>
                </a:cubicBezTo>
                <a:cubicBezTo>
                  <a:pt x="8075127" y="2029127"/>
                  <a:pt x="8104079" y="2000175"/>
                  <a:pt x="8139793" y="2000175"/>
                </a:cubicBezTo>
                <a:close/>
                <a:moveTo>
                  <a:pt x="7987133" y="2000175"/>
                </a:moveTo>
                <a:cubicBezTo>
                  <a:pt x="8022847" y="2000175"/>
                  <a:pt x="8051799" y="2029127"/>
                  <a:pt x="8051799" y="2064841"/>
                </a:cubicBezTo>
                <a:cubicBezTo>
                  <a:pt x="8051799" y="2100555"/>
                  <a:pt x="8022847" y="2129508"/>
                  <a:pt x="7987133" y="2129508"/>
                </a:cubicBezTo>
                <a:cubicBezTo>
                  <a:pt x="7951419" y="2129508"/>
                  <a:pt x="7922467" y="2100555"/>
                  <a:pt x="7922467" y="2064841"/>
                </a:cubicBezTo>
                <a:cubicBezTo>
                  <a:pt x="7922467" y="2029127"/>
                  <a:pt x="7951419" y="2000175"/>
                  <a:pt x="7987133" y="2000175"/>
                </a:cubicBezTo>
                <a:close/>
                <a:moveTo>
                  <a:pt x="7830562" y="2000175"/>
                </a:moveTo>
                <a:cubicBezTo>
                  <a:pt x="7866276" y="2000175"/>
                  <a:pt x="7895228" y="2029127"/>
                  <a:pt x="7895228" y="2064841"/>
                </a:cubicBezTo>
                <a:cubicBezTo>
                  <a:pt x="7895228" y="2100555"/>
                  <a:pt x="7866276" y="2129508"/>
                  <a:pt x="7830562" y="2129508"/>
                </a:cubicBezTo>
                <a:cubicBezTo>
                  <a:pt x="7794848" y="2129508"/>
                  <a:pt x="7765896" y="2100555"/>
                  <a:pt x="7765896" y="2064841"/>
                </a:cubicBezTo>
                <a:cubicBezTo>
                  <a:pt x="7765896" y="2029127"/>
                  <a:pt x="7794848" y="2000175"/>
                  <a:pt x="7830562" y="2000175"/>
                </a:cubicBezTo>
                <a:close/>
                <a:moveTo>
                  <a:pt x="7677904" y="2000175"/>
                </a:moveTo>
                <a:cubicBezTo>
                  <a:pt x="7713618" y="2000175"/>
                  <a:pt x="7742570" y="2029127"/>
                  <a:pt x="7742570" y="2064841"/>
                </a:cubicBezTo>
                <a:cubicBezTo>
                  <a:pt x="7742570" y="2100555"/>
                  <a:pt x="7713618" y="2129508"/>
                  <a:pt x="7677904" y="2129508"/>
                </a:cubicBezTo>
                <a:cubicBezTo>
                  <a:pt x="7642190" y="2129508"/>
                  <a:pt x="7613238" y="2100555"/>
                  <a:pt x="7613238" y="2064841"/>
                </a:cubicBezTo>
                <a:cubicBezTo>
                  <a:pt x="7613238" y="2029127"/>
                  <a:pt x="7642190" y="2000175"/>
                  <a:pt x="7677904" y="2000175"/>
                </a:cubicBezTo>
                <a:close/>
                <a:moveTo>
                  <a:pt x="7521331" y="2000175"/>
                </a:moveTo>
                <a:cubicBezTo>
                  <a:pt x="7557045" y="2000175"/>
                  <a:pt x="7585997" y="2029127"/>
                  <a:pt x="7585997" y="2064841"/>
                </a:cubicBezTo>
                <a:cubicBezTo>
                  <a:pt x="7585997" y="2100555"/>
                  <a:pt x="7557045" y="2129508"/>
                  <a:pt x="7521331" y="2129508"/>
                </a:cubicBezTo>
                <a:cubicBezTo>
                  <a:pt x="7485617" y="2129508"/>
                  <a:pt x="7456665" y="2100555"/>
                  <a:pt x="7456665" y="2064841"/>
                </a:cubicBezTo>
                <a:cubicBezTo>
                  <a:pt x="7456665" y="2029127"/>
                  <a:pt x="7485617" y="2000175"/>
                  <a:pt x="7521331" y="2000175"/>
                </a:cubicBezTo>
                <a:close/>
                <a:moveTo>
                  <a:pt x="7368669" y="2000175"/>
                </a:moveTo>
                <a:cubicBezTo>
                  <a:pt x="7404383" y="2000175"/>
                  <a:pt x="7433335" y="2029127"/>
                  <a:pt x="7433335" y="2064841"/>
                </a:cubicBezTo>
                <a:cubicBezTo>
                  <a:pt x="7433335" y="2100555"/>
                  <a:pt x="7404383" y="2129508"/>
                  <a:pt x="7368669" y="2129508"/>
                </a:cubicBezTo>
                <a:cubicBezTo>
                  <a:pt x="7332955" y="2129508"/>
                  <a:pt x="7304003" y="2100555"/>
                  <a:pt x="7304003" y="2064841"/>
                </a:cubicBezTo>
                <a:cubicBezTo>
                  <a:pt x="7304003" y="2029127"/>
                  <a:pt x="7332955" y="2000175"/>
                  <a:pt x="7368669" y="2000175"/>
                </a:cubicBezTo>
                <a:close/>
                <a:moveTo>
                  <a:pt x="7212096" y="2000175"/>
                </a:moveTo>
                <a:cubicBezTo>
                  <a:pt x="7247810" y="2000175"/>
                  <a:pt x="7276762" y="2029127"/>
                  <a:pt x="7276762" y="2064841"/>
                </a:cubicBezTo>
                <a:cubicBezTo>
                  <a:pt x="7276762" y="2100555"/>
                  <a:pt x="7247810" y="2129508"/>
                  <a:pt x="7212096" y="2129508"/>
                </a:cubicBezTo>
                <a:cubicBezTo>
                  <a:pt x="7176382" y="2129508"/>
                  <a:pt x="7147430" y="2100555"/>
                  <a:pt x="7147430" y="2064841"/>
                </a:cubicBezTo>
                <a:cubicBezTo>
                  <a:pt x="7147430" y="2029127"/>
                  <a:pt x="7176382" y="2000175"/>
                  <a:pt x="7212096" y="2000175"/>
                </a:cubicBezTo>
                <a:close/>
                <a:moveTo>
                  <a:pt x="7055523" y="2000175"/>
                </a:moveTo>
                <a:cubicBezTo>
                  <a:pt x="7091237" y="2000175"/>
                  <a:pt x="7120189" y="2029127"/>
                  <a:pt x="7120189" y="2064841"/>
                </a:cubicBezTo>
                <a:cubicBezTo>
                  <a:pt x="7120189" y="2100555"/>
                  <a:pt x="7091237" y="2129508"/>
                  <a:pt x="7055523" y="2129508"/>
                </a:cubicBezTo>
                <a:cubicBezTo>
                  <a:pt x="7019809" y="2129508"/>
                  <a:pt x="6990857" y="2100555"/>
                  <a:pt x="6990857" y="2064841"/>
                </a:cubicBezTo>
                <a:cubicBezTo>
                  <a:pt x="6990857" y="2029127"/>
                  <a:pt x="7019809" y="2000175"/>
                  <a:pt x="7055523" y="2000175"/>
                </a:cubicBezTo>
                <a:close/>
                <a:moveTo>
                  <a:pt x="6895037" y="2000175"/>
                </a:moveTo>
                <a:cubicBezTo>
                  <a:pt x="6930751" y="2000175"/>
                  <a:pt x="6959703" y="2029127"/>
                  <a:pt x="6959703" y="2064841"/>
                </a:cubicBezTo>
                <a:cubicBezTo>
                  <a:pt x="6959703" y="2100555"/>
                  <a:pt x="6930751" y="2129508"/>
                  <a:pt x="6895037" y="2129508"/>
                </a:cubicBezTo>
                <a:cubicBezTo>
                  <a:pt x="6859323" y="2129508"/>
                  <a:pt x="6830371" y="2100555"/>
                  <a:pt x="6830371" y="2064841"/>
                </a:cubicBezTo>
                <a:cubicBezTo>
                  <a:pt x="6830371" y="2029127"/>
                  <a:pt x="6859323" y="2000175"/>
                  <a:pt x="6895037" y="2000175"/>
                </a:cubicBezTo>
                <a:close/>
                <a:moveTo>
                  <a:pt x="6742377" y="2000175"/>
                </a:moveTo>
                <a:cubicBezTo>
                  <a:pt x="6778091" y="2000175"/>
                  <a:pt x="6807043" y="2029127"/>
                  <a:pt x="6807043" y="2064841"/>
                </a:cubicBezTo>
                <a:cubicBezTo>
                  <a:pt x="6807043" y="2100555"/>
                  <a:pt x="6778091" y="2129508"/>
                  <a:pt x="6742377" y="2129508"/>
                </a:cubicBezTo>
                <a:cubicBezTo>
                  <a:pt x="6706663" y="2129508"/>
                  <a:pt x="6677711" y="2100555"/>
                  <a:pt x="6677711" y="2064841"/>
                </a:cubicBezTo>
                <a:cubicBezTo>
                  <a:pt x="6677711" y="2029127"/>
                  <a:pt x="6706663" y="2000175"/>
                  <a:pt x="6742377" y="2000175"/>
                </a:cubicBezTo>
                <a:close/>
                <a:moveTo>
                  <a:pt x="6585804" y="2000175"/>
                </a:moveTo>
                <a:cubicBezTo>
                  <a:pt x="6621518" y="2000175"/>
                  <a:pt x="6650470" y="2029127"/>
                  <a:pt x="6650470" y="2064841"/>
                </a:cubicBezTo>
                <a:cubicBezTo>
                  <a:pt x="6650470" y="2100555"/>
                  <a:pt x="6621518" y="2129508"/>
                  <a:pt x="6585804" y="2129508"/>
                </a:cubicBezTo>
                <a:cubicBezTo>
                  <a:pt x="6550090" y="2129508"/>
                  <a:pt x="6521138" y="2100555"/>
                  <a:pt x="6521138" y="2064841"/>
                </a:cubicBezTo>
                <a:cubicBezTo>
                  <a:pt x="6521138" y="2029127"/>
                  <a:pt x="6550090" y="2000175"/>
                  <a:pt x="6585804" y="2000175"/>
                </a:cubicBezTo>
                <a:close/>
                <a:moveTo>
                  <a:pt x="6429231" y="2000175"/>
                </a:moveTo>
                <a:cubicBezTo>
                  <a:pt x="6464945" y="2000175"/>
                  <a:pt x="6493897" y="2029127"/>
                  <a:pt x="6493897" y="2064841"/>
                </a:cubicBezTo>
                <a:cubicBezTo>
                  <a:pt x="6493897" y="2100555"/>
                  <a:pt x="6464945" y="2129508"/>
                  <a:pt x="6429231" y="2129508"/>
                </a:cubicBezTo>
                <a:cubicBezTo>
                  <a:pt x="6393517" y="2129508"/>
                  <a:pt x="6364565" y="2100555"/>
                  <a:pt x="6364565" y="2064841"/>
                </a:cubicBezTo>
                <a:cubicBezTo>
                  <a:pt x="6364565" y="2029127"/>
                  <a:pt x="6393517" y="2000175"/>
                  <a:pt x="6429231" y="2000175"/>
                </a:cubicBezTo>
                <a:close/>
                <a:moveTo>
                  <a:pt x="6276571" y="2000175"/>
                </a:moveTo>
                <a:cubicBezTo>
                  <a:pt x="6312285" y="2000175"/>
                  <a:pt x="6341237" y="2029127"/>
                  <a:pt x="6341237" y="2064841"/>
                </a:cubicBezTo>
                <a:cubicBezTo>
                  <a:pt x="6341237" y="2100555"/>
                  <a:pt x="6312285" y="2129508"/>
                  <a:pt x="6276571" y="2129508"/>
                </a:cubicBezTo>
                <a:cubicBezTo>
                  <a:pt x="6240857" y="2129508"/>
                  <a:pt x="6211905" y="2100555"/>
                  <a:pt x="6211905" y="2064841"/>
                </a:cubicBezTo>
                <a:cubicBezTo>
                  <a:pt x="6211905" y="2029127"/>
                  <a:pt x="6240857" y="2000175"/>
                  <a:pt x="6276571" y="2000175"/>
                </a:cubicBezTo>
                <a:close/>
                <a:moveTo>
                  <a:pt x="6119999" y="2000175"/>
                </a:moveTo>
                <a:cubicBezTo>
                  <a:pt x="6155713" y="2000175"/>
                  <a:pt x="6184665" y="2029127"/>
                  <a:pt x="6184665" y="2064841"/>
                </a:cubicBezTo>
                <a:cubicBezTo>
                  <a:pt x="6184665" y="2100555"/>
                  <a:pt x="6155713" y="2129508"/>
                  <a:pt x="6119999" y="2129508"/>
                </a:cubicBezTo>
                <a:cubicBezTo>
                  <a:pt x="6084285" y="2129508"/>
                  <a:pt x="6055333" y="2100555"/>
                  <a:pt x="6055333" y="2064841"/>
                </a:cubicBezTo>
                <a:cubicBezTo>
                  <a:pt x="6055333" y="2029127"/>
                  <a:pt x="6084285" y="2000175"/>
                  <a:pt x="6119999" y="2000175"/>
                </a:cubicBezTo>
                <a:close/>
                <a:moveTo>
                  <a:pt x="5967339" y="2000175"/>
                </a:moveTo>
                <a:cubicBezTo>
                  <a:pt x="6003053" y="2000175"/>
                  <a:pt x="6032005" y="2029127"/>
                  <a:pt x="6032005" y="2064841"/>
                </a:cubicBezTo>
                <a:cubicBezTo>
                  <a:pt x="6032005" y="2100555"/>
                  <a:pt x="6003053" y="2129508"/>
                  <a:pt x="5967339" y="2129508"/>
                </a:cubicBezTo>
                <a:cubicBezTo>
                  <a:pt x="5931625" y="2129508"/>
                  <a:pt x="5902673" y="2100555"/>
                  <a:pt x="5902673" y="2064841"/>
                </a:cubicBezTo>
                <a:cubicBezTo>
                  <a:pt x="5902673" y="2029127"/>
                  <a:pt x="5931625" y="2000175"/>
                  <a:pt x="5967339" y="2000175"/>
                </a:cubicBezTo>
                <a:close/>
                <a:moveTo>
                  <a:pt x="5810796" y="2000175"/>
                </a:moveTo>
                <a:cubicBezTo>
                  <a:pt x="5846480" y="2000175"/>
                  <a:pt x="5875432" y="2029127"/>
                  <a:pt x="5875432" y="2064841"/>
                </a:cubicBezTo>
                <a:cubicBezTo>
                  <a:pt x="5875432" y="2100555"/>
                  <a:pt x="5846480" y="2129508"/>
                  <a:pt x="5810796" y="2129508"/>
                </a:cubicBezTo>
                <a:cubicBezTo>
                  <a:pt x="5775075" y="2129508"/>
                  <a:pt x="5746114" y="2100555"/>
                  <a:pt x="5746114" y="2064841"/>
                </a:cubicBezTo>
                <a:cubicBezTo>
                  <a:pt x="5746114" y="2029127"/>
                  <a:pt x="5775075" y="2000175"/>
                  <a:pt x="5810796" y="2000175"/>
                </a:cubicBezTo>
                <a:close/>
                <a:moveTo>
                  <a:pt x="5658111" y="2000175"/>
                </a:moveTo>
                <a:cubicBezTo>
                  <a:pt x="5693825" y="2000175"/>
                  <a:pt x="5722783" y="2029127"/>
                  <a:pt x="5722783" y="2064841"/>
                </a:cubicBezTo>
                <a:cubicBezTo>
                  <a:pt x="5722783" y="2100555"/>
                  <a:pt x="5693825" y="2129508"/>
                  <a:pt x="5658111" y="2129508"/>
                </a:cubicBezTo>
                <a:cubicBezTo>
                  <a:pt x="5622398" y="2129508"/>
                  <a:pt x="5593443" y="2100555"/>
                  <a:pt x="5593443" y="2064841"/>
                </a:cubicBezTo>
                <a:cubicBezTo>
                  <a:pt x="5593443" y="2029127"/>
                  <a:pt x="5622398" y="2000175"/>
                  <a:pt x="5658111" y="2000175"/>
                </a:cubicBezTo>
                <a:close/>
                <a:moveTo>
                  <a:pt x="5501543" y="2000175"/>
                </a:moveTo>
                <a:cubicBezTo>
                  <a:pt x="5537254" y="2000175"/>
                  <a:pt x="5566204" y="2029127"/>
                  <a:pt x="5566204" y="2064841"/>
                </a:cubicBezTo>
                <a:cubicBezTo>
                  <a:pt x="5566204" y="2100555"/>
                  <a:pt x="5537254" y="2129508"/>
                  <a:pt x="5501543" y="2129508"/>
                </a:cubicBezTo>
                <a:cubicBezTo>
                  <a:pt x="5465827" y="2129508"/>
                  <a:pt x="5436884" y="2100555"/>
                  <a:pt x="5436884" y="2064841"/>
                </a:cubicBezTo>
                <a:cubicBezTo>
                  <a:pt x="5436884" y="2029127"/>
                  <a:pt x="5465827" y="2000175"/>
                  <a:pt x="5501543" y="2000175"/>
                </a:cubicBezTo>
                <a:close/>
                <a:moveTo>
                  <a:pt x="3630587" y="2000175"/>
                </a:moveTo>
                <a:cubicBezTo>
                  <a:pt x="3666298" y="2000175"/>
                  <a:pt x="3695253" y="2029127"/>
                  <a:pt x="3695253" y="2064841"/>
                </a:cubicBezTo>
                <a:cubicBezTo>
                  <a:pt x="3695253" y="2100555"/>
                  <a:pt x="3666298" y="2129508"/>
                  <a:pt x="3630587" y="2129508"/>
                </a:cubicBezTo>
                <a:cubicBezTo>
                  <a:pt x="3594864" y="2129508"/>
                  <a:pt x="3565911" y="2100555"/>
                  <a:pt x="3565911" y="2064841"/>
                </a:cubicBezTo>
                <a:cubicBezTo>
                  <a:pt x="3565911" y="2029127"/>
                  <a:pt x="3594864" y="2000175"/>
                  <a:pt x="3630587" y="2000175"/>
                </a:cubicBezTo>
                <a:close/>
                <a:moveTo>
                  <a:pt x="3481836" y="2000175"/>
                </a:moveTo>
                <a:cubicBezTo>
                  <a:pt x="3517551" y="2000175"/>
                  <a:pt x="3546503" y="2029127"/>
                  <a:pt x="3546503" y="2064841"/>
                </a:cubicBezTo>
                <a:cubicBezTo>
                  <a:pt x="3546503" y="2100555"/>
                  <a:pt x="3517551" y="2129508"/>
                  <a:pt x="3481836" y="2129508"/>
                </a:cubicBezTo>
                <a:cubicBezTo>
                  <a:pt x="3446127" y="2129508"/>
                  <a:pt x="3417179" y="2100555"/>
                  <a:pt x="3417179" y="2064841"/>
                </a:cubicBezTo>
                <a:cubicBezTo>
                  <a:pt x="3417179" y="2029127"/>
                  <a:pt x="3446127" y="2000175"/>
                  <a:pt x="3481836" y="2000175"/>
                </a:cubicBezTo>
                <a:close/>
                <a:moveTo>
                  <a:pt x="3321368" y="2000175"/>
                </a:moveTo>
                <a:cubicBezTo>
                  <a:pt x="3357073" y="2000175"/>
                  <a:pt x="3386016" y="2029127"/>
                  <a:pt x="3386016" y="2064841"/>
                </a:cubicBezTo>
                <a:cubicBezTo>
                  <a:pt x="3386016" y="2100555"/>
                  <a:pt x="3357073" y="2129508"/>
                  <a:pt x="3321368" y="2129508"/>
                </a:cubicBezTo>
                <a:cubicBezTo>
                  <a:pt x="3285647" y="2129508"/>
                  <a:pt x="3256702" y="2100555"/>
                  <a:pt x="3256702" y="2064841"/>
                </a:cubicBezTo>
                <a:cubicBezTo>
                  <a:pt x="3256702" y="2029127"/>
                  <a:pt x="3285647" y="2000175"/>
                  <a:pt x="3321368" y="2000175"/>
                </a:cubicBezTo>
                <a:close/>
                <a:moveTo>
                  <a:pt x="3172613" y="2000175"/>
                </a:moveTo>
                <a:cubicBezTo>
                  <a:pt x="3208335" y="2000175"/>
                  <a:pt x="3237285" y="2029127"/>
                  <a:pt x="3237285" y="2064841"/>
                </a:cubicBezTo>
                <a:cubicBezTo>
                  <a:pt x="3237285" y="2100555"/>
                  <a:pt x="3208335" y="2129508"/>
                  <a:pt x="3172613" y="2129508"/>
                </a:cubicBezTo>
                <a:cubicBezTo>
                  <a:pt x="3136891" y="2129508"/>
                  <a:pt x="3107933" y="2100555"/>
                  <a:pt x="3107933" y="2064841"/>
                </a:cubicBezTo>
                <a:cubicBezTo>
                  <a:pt x="3107933" y="2029127"/>
                  <a:pt x="3136891" y="2000175"/>
                  <a:pt x="3172613" y="2000175"/>
                </a:cubicBezTo>
                <a:close/>
                <a:moveTo>
                  <a:pt x="3012103" y="2000175"/>
                </a:moveTo>
                <a:cubicBezTo>
                  <a:pt x="3047814" y="2000175"/>
                  <a:pt x="3076772" y="2029127"/>
                  <a:pt x="3076772" y="2064841"/>
                </a:cubicBezTo>
                <a:cubicBezTo>
                  <a:pt x="3076772" y="2100555"/>
                  <a:pt x="3047814" y="2129508"/>
                  <a:pt x="3012103" y="2129508"/>
                </a:cubicBezTo>
                <a:cubicBezTo>
                  <a:pt x="2976393" y="2129508"/>
                  <a:pt x="2947444" y="2100555"/>
                  <a:pt x="2947444" y="2064841"/>
                </a:cubicBezTo>
                <a:cubicBezTo>
                  <a:pt x="2947444" y="2029127"/>
                  <a:pt x="2976393" y="2000175"/>
                  <a:pt x="3012103" y="2000175"/>
                </a:cubicBezTo>
                <a:close/>
                <a:moveTo>
                  <a:pt x="2855546" y="2000175"/>
                </a:moveTo>
                <a:cubicBezTo>
                  <a:pt x="2891256" y="2000175"/>
                  <a:pt x="2920205" y="2029127"/>
                  <a:pt x="2920205" y="2064841"/>
                </a:cubicBezTo>
                <a:cubicBezTo>
                  <a:pt x="2920205" y="2100555"/>
                  <a:pt x="2891256" y="2129508"/>
                  <a:pt x="2855546" y="2129508"/>
                </a:cubicBezTo>
                <a:cubicBezTo>
                  <a:pt x="2819837" y="2129508"/>
                  <a:pt x="2790888" y="2100555"/>
                  <a:pt x="2790888" y="2064841"/>
                </a:cubicBezTo>
                <a:cubicBezTo>
                  <a:pt x="2790888" y="2029127"/>
                  <a:pt x="2819837" y="2000175"/>
                  <a:pt x="2855546" y="2000175"/>
                </a:cubicBezTo>
                <a:close/>
                <a:moveTo>
                  <a:pt x="2698992" y="2000175"/>
                </a:moveTo>
                <a:cubicBezTo>
                  <a:pt x="2734702" y="2000175"/>
                  <a:pt x="2763651" y="2029127"/>
                  <a:pt x="2763651" y="2064841"/>
                </a:cubicBezTo>
                <a:cubicBezTo>
                  <a:pt x="2763651" y="2100555"/>
                  <a:pt x="2734702" y="2129508"/>
                  <a:pt x="2698992" y="2129508"/>
                </a:cubicBezTo>
                <a:cubicBezTo>
                  <a:pt x="2663283" y="2129508"/>
                  <a:pt x="2634334" y="2100555"/>
                  <a:pt x="2634334" y="2064841"/>
                </a:cubicBezTo>
                <a:cubicBezTo>
                  <a:pt x="2634334" y="2029127"/>
                  <a:pt x="2663283" y="2000175"/>
                  <a:pt x="2698992" y="2000175"/>
                </a:cubicBezTo>
                <a:close/>
                <a:moveTo>
                  <a:pt x="2546352" y="2000175"/>
                </a:moveTo>
                <a:cubicBezTo>
                  <a:pt x="2582062" y="2000175"/>
                  <a:pt x="2611012" y="2029127"/>
                  <a:pt x="2611012" y="2064841"/>
                </a:cubicBezTo>
                <a:cubicBezTo>
                  <a:pt x="2611012" y="2100555"/>
                  <a:pt x="2582062" y="2129508"/>
                  <a:pt x="2546352" y="2129508"/>
                </a:cubicBezTo>
                <a:cubicBezTo>
                  <a:pt x="2510631" y="2129508"/>
                  <a:pt x="2481692" y="2100555"/>
                  <a:pt x="2481692" y="2064841"/>
                </a:cubicBezTo>
                <a:cubicBezTo>
                  <a:pt x="2481692" y="2029127"/>
                  <a:pt x="2510631" y="2000175"/>
                  <a:pt x="2546352" y="2000175"/>
                </a:cubicBezTo>
                <a:close/>
                <a:moveTo>
                  <a:pt x="2389761" y="2000175"/>
                </a:moveTo>
                <a:cubicBezTo>
                  <a:pt x="2425505" y="2000175"/>
                  <a:pt x="2454456" y="2029127"/>
                  <a:pt x="2454456" y="2064841"/>
                </a:cubicBezTo>
                <a:cubicBezTo>
                  <a:pt x="2454456" y="2100555"/>
                  <a:pt x="2425505" y="2129508"/>
                  <a:pt x="2389761" y="2129508"/>
                </a:cubicBezTo>
                <a:cubicBezTo>
                  <a:pt x="2354076" y="2129508"/>
                  <a:pt x="2325118" y="2100555"/>
                  <a:pt x="2325118" y="2064841"/>
                </a:cubicBezTo>
                <a:cubicBezTo>
                  <a:pt x="2325118" y="2029127"/>
                  <a:pt x="2354076" y="2000175"/>
                  <a:pt x="2389761" y="2000175"/>
                </a:cubicBezTo>
                <a:close/>
                <a:moveTo>
                  <a:pt x="2237104" y="2000175"/>
                </a:moveTo>
                <a:cubicBezTo>
                  <a:pt x="2272826" y="2000175"/>
                  <a:pt x="2301785" y="2029127"/>
                  <a:pt x="2301785" y="2064841"/>
                </a:cubicBezTo>
                <a:cubicBezTo>
                  <a:pt x="2301785" y="2100555"/>
                  <a:pt x="2272826" y="2129508"/>
                  <a:pt x="2237104" y="2129508"/>
                </a:cubicBezTo>
                <a:cubicBezTo>
                  <a:pt x="2201381" y="2129508"/>
                  <a:pt x="2172423" y="2100555"/>
                  <a:pt x="2172423" y="2064841"/>
                </a:cubicBezTo>
                <a:cubicBezTo>
                  <a:pt x="2172423" y="2029127"/>
                  <a:pt x="2201381" y="2000175"/>
                  <a:pt x="2237104" y="2000175"/>
                </a:cubicBezTo>
                <a:close/>
                <a:moveTo>
                  <a:pt x="2084427" y="2000175"/>
                </a:moveTo>
                <a:cubicBezTo>
                  <a:pt x="2120140" y="2000175"/>
                  <a:pt x="2149089" y="2029127"/>
                  <a:pt x="2149089" y="2064841"/>
                </a:cubicBezTo>
                <a:cubicBezTo>
                  <a:pt x="2149089" y="2100555"/>
                  <a:pt x="2120140" y="2129508"/>
                  <a:pt x="2084427" y="2129508"/>
                </a:cubicBezTo>
                <a:cubicBezTo>
                  <a:pt x="2048700" y="2129508"/>
                  <a:pt x="2019780" y="2100555"/>
                  <a:pt x="2019780" y="2064841"/>
                </a:cubicBezTo>
                <a:cubicBezTo>
                  <a:pt x="2019780" y="2029127"/>
                  <a:pt x="2048700" y="2000175"/>
                  <a:pt x="2084427" y="2000175"/>
                </a:cubicBezTo>
                <a:close/>
                <a:moveTo>
                  <a:pt x="1927843" y="2000175"/>
                </a:moveTo>
                <a:cubicBezTo>
                  <a:pt x="1963566" y="2000175"/>
                  <a:pt x="1992527" y="2029127"/>
                  <a:pt x="1992527" y="2064841"/>
                </a:cubicBezTo>
                <a:cubicBezTo>
                  <a:pt x="1992527" y="2100555"/>
                  <a:pt x="1963566" y="2129508"/>
                  <a:pt x="1927843" y="2129508"/>
                </a:cubicBezTo>
                <a:cubicBezTo>
                  <a:pt x="1892154" y="2129508"/>
                  <a:pt x="1863202" y="2100555"/>
                  <a:pt x="1863202" y="2064841"/>
                </a:cubicBezTo>
                <a:cubicBezTo>
                  <a:pt x="1863202" y="2029127"/>
                  <a:pt x="1892154" y="2000175"/>
                  <a:pt x="1927843" y="2000175"/>
                </a:cubicBezTo>
                <a:close/>
                <a:moveTo>
                  <a:pt x="1775193" y="2000175"/>
                </a:moveTo>
                <a:cubicBezTo>
                  <a:pt x="1810899" y="2000175"/>
                  <a:pt x="1839873" y="2029127"/>
                  <a:pt x="1839873" y="2064841"/>
                </a:cubicBezTo>
                <a:cubicBezTo>
                  <a:pt x="1839873" y="2100555"/>
                  <a:pt x="1810899" y="2129508"/>
                  <a:pt x="1775193" y="2129508"/>
                </a:cubicBezTo>
                <a:cubicBezTo>
                  <a:pt x="1739472" y="2129508"/>
                  <a:pt x="1710523" y="2100555"/>
                  <a:pt x="1710523" y="2064841"/>
                </a:cubicBezTo>
                <a:cubicBezTo>
                  <a:pt x="1710523" y="2029127"/>
                  <a:pt x="1739472" y="2000175"/>
                  <a:pt x="1775193" y="2000175"/>
                </a:cubicBezTo>
                <a:close/>
                <a:moveTo>
                  <a:pt x="1618612" y="2000175"/>
                </a:moveTo>
                <a:cubicBezTo>
                  <a:pt x="1654331" y="2000175"/>
                  <a:pt x="1683281" y="2029127"/>
                  <a:pt x="1683281" y="2064841"/>
                </a:cubicBezTo>
                <a:cubicBezTo>
                  <a:pt x="1683281" y="2100555"/>
                  <a:pt x="1654331" y="2129508"/>
                  <a:pt x="1618612" y="2129508"/>
                </a:cubicBezTo>
                <a:cubicBezTo>
                  <a:pt x="1582901" y="2129508"/>
                  <a:pt x="1553949" y="2100555"/>
                  <a:pt x="1553949" y="2064841"/>
                </a:cubicBezTo>
                <a:cubicBezTo>
                  <a:pt x="1553949" y="2029127"/>
                  <a:pt x="1582901" y="2000175"/>
                  <a:pt x="1618612" y="2000175"/>
                </a:cubicBezTo>
                <a:close/>
                <a:moveTo>
                  <a:pt x="1465954" y="2000175"/>
                </a:moveTo>
                <a:cubicBezTo>
                  <a:pt x="1501667" y="2000175"/>
                  <a:pt x="1530620" y="2029127"/>
                  <a:pt x="1530620" y="2064841"/>
                </a:cubicBezTo>
                <a:cubicBezTo>
                  <a:pt x="1530620" y="2100555"/>
                  <a:pt x="1501667" y="2129508"/>
                  <a:pt x="1465954" y="2129508"/>
                </a:cubicBezTo>
                <a:cubicBezTo>
                  <a:pt x="1430241" y="2129508"/>
                  <a:pt x="1401290" y="2100555"/>
                  <a:pt x="1401290" y="2064841"/>
                </a:cubicBezTo>
                <a:cubicBezTo>
                  <a:pt x="1401290" y="2029127"/>
                  <a:pt x="1430241" y="2000175"/>
                  <a:pt x="1465954" y="2000175"/>
                </a:cubicBezTo>
                <a:close/>
                <a:moveTo>
                  <a:pt x="2237112" y="1851452"/>
                </a:moveTo>
                <a:cubicBezTo>
                  <a:pt x="2272835" y="1851452"/>
                  <a:pt x="2301794" y="1880404"/>
                  <a:pt x="2301794" y="1916117"/>
                </a:cubicBezTo>
                <a:cubicBezTo>
                  <a:pt x="2301794" y="1951831"/>
                  <a:pt x="2272835" y="1980764"/>
                  <a:pt x="2237112" y="1980764"/>
                </a:cubicBezTo>
                <a:cubicBezTo>
                  <a:pt x="2201389" y="1980764"/>
                  <a:pt x="2172429" y="1951831"/>
                  <a:pt x="2172429" y="1916117"/>
                </a:cubicBezTo>
                <a:cubicBezTo>
                  <a:pt x="2172429" y="1880404"/>
                  <a:pt x="2201389" y="1851452"/>
                  <a:pt x="2237112" y="1851452"/>
                </a:cubicBezTo>
                <a:close/>
                <a:moveTo>
                  <a:pt x="2084431" y="1851452"/>
                </a:moveTo>
                <a:cubicBezTo>
                  <a:pt x="2120147" y="1851452"/>
                  <a:pt x="2149096" y="1880404"/>
                  <a:pt x="2149096" y="1916117"/>
                </a:cubicBezTo>
                <a:cubicBezTo>
                  <a:pt x="2149096" y="1951831"/>
                  <a:pt x="2120147" y="1980764"/>
                  <a:pt x="2084431" y="1980764"/>
                </a:cubicBezTo>
                <a:cubicBezTo>
                  <a:pt x="2048705" y="1980764"/>
                  <a:pt x="2019789" y="1951831"/>
                  <a:pt x="2019789" y="1916117"/>
                </a:cubicBezTo>
                <a:cubicBezTo>
                  <a:pt x="2019789" y="1880404"/>
                  <a:pt x="2048705" y="1851452"/>
                  <a:pt x="2084431" y="1851452"/>
                </a:cubicBezTo>
                <a:close/>
                <a:moveTo>
                  <a:pt x="1927843" y="1851452"/>
                </a:moveTo>
                <a:cubicBezTo>
                  <a:pt x="1963566" y="1851452"/>
                  <a:pt x="1992535" y="1880404"/>
                  <a:pt x="1992535" y="1916117"/>
                </a:cubicBezTo>
                <a:cubicBezTo>
                  <a:pt x="1992535" y="1951831"/>
                  <a:pt x="1963566" y="1980764"/>
                  <a:pt x="1927843" y="1980764"/>
                </a:cubicBezTo>
                <a:cubicBezTo>
                  <a:pt x="1892164" y="1980764"/>
                  <a:pt x="1863210" y="1951831"/>
                  <a:pt x="1863210" y="1916117"/>
                </a:cubicBezTo>
                <a:cubicBezTo>
                  <a:pt x="1863210" y="1880404"/>
                  <a:pt x="1892164" y="1851452"/>
                  <a:pt x="1927843" y="1851452"/>
                </a:cubicBezTo>
                <a:close/>
                <a:moveTo>
                  <a:pt x="1775198" y="1851452"/>
                </a:moveTo>
                <a:cubicBezTo>
                  <a:pt x="1810904" y="1851452"/>
                  <a:pt x="1839879" y="1880404"/>
                  <a:pt x="1839879" y="1916117"/>
                </a:cubicBezTo>
                <a:cubicBezTo>
                  <a:pt x="1839879" y="1951831"/>
                  <a:pt x="1810904" y="1980764"/>
                  <a:pt x="1775198" y="1980764"/>
                </a:cubicBezTo>
                <a:cubicBezTo>
                  <a:pt x="1739482" y="1980764"/>
                  <a:pt x="1710529" y="1951831"/>
                  <a:pt x="1710529" y="1916117"/>
                </a:cubicBezTo>
                <a:cubicBezTo>
                  <a:pt x="1710529" y="1880404"/>
                  <a:pt x="1739482" y="1851452"/>
                  <a:pt x="1775198" y="1851452"/>
                </a:cubicBezTo>
                <a:close/>
                <a:moveTo>
                  <a:pt x="1618616" y="1851452"/>
                </a:moveTo>
                <a:cubicBezTo>
                  <a:pt x="1654335" y="1851452"/>
                  <a:pt x="1683287" y="1880404"/>
                  <a:pt x="1683287" y="1916117"/>
                </a:cubicBezTo>
                <a:cubicBezTo>
                  <a:pt x="1683287" y="1951831"/>
                  <a:pt x="1654335" y="1980764"/>
                  <a:pt x="1618616" y="1980764"/>
                </a:cubicBezTo>
                <a:cubicBezTo>
                  <a:pt x="1582905" y="1980764"/>
                  <a:pt x="1553953" y="1951831"/>
                  <a:pt x="1553953" y="1916117"/>
                </a:cubicBezTo>
                <a:cubicBezTo>
                  <a:pt x="1553953" y="1880404"/>
                  <a:pt x="1582905" y="1851452"/>
                  <a:pt x="1618616" y="1851452"/>
                </a:cubicBezTo>
                <a:close/>
                <a:moveTo>
                  <a:pt x="1465960" y="1851450"/>
                </a:moveTo>
                <a:cubicBezTo>
                  <a:pt x="1501673" y="1851450"/>
                  <a:pt x="1530626" y="1880402"/>
                  <a:pt x="1530626" y="1916115"/>
                </a:cubicBezTo>
                <a:cubicBezTo>
                  <a:pt x="1530626" y="1951830"/>
                  <a:pt x="1501673" y="1980761"/>
                  <a:pt x="1465960" y="1980761"/>
                </a:cubicBezTo>
                <a:cubicBezTo>
                  <a:pt x="1430246" y="1980761"/>
                  <a:pt x="1401296" y="1951830"/>
                  <a:pt x="1401296" y="1916115"/>
                </a:cubicBezTo>
                <a:cubicBezTo>
                  <a:pt x="1401296" y="1880402"/>
                  <a:pt x="1430246" y="1851450"/>
                  <a:pt x="1465960" y="1851450"/>
                </a:cubicBezTo>
                <a:close/>
                <a:moveTo>
                  <a:pt x="10625394" y="1851450"/>
                </a:moveTo>
                <a:cubicBezTo>
                  <a:pt x="10661108" y="1851450"/>
                  <a:pt x="10690060" y="1880400"/>
                  <a:pt x="10690060" y="1916114"/>
                </a:cubicBezTo>
                <a:cubicBezTo>
                  <a:pt x="10690060" y="1951828"/>
                  <a:pt x="10661108" y="1980760"/>
                  <a:pt x="10625394" y="1980760"/>
                </a:cubicBezTo>
                <a:cubicBezTo>
                  <a:pt x="10589680" y="1980760"/>
                  <a:pt x="10560728" y="1951828"/>
                  <a:pt x="10560728" y="1916114"/>
                </a:cubicBezTo>
                <a:cubicBezTo>
                  <a:pt x="10560728" y="1880400"/>
                  <a:pt x="10589680" y="1851450"/>
                  <a:pt x="10625394" y="1851450"/>
                </a:cubicBezTo>
                <a:close/>
                <a:moveTo>
                  <a:pt x="10159588" y="1851450"/>
                </a:moveTo>
                <a:cubicBezTo>
                  <a:pt x="10195302" y="1851450"/>
                  <a:pt x="10224254" y="1880400"/>
                  <a:pt x="10224254" y="1916114"/>
                </a:cubicBezTo>
                <a:cubicBezTo>
                  <a:pt x="10224254" y="1951828"/>
                  <a:pt x="10195302" y="1980760"/>
                  <a:pt x="10159588" y="1980760"/>
                </a:cubicBezTo>
                <a:cubicBezTo>
                  <a:pt x="10123874" y="1980760"/>
                  <a:pt x="10094922" y="1951828"/>
                  <a:pt x="10094922" y="1916114"/>
                </a:cubicBezTo>
                <a:cubicBezTo>
                  <a:pt x="10094922" y="1880400"/>
                  <a:pt x="10123874" y="1851450"/>
                  <a:pt x="10159588" y="1851450"/>
                </a:cubicBezTo>
                <a:close/>
                <a:moveTo>
                  <a:pt x="10003016" y="1851450"/>
                </a:moveTo>
                <a:cubicBezTo>
                  <a:pt x="10038730" y="1851450"/>
                  <a:pt x="10067682" y="1880400"/>
                  <a:pt x="10067682" y="1916114"/>
                </a:cubicBezTo>
                <a:cubicBezTo>
                  <a:pt x="10067682" y="1951828"/>
                  <a:pt x="10038730" y="1980760"/>
                  <a:pt x="10003016" y="1980760"/>
                </a:cubicBezTo>
                <a:cubicBezTo>
                  <a:pt x="9967302" y="1980760"/>
                  <a:pt x="9938350" y="1951828"/>
                  <a:pt x="9938350" y="1916114"/>
                </a:cubicBezTo>
                <a:cubicBezTo>
                  <a:pt x="9938350" y="1880400"/>
                  <a:pt x="9967302" y="1851450"/>
                  <a:pt x="10003016" y="1851450"/>
                </a:cubicBezTo>
                <a:close/>
                <a:moveTo>
                  <a:pt x="9850358" y="1851450"/>
                </a:moveTo>
                <a:cubicBezTo>
                  <a:pt x="9886072" y="1851450"/>
                  <a:pt x="9915024" y="1880400"/>
                  <a:pt x="9915024" y="1916114"/>
                </a:cubicBezTo>
                <a:cubicBezTo>
                  <a:pt x="9915024" y="1951828"/>
                  <a:pt x="9886072" y="1980760"/>
                  <a:pt x="9850358" y="1980760"/>
                </a:cubicBezTo>
                <a:cubicBezTo>
                  <a:pt x="9814644" y="1980760"/>
                  <a:pt x="9785692" y="1951828"/>
                  <a:pt x="9785692" y="1916114"/>
                </a:cubicBezTo>
                <a:cubicBezTo>
                  <a:pt x="9785692" y="1880400"/>
                  <a:pt x="9814644" y="1851450"/>
                  <a:pt x="9850358" y="1851450"/>
                </a:cubicBezTo>
                <a:close/>
                <a:moveTo>
                  <a:pt x="9693783" y="1851450"/>
                </a:moveTo>
                <a:cubicBezTo>
                  <a:pt x="9729497" y="1851450"/>
                  <a:pt x="9758449" y="1880400"/>
                  <a:pt x="9758449" y="1916114"/>
                </a:cubicBezTo>
                <a:cubicBezTo>
                  <a:pt x="9758449" y="1951828"/>
                  <a:pt x="9729497" y="1980760"/>
                  <a:pt x="9693783" y="1980760"/>
                </a:cubicBezTo>
                <a:cubicBezTo>
                  <a:pt x="9658069" y="1980760"/>
                  <a:pt x="9629117" y="1951828"/>
                  <a:pt x="9629117" y="1916114"/>
                </a:cubicBezTo>
                <a:cubicBezTo>
                  <a:pt x="9629117" y="1880400"/>
                  <a:pt x="9658069" y="1851450"/>
                  <a:pt x="9693783" y="1851450"/>
                </a:cubicBezTo>
                <a:close/>
                <a:moveTo>
                  <a:pt x="9541123" y="1851450"/>
                </a:moveTo>
                <a:cubicBezTo>
                  <a:pt x="9576837" y="1851450"/>
                  <a:pt x="9605789" y="1880400"/>
                  <a:pt x="9605789" y="1916114"/>
                </a:cubicBezTo>
                <a:cubicBezTo>
                  <a:pt x="9605789" y="1951828"/>
                  <a:pt x="9576837" y="1980760"/>
                  <a:pt x="9541123" y="1980760"/>
                </a:cubicBezTo>
                <a:cubicBezTo>
                  <a:pt x="9505409" y="1980760"/>
                  <a:pt x="9476457" y="1951828"/>
                  <a:pt x="9476457" y="1916114"/>
                </a:cubicBezTo>
                <a:cubicBezTo>
                  <a:pt x="9476457" y="1880400"/>
                  <a:pt x="9505409" y="1851450"/>
                  <a:pt x="9541123" y="1851450"/>
                </a:cubicBezTo>
                <a:close/>
                <a:moveTo>
                  <a:pt x="9384550" y="1851450"/>
                </a:moveTo>
                <a:cubicBezTo>
                  <a:pt x="9420264" y="1851450"/>
                  <a:pt x="9449216" y="1880400"/>
                  <a:pt x="9449216" y="1916114"/>
                </a:cubicBezTo>
                <a:cubicBezTo>
                  <a:pt x="9449216" y="1951828"/>
                  <a:pt x="9420264" y="1980760"/>
                  <a:pt x="9384550" y="1980760"/>
                </a:cubicBezTo>
                <a:cubicBezTo>
                  <a:pt x="9348836" y="1980760"/>
                  <a:pt x="9319884" y="1951828"/>
                  <a:pt x="9319884" y="1916114"/>
                </a:cubicBezTo>
                <a:cubicBezTo>
                  <a:pt x="9319884" y="1880400"/>
                  <a:pt x="9348836" y="1851450"/>
                  <a:pt x="9384550" y="1851450"/>
                </a:cubicBezTo>
                <a:close/>
                <a:moveTo>
                  <a:pt x="9227977" y="1851450"/>
                </a:moveTo>
                <a:cubicBezTo>
                  <a:pt x="9263691" y="1851450"/>
                  <a:pt x="9292643" y="1880400"/>
                  <a:pt x="9292643" y="1916114"/>
                </a:cubicBezTo>
                <a:cubicBezTo>
                  <a:pt x="9292643" y="1951828"/>
                  <a:pt x="9263691" y="1980760"/>
                  <a:pt x="9227977" y="1980760"/>
                </a:cubicBezTo>
                <a:cubicBezTo>
                  <a:pt x="9192263" y="1980760"/>
                  <a:pt x="9163311" y="1951828"/>
                  <a:pt x="9163311" y="1916114"/>
                </a:cubicBezTo>
                <a:cubicBezTo>
                  <a:pt x="9163311" y="1880400"/>
                  <a:pt x="9192263" y="1851450"/>
                  <a:pt x="9227977" y="1851450"/>
                </a:cubicBezTo>
                <a:close/>
                <a:moveTo>
                  <a:pt x="9075319" y="1851450"/>
                </a:moveTo>
                <a:cubicBezTo>
                  <a:pt x="9111033" y="1851450"/>
                  <a:pt x="9139985" y="1880400"/>
                  <a:pt x="9139985" y="1916114"/>
                </a:cubicBezTo>
                <a:cubicBezTo>
                  <a:pt x="9139985" y="1951828"/>
                  <a:pt x="9111033" y="1980760"/>
                  <a:pt x="9075319" y="1980760"/>
                </a:cubicBezTo>
                <a:cubicBezTo>
                  <a:pt x="9039605" y="1980760"/>
                  <a:pt x="9010653" y="1951828"/>
                  <a:pt x="9010653" y="1916114"/>
                </a:cubicBezTo>
                <a:cubicBezTo>
                  <a:pt x="9010653" y="1880400"/>
                  <a:pt x="9039605" y="1851450"/>
                  <a:pt x="9075319" y="1851450"/>
                </a:cubicBezTo>
                <a:close/>
                <a:moveTo>
                  <a:pt x="8914831" y="1851450"/>
                </a:moveTo>
                <a:cubicBezTo>
                  <a:pt x="8950545" y="1851450"/>
                  <a:pt x="8979497" y="1880400"/>
                  <a:pt x="8979497" y="1916114"/>
                </a:cubicBezTo>
                <a:cubicBezTo>
                  <a:pt x="8979497" y="1951828"/>
                  <a:pt x="8950545" y="1980760"/>
                  <a:pt x="8914831" y="1980760"/>
                </a:cubicBezTo>
                <a:cubicBezTo>
                  <a:pt x="8879117" y="1980760"/>
                  <a:pt x="8850165" y="1951828"/>
                  <a:pt x="8850165" y="1916114"/>
                </a:cubicBezTo>
                <a:cubicBezTo>
                  <a:pt x="8850165" y="1880400"/>
                  <a:pt x="8879117" y="1851450"/>
                  <a:pt x="8914831" y="1851450"/>
                </a:cubicBezTo>
                <a:close/>
                <a:moveTo>
                  <a:pt x="8766086" y="1851450"/>
                </a:moveTo>
                <a:cubicBezTo>
                  <a:pt x="8801800" y="1851450"/>
                  <a:pt x="8830752" y="1880400"/>
                  <a:pt x="8830752" y="1916114"/>
                </a:cubicBezTo>
                <a:cubicBezTo>
                  <a:pt x="8830752" y="1951828"/>
                  <a:pt x="8801800" y="1980760"/>
                  <a:pt x="8766086" y="1980760"/>
                </a:cubicBezTo>
                <a:cubicBezTo>
                  <a:pt x="8730372" y="1980760"/>
                  <a:pt x="8701420" y="1951828"/>
                  <a:pt x="8701420" y="1916114"/>
                </a:cubicBezTo>
                <a:cubicBezTo>
                  <a:pt x="8701420" y="1880400"/>
                  <a:pt x="8730372" y="1851450"/>
                  <a:pt x="8766086" y="1851450"/>
                </a:cubicBezTo>
                <a:close/>
                <a:moveTo>
                  <a:pt x="8601685" y="1851450"/>
                </a:moveTo>
                <a:cubicBezTo>
                  <a:pt x="8637399" y="1851450"/>
                  <a:pt x="8666351" y="1880400"/>
                  <a:pt x="8666351" y="1916114"/>
                </a:cubicBezTo>
                <a:cubicBezTo>
                  <a:pt x="8666351" y="1951828"/>
                  <a:pt x="8637399" y="1980760"/>
                  <a:pt x="8601685" y="1980760"/>
                </a:cubicBezTo>
                <a:cubicBezTo>
                  <a:pt x="8565971" y="1980760"/>
                  <a:pt x="8537019" y="1951828"/>
                  <a:pt x="8537019" y="1916114"/>
                </a:cubicBezTo>
                <a:cubicBezTo>
                  <a:pt x="8537019" y="1880400"/>
                  <a:pt x="8565971" y="1851450"/>
                  <a:pt x="8601685" y="1851450"/>
                </a:cubicBezTo>
                <a:close/>
                <a:moveTo>
                  <a:pt x="8449025" y="1851450"/>
                </a:moveTo>
                <a:cubicBezTo>
                  <a:pt x="8484739" y="1851450"/>
                  <a:pt x="8513691" y="1880400"/>
                  <a:pt x="8513691" y="1916114"/>
                </a:cubicBezTo>
                <a:cubicBezTo>
                  <a:pt x="8513691" y="1951828"/>
                  <a:pt x="8484739" y="1980760"/>
                  <a:pt x="8449025" y="1980760"/>
                </a:cubicBezTo>
                <a:cubicBezTo>
                  <a:pt x="8413311" y="1980760"/>
                  <a:pt x="8384359" y="1951828"/>
                  <a:pt x="8384359" y="1916114"/>
                </a:cubicBezTo>
                <a:cubicBezTo>
                  <a:pt x="8384359" y="1880400"/>
                  <a:pt x="8413311" y="1851450"/>
                  <a:pt x="8449025" y="1851450"/>
                </a:cubicBezTo>
                <a:close/>
                <a:moveTo>
                  <a:pt x="8296368" y="1851450"/>
                </a:moveTo>
                <a:cubicBezTo>
                  <a:pt x="8332082" y="1851450"/>
                  <a:pt x="8361034" y="1880400"/>
                  <a:pt x="8361034" y="1916114"/>
                </a:cubicBezTo>
                <a:cubicBezTo>
                  <a:pt x="8361034" y="1951828"/>
                  <a:pt x="8332082" y="1980760"/>
                  <a:pt x="8296368" y="1980760"/>
                </a:cubicBezTo>
                <a:cubicBezTo>
                  <a:pt x="8260654" y="1980760"/>
                  <a:pt x="8231702" y="1951828"/>
                  <a:pt x="8231702" y="1916114"/>
                </a:cubicBezTo>
                <a:cubicBezTo>
                  <a:pt x="8231702" y="1880400"/>
                  <a:pt x="8260654" y="1851450"/>
                  <a:pt x="8296368" y="1851450"/>
                </a:cubicBezTo>
                <a:close/>
                <a:moveTo>
                  <a:pt x="8139793" y="1851450"/>
                </a:moveTo>
                <a:cubicBezTo>
                  <a:pt x="8175507" y="1851450"/>
                  <a:pt x="8204459" y="1880400"/>
                  <a:pt x="8204459" y="1916114"/>
                </a:cubicBezTo>
                <a:cubicBezTo>
                  <a:pt x="8204459" y="1951828"/>
                  <a:pt x="8175507" y="1980760"/>
                  <a:pt x="8139793" y="1980760"/>
                </a:cubicBezTo>
                <a:cubicBezTo>
                  <a:pt x="8104079" y="1980760"/>
                  <a:pt x="8075127" y="1951828"/>
                  <a:pt x="8075127" y="1916114"/>
                </a:cubicBezTo>
                <a:cubicBezTo>
                  <a:pt x="8075127" y="1880400"/>
                  <a:pt x="8104079" y="1851450"/>
                  <a:pt x="8139793" y="1851450"/>
                </a:cubicBezTo>
                <a:close/>
                <a:moveTo>
                  <a:pt x="7987133" y="1851450"/>
                </a:moveTo>
                <a:cubicBezTo>
                  <a:pt x="8022847" y="1851450"/>
                  <a:pt x="8051799" y="1880400"/>
                  <a:pt x="8051799" y="1916114"/>
                </a:cubicBezTo>
                <a:cubicBezTo>
                  <a:pt x="8051799" y="1951828"/>
                  <a:pt x="8022847" y="1980760"/>
                  <a:pt x="7987133" y="1980760"/>
                </a:cubicBezTo>
                <a:cubicBezTo>
                  <a:pt x="7951419" y="1980760"/>
                  <a:pt x="7922467" y="1951828"/>
                  <a:pt x="7922467" y="1916114"/>
                </a:cubicBezTo>
                <a:cubicBezTo>
                  <a:pt x="7922467" y="1880400"/>
                  <a:pt x="7951419" y="1851450"/>
                  <a:pt x="7987133" y="1851450"/>
                </a:cubicBezTo>
                <a:close/>
                <a:moveTo>
                  <a:pt x="7830562" y="1851450"/>
                </a:moveTo>
                <a:cubicBezTo>
                  <a:pt x="7866276" y="1851450"/>
                  <a:pt x="7895228" y="1880400"/>
                  <a:pt x="7895228" y="1916114"/>
                </a:cubicBezTo>
                <a:cubicBezTo>
                  <a:pt x="7895228" y="1951828"/>
                  <a:pt x="7866276" y="1980760"/>
                  <a:pt x="7830562" y="1980760"/>
                </a:cubicBezTo>
                <a:cubicBezTo>
                  <a:pt x="7794848" y="1980760"/>
                  <a:pt x="7765896" y="1951828"/>
                  <a:pt x="7765896" y="1916114"/>
                </a:cubicBezTo>
                <a:cubicBezTo>
                  <a:pt x="7765896" y="1880400"/>
                  <a:pt x="7794848" y="1851450"/>
                  <a:pt x="7830562" y="1851450"/>
                </a:cubicBezTo>
                <a:close/>
                <a:moveTo>
                  <a:pt x="7677904" y="1851450"/>
                </a:moveTo>
                <a:cubicBezTo>
                  <a:pt x="7713618" y="1851450"/>
                  <a:pt x="7742570" y="1880400"/>
                  <a:pt x="7742570" y="1916114"/>
                </a:cubicBezTo>
                <a:cubicBezTo>
                  <a:pt x="7742570" y="1951828"/>
                  <a:pt x="7713618" y="1980760"/>
                  <a:pt x="7677904" y="1980760"/>
                </a:cubicBezTo>
                <a:cubicBezTo>
                  <a:pt x="7642190" y="1980760"/>
                  <a:pt x="7613238" y="1951828"/>
                  <a:pt x="7613238" y="1916114"/>
                </a:cubicBezTo>
                <a:cubicBezTo>
                  <a:pt x="7613238" y="1880400"/>
                  <a:pt x="7642190" y="1851450"/>
                  <a:pt x="7677904" y="1851450"/>
                </a:cubicBezTo>
                <a:close/>
                <a:moveTo>
                  <a:pt x="7521331" y="1851450"/>
                </a:moveTo>
                <a:cubicBezTo>
                  <a:pt x="7557045" y="1851450"/>
                  <a:pt x="7585997" y="1880400"/>
                  <a:pt x="7585997" y="1916114"/>
                </a:cubicBezTo>
                <a:cubicBezTo>
                  <a:pt x="7585997" y="1951828"/>
                  <a:pt x="7557045" y="1980760"/>
                  <a:pt x="7521331" y="1980760"/>
                </a:cubicBezTo>
                <a:cubicBezTo>
                  <a:pt x="7485617" y="1980760"/>
                  <a:pt x="7456665" y="1951828"/>
                  <a:pt x="7456665" y="1916114"/>
                </a:cubicBezTo>
                <a:cubicBezTo>
                  <a:pt x="7456665" y="1880400"/>
                  <a:pt x="7485617" y="1851450"/>
                  <a:pt x="7521331" y="1851450"/>
                </a:cubicBezTo>
                <a:close/>
                <a:moveTo>
                  <a:pt x="7368671" y="1851450"/>
                </a:moveTo>
                <a:cubicBezTo>
                  <a:pt x="7404385" y="1851450"/>
                  <a:pt x="7433337" y="1880400"/>
                  <a:pt x="7433337" y="1916114"/>
                </a:cubicBezTo>
                <a:cubicBezTo>
                  <a:pt x="7433337" y="1951828"/>
                  <a:pt x="7404385" y="1980760"/>
                  <a:pt x="7368671" y="1980760"/>
                </a:cubicBezTo>
                <a:cubicBezTo>
                  <a:pt x="7332957" y="1980760"/>
                  <a:pt x="7304005" y="1951828"/>
                  <a:pt x="7304005" y="1916114"/>
                </a:cubicBezTo>
                <a:cubicBezTo>
                  <a:pt x="7304005" y="1880400"/>
                  <a:pt x="7332957" y="1851450"/>
                  <a:pt x="7368671" y="1851450"/>
                </a:cubicBezTo>
                <a:close/>
                <a:moveTo>
                  <a:pt x="7212096" y="1851450"/>
                </a:moveTo>
                <a:cubicBezTo>
                  <a:pt x="7247810" y="1851450"/>
                  <a:pt x="7276762" y="1880400"/>
                  <a:pt x="7276762" y="1916114"/>
                </a:cubicBezTo>
                <a:cubicBezTo>
                  <a:pt x="7276762" y="1951828"/>
                  <a:pt x="7247810" y="1980760"/>
                  <a:pt x="7212096" y="1980760"/>
                </a:cubicBezTo>
                <a:cubicBezTo>
                  <a:pt x="7176382" y="1980760"/>
                  <a:pt x="7147430" y="1951828"/>
                  <a:pt x="7147430" y="1916114"/>
                </a:cubicBezTo>
                <a:cubicBezTo>
                  <a:pt x="7147430" y="1880400"/>
                  <a:pt x="7176382" y="1851450"/>
                  <a:pt x="7212096" y="1851450"/>
                </a:cubicBezTo>
                <a:close/>
                <a:moveTo>
                  <a:pt x="7055523" y="1851450"/>
                </a:moveTo>
                <a:cubicBezTo>
                  <a:pt x="7091237" y="1851450"/>
                  <a:pt x="7120189" y="1880400"/>
                  <a:pt x="7120189" y="1916114"/>
                </a:cubicBezTo>
                <a:cubicBezTo>
                  <a:pt x="7120189" y="1951828"/>
                  <a:pt x="7091237" y="1980760"/>
                  <a:pt x="7055523" y="1980760"/>
                </a:cubicBezTo>
                <a:cubicBezTo>
                  <a:pt x="7019809" y="1980760"/>
                  <a:pt x="6990857" y="1951828"/>
                  <a:pt x="6990857" y="1916114"/>
                </a:cubicBezTo>
                <a:cubicBezTo>
                  <a:pt x="6990857" y="1880400"/>
                  <a:pt x="7019809" y="1851450"/>
                  <a:pt x="7055523" y="1851450"/>
                </a:cubicBezTo>
                <a:close/>
                <a:moveTo>
                  <a:pt x="6895037" y="1851450"/>
                </a:moveTo>
                <a:cubicBezTo>
                  <a:pt x="6930751" y="1851450"/>
                  <a:pt x="6959703" y="1880400"/>
                  <a:pt x="6959703" y="1916114"/>
                </a:cubicBezTo>
                <a:cubicBezTo>
                  <a:pt x="6959703" y="1951828"/>
                  <a:pt x="6930751" y="1980760"/>
                  <a:pt x="6895037" y="1980760"/>
                </a:cubicBezTo>
                <a:cubicBezTo>
                  <a:pt x="6859323" y="1980760"/>
                  <a:pt x="6830371" y="1951828"/>
                  <a:pt x="6830371" y="1916114"/>
                </a:cubicBezTo>
                <a:cubicBezTo>
                  <a:pt x="6830371" y="1880400"/>
                  <a:pt x="6859323" y="1851450"/>
                  <a:pt x="6895037" y="1851450"/>
                </a:cubicBezTo>
                <a:close/>
                <a:moveTo>
                  <a:pt x="6742377" y="1851450"/>
                </a:moveTo>
                <a:cubicBezTo>
                  <a:pt x="6778091" y="1851450"/>
                  <a:pt x="6807043" y="1880400"/>
                  <a:pt x="6807043" y="1916114"/>
                </a:cubicBezTo>
                <a:cubicBezTo>
                  <a:pt x="6807043" y="1951828"/>
                  <a:pt x="6778091" y="1980760"/>
                  <a:pt x="6742377" y="1980760"/>
                </a:cubicBezTo>
                <a:cubicBezTo>
                  <a:pt x="6706663" y="1980760"/>
                  <a:pt x="6677711" y="1951828"/>
                  <a:pt x="6677711" y="1916114"/>
                </a:cubicBezTo>
                <a:cubicBezTo>
                  <a:pt x="6677711" y="1880400"/>
                  <a:pt x="6706663" y="1851450"/>
                  <a:pt x="6742377" y="1851450"/>
                </a:cubicBezTo>
                <a:close/>
                <a:moveTo>
                  <a:pt x="6585804" y="1851450"/>
                </a:moveTo>
                <a:cubicBezTo>
                  <a:pt x="6621518" y="1851450"/>
                  <a:pt x="6650470" y="1880400"/>
                  <a:pt x="6650470" y="1916114"/>
                </a:cubicBezTo>
                <a:cubicBezTo>
                  <a:pt x="6650470" y="1951828"/>
                  <a:pt x="6621518" y="1980760"/>
                  <a:pt x="6585804" y="1980760"/>
                </a:cubicBezTo>
                <a:cubicBezTo>
                  <a:pt x="6550090" y="1980760"/>
                  <a:pt x="6521138" y="1951828"/>
                  <a:pt x="6521138" y="1916114"/>
                </a:cubicBezTo>
                <a:cubicBezTo>
                  <a:pt x="6521138" y="1880400"/>
                  <a:pt x="6550090" y="1851450"/>
                  <a:pt x="6585804" y="1851450"/>
                </a:cubicBezTo>
                <a:close/>
                <a:moveTo>
                  <a:pt x="6276571" y="1851450"/>
                </a:moveTo>
                <a:cubicBezTo>
                  <a:pt x="6312285" y="1851450"/>
                  <a:pt x="6341237" y="1880400"/>
                  <a:pt x="6341237" y="1916114"/>
                </a:cubicBezTo>
                <a:cubicBezTo>
                  <a:pt x="6341237" y="1951828"/>
                  <a:pt x="6312285" y="1980760"/>
                  <a:pt x="6276571" y="1980760"/>
                </a:cubicBezTo>
                <a:cubicBezTo>
                  <a:pt x="6240857" y="1980760"/>
                  <a:pt x="6211905" y="1951828"/>
                  <a:pt x="6211905" y="1916114"/>
                </a:cubicBezTo>
                <a:cubicBezTo>
                  <a:pt x="6211905" y="1880400"/>
                  <a:pt x="6240857" y="1851450"/>
                  <a:pt x="6276571" y="1851450"/>
                </a:cubicBezTo>
                <a:close/>
                <a:moveTo>
                  <a:pt x="6119999" y="1851450"/>
                </a:moveTo>
                <a:cubicBezTo>
                  <a:pt x="6155713" y="1851450"/>
                  <a:pt x="6184665" y="1880400"/>
                  <a:pt x="6184665" y="1916114"/>
                </a:cubicBezTo>
                <a:cubicBezTo>
                  <a:pt x="6184665" y="1951828"/>
                  <a:pt x="6155713" y="1980760"/>
                  <a:pt x="6119999" y="1980760"/>
                </a:cubicBezTo>
                <a:cubicBezTo>
                  <a:pt x="6084285" y="1980760"/>
                  <a:pt x="6055333" y="1951828"/>
                  <a:pt x="6055333" y="1916114"/>
                </a:cubicBezTo>
                <a:cubicBezTo>
                  <a:pt x="6055333" y="1880400"/>
                  <a:pt x="6084285" y="1851450"/>
                  <a:pt x="6119999" y="1851450"/>
                </a:cubicBezTo>
                <a:close/>
                <a:moveTo>
                  <a:pt x="5967339" y="1851450"/>
                </a:moveTo>
                <a:cubicBezTo>
                  <a:pt x="6003053" y="1851450"/>
                  <a:pt x="6032005" y="1880400"/>
                  <a:pt x="6032005" y="1916114"/>
                </a:cubicBezTo>
                <a:cubicBezTo>
                  <a:pt x="6032005" y="1951828"/>
                  <a:pt x="6003053" y="1980760"/>
                  <a:pt x="5967339" y="1980760"/>
                </a:cubicBezTo>
                <a:cubicBezTo>
                  <a:pt x="5931625" y="1980760"/>
                  <a:pt x="5902673" y="1951828"/>
                  <a:pt x="5902673" y="1916114"/>
                </a:cubicBezTo>
                <a:cubicBezTo>
                  <a:pt x="5902673" y="1880400"/>
                  <a:pt x="5931625" y="1851450"/>
                  <a:pt x="5967339" y="1851450"/>
                </a:cubicBezTo>
                <a:close/>
                <a:moveTo>
                  <a:pt x="5810798" y="1851450"/>
                </a:moveTo>
                <a:cubicBezTo>
                  <a:pt x="5846480" y="1851450"/>
                  <a:pt x="5875432" y="1880400"/>
                  <a:pt x="5875432" y="1916114"/>
                </a:cubicBezTo>
                <a:cubicBezTo>
                  <a:pt x="5875432" y="1951828"/>
                  <a:pt x="5846480" y="1980760"/>
                  <a:pt x="5810798" y="1980760"/>
                </a:cubicBezTo>
                <a:cubicBezTo>
                  <a:pt x="5775075" y="1980760"/>
                  <a:pt x="5746117" y="1951828"/>
                  <a:pt x="5746117" y="1916114"/>
                </a:cubicBezTo>
                <a:cubicBezTo>
                  <a:pt x="5746117" y="1880400"/>
                  <a:pt x="5775075" y="1851450"/>
                  <a:pt x="5810798" y="1851450"/>
                </a:cubicBezTo>
                <a:close/>
                <a:moveTo>
                  <a:pt x="5658111" y="1851450"/>
                </a:moveTo>
                <a:cubicBezTo>
                  <a:pt x="5693825" y="1851450"/>
                  <a:pt x="5722783" y="1880400"/>
                  <a:pt x="5722783" y="1916114"/>
                </a:cubicBezTo>
                <a:cubicBezTo>
                  <a:pt x="5722783" y="1951828"/>
                  <a:pt x="5693825" y="1980760"/>
                  <a:pt x="5658111" y="1980760"/>
                </a:cubicBezTo>
                <a:cubicBezTo>
                  <a:pt x="5622399" y="1980760"/>
                  <a:pt x="5593443" y="1951828"/>
                  <a:pt x="5593443" y="1916114"/>
                </a:cubicBezTo>
                <a:cubicBezTo>
                  <a:pt x="5593443" y="1880400"/>
                  <a:pt x="5622399" y="1851450"/>
                  <a:pt x="5658111" y="1851450"/>
                </a:cubicBezTo>
                <a:close/>
                <a:moveTo>
                  <a:pt x="5501543" y="1851450"/>
                </a:moveTo>
                <a:cubicBezTo>
                  <a:pt x="5537254" y="1851450"/>
                  <a:pt x="5566204" y="1880400"/>
                  <a:pt x="5566204" y="1916114"/>
                </a:cubicBezTo>
                <a:cubicBezTo>
                  <a:pt x="5566204" y="1951828"/>
                  <a:pt x="5537254" y="1980760"/>
                  <a:pt x="5501543" y="1980760"/>
                </a:cubicBezTo>
                <a:cubicBezTo>
                  <a:pt x="5465827" y="1980760"/>
                  <a:pt x="5436885" y="1951828"/>
                  <a:pt x="5436885" y="1916114"/>
                </a:cubicBezTo>
                <a:cubicBezTo>
                  <a:pt x="5436885" y="1880400"/>
                  <a:pt x="5465827" y="1851450"/>
                  <a:pt x="5501543" y="1851450"/>
                </a:cubicBezTo>
                <a:close/>
                <a:moveTo>
                  <a:pt x="5348888" y="1851450"/>
                </a:moveTo>
                <a:cubicBezTo>
                  <a:pt x="5384604" y="1851450"/>
                  <a:pt x="5413554" y="1880400"/>
                  <a:pt x="5413554" y="1916114"/>
                </a:cubicBezTo>
                <a:cubicBezTo>
                  <a:pt x="5413554" y="1951828"/>
                  <a:pt x="5384604" y="1980760"/>
                  <a:pt x="5348888" y="1980760"/>
                </a:cubicBezTo>
                <a:cubicBezTo>
                  <a:pt x="5313189" y="1980760"/>
                  <a:pt x="5284230" y="1951828"/>
                  <a:pt x="5284230" y="1916114"/>
                </a:cubicBezTo>
                <a:cubicBezTo>
                  <a:pt x="5284230" y="1880400"/>
                  <a:pt x="5313189" y="1851450"/>
                  <a:pt x="5348888" y="1851450"/>
                </a:cubicBezTo>
                <a:close/>
                <a:moveTo>
                  <a:pt x="3630594" y="1851450"/>
                </a:moveTo>
                <a:cubicBezTo>
                  <a:pt x="3666307" y="1851450"/>
                  <a:pt x="3695260" y="1880400"/>
                  <a:pt x="3695260" y="1916114"/>
                </a:cubicBezTo>
                <a:cubicBezTo>
                  <a:pt x="3695260" y="1951828"/>
                  <a:pt x="3666307" y="1980760"/>
                  <a:pt x="3630594" y="1980760"/>
                </a:cubicBezTo>
                <a:cubicBezTo>
                  <a:pt x="3594871" y="1980760"/>
                  <a:pt x="3565917" y="1951828"/>
                  <a:pt x="3565917" y="1916114"/>
                </a:cubicBezTo>
                <a:cubicBezTo>
                  <a:pt x="3565917" y="1880400"/>
                  <a:pt x="3594871" y="1851450"/>
                  <a:pt x="3630594" y="1851450"/>
                </a:cubicBezTo>
                <a:close/>
                <a:moveTo>
                  <a:pt x="3481843" y="1851450"/>
                </a:moveTo>
                <a:cubicBezTo>
                  <a:pt x="3517558" y="1851450"/>
                  <a:pt x="3546512" y="1880400"/>
                  <a:pt x="3546512" y="1916114"/>
                </a:cubicBezTo>
                <a:cubicBezTo>
                  <a:pt x="3546512" y="1951828"/>
                  <a:pt x="3517558" y="1980760"/>
                  <a:pt x="3481843" y="1980760"/>
                </a:cubicBezTo>
                <a:cubicBezTo>
                  <a:pt x="3446134" y="1980760"/>
                  <a:pt x="3417186" y="1951828"/>
                  <a:pt x="3417186" y="1916114"/>
                </a:cubicBezTo>
                <a:cubicBezTo>
                  <a:pt x="3417186" y="1880400"/>
                  <a:pt x="3446134" y="1851450"/>
                  <a:pt x="3481843" y="1851450"/>
                </a:cubicBezTo>
                <a:close/>
                <a:moveTo>
                  <a:pt x="3321374" y="1851450"/>
                </a:moveTo>
                <a:cubicBezTo>
                  <a:pt x="3357081" y="1851450"/>
                  <a:pt x="3386019" y="1880400"/>
                  <a:pt x="3386019" y="1916114"/>
                </a:cubicBezTo>
                <a:cubicBezTo>
                  <a:pt x="3386019" y="1951828"/>
                  <a:pt x="3357081" y="1980760"/>
                  <a:pt x="3321374" y="1980760"/>
                </a:cubicBezTo>
                <a:cubicBezTo>
                  <a:pt x="3285655" y="1980760"/>
                  <a:pt x="3256709" y="1951828"/>
                  <a:pt x="3256709" y="1916114"/>
                </a:cubicBezTo>
                <a:cubicBezTo>
                  <a:pt x="3256709" y="1880400"/>
                  <a:pt x="3285655" y="1851450"/>
                  <a:pt x="3321374" y="1851450"/>
                </a:cubicBezTo>
                <a:close/>
                <a:moveTo>
                  <a:pt x="3172621" y="1851450"/>
                </a:moveTo>
                <a:cubicBezTo>
                  <a:pt x="3208343" y="1851450"/>
                  <a:pt x="3237294" y="1880400"/>
                  <a:pt x="3237294" y="1916114"/>
                </a:cubicBezTo>
                <a:cubicBezTo>
                  <a:pt x="3237294" y="1951828"/>
                  <a:pt x="3208343" y="1980760"/>
                  <a:pt x="3172621" y="1980760"/>
                </a:cubicBezTo>
                <a:cubicBezTo>
                  <a:pt x="3136899" y="1980760"/>
                  <a:pt x="3107940" y="1951828"/>
                  <a:pt x="3107940" y="1916114"/>
                </a:cubicBezTo>
                <a:cubicBezTo>
                  <a:pt x="3107940" y="1880400"/>
                  <a:pt x="3136899" y="1851450"/>
                  <a:pt x="3172621" y="1851450"/>
                </a:cubicBezTo>
                <a:close/>
                <a:moveTo>
                  <a:pt x="3012108" y="1851450"/>
                </a:moveTo>
                <a:cubicBezTo>
                  <a:pt x="3047819" y="1851450"/>
                  <a:pt x="3076778" y="1880400"/>
                  <a:pt x="3076778" y="1916114"/>
                </a:cubicBezTo>
                <a:cubicBezTo>
                  <a:pt x="3076778" y="1951828"/>
                  <a:pt x="3047819" y="1980760"/>
                  <a:pt x="3012108" y="1980760"/>
                </a:cubicBezTo>
                <a:cubicBezTo>
                  <a:pt x="2976400" y="1980760"/>
                  <a:pt x="2947451" y="1951828"/>
                  <a:pt x="2947451" y="1916114"/>
                </a:cubicBezTo>
                <a:cubicBezTo>
                  <a:pt x="2947451" y="1880400"/>
                  <a:pt x="2976400" y="1851450"/>
                  <a:pt x="3012108" y="1851450"/>
                </a:cubicBezTo>
                <a:close/>
                <a:moveTo>
                  <a:pt x="2855554" y="1851450"/>
                </a:moveTo>
                <a:cubicBezTo>
                  <a:pt x="2891264" y="1851450"/>
                  <a:pt x="2920212" y="1880400"/>
                  <a:pt x="2920212" y="1916114"/>
                </a:cubicBezTo>
                <a:cubicBezTo>
                  <a:pt x="2920212" y="1951828"/>
                  <a:pt x="2891264" y="1980760"/>
                  <a:pt x="2855554" y="1980760"/>
                </a:cubicBezTo>
                <a:cubicBezTo>
                  <a:pt x="2819845" y="1980760"/>
                  <a:pt x="2790897" y="1951828"/>
                  <a:pt x="2790897" y="1916114"/>
                </a:cubicBezTo>
                <a:cubicBezTo>
                  <a:pt x="2790897" y="1880400"/>
                  <a:pt x="2819845" y="1851450"/>
                  <a:pt x="2855554" y="1851450"/>
                </a:cubicBezTo>
                <a:close/>
                <a:moveTo>
                  <a:pt x="2699002" y="1851450"/>
                </a:moveTo>
                <a:cubicBezTo>
                  <a:pt x="2734711" y="1851450"/>
                  <a:pt x="2763659" y="1880400"/>
                  <a:pt x="2763659" y="1916114"/>
                </a:cubicBezTo>
                <a:cubicBezTo>
                  <a:pt x="2763659" y="1951828"/>
                  <a:pt x="2734711" y="1980760"/>
                  <a:pt x="2699002" y="1980760"/>
                </a:cubicBezTo>
                <a:cubicBezTo>
                  <a:pt x="2663292" y="1980760"/>
                  <a:pt x="2634344" y="1951828"/>
                  <a:pt x="2634344" y="1916114"/>
                </a:cubicBezTo>
                <a:cubicBezTo>
                  <a:pt x="2634344" y="1880400"/>
                  <a:pt x="2663292" y="1851450"/>
                  <a:pt x="2699002" y="1851450"/>
                </a:cubicBezTo>
                <a:close/>
                <a:moveTo>
                  <a:pt x="2546361" y="1851450"/>
                </a:moveTo>
                <a:cubicBezTo>
                  <a:pt x="2582072" y="1851450"/>
                  <a:pt x="2611021" y="1880400"/>
                  <a:pt x="2611021" y="1916114"/>
                </a:cubicBezTo>
                <a:cubicBezTo>
                  <a:pt x="2611021" y="1951828"/>
                  <a:pt x="2582072" y="1980760"/>
                  <a:pt x="2546361" y="1980760"/>
                </a:cubicBezTo>
                <a:cubicBezTo>
                  <a:pt x="2510640" y="1980760"/>
                  <a:pt x="2481704" y="1951828"/>
                  <a:pt x="2481704" y="1916114"/>
                </a:cubicBezTo>
                <a:cubicBezTo>
                  <a:pt x="2481704" y="1880400"/>
                  <a:pt x="2510640" y="1851450"/>
                  <a:pt x="2546361" y="1851450"/>
                </a:cubicBezTo>
                <a:close/>
                <a:moveTo>
                  <a:pt x="2389782" y="1851450"/>
                </a:moveTo>
                <a:cubicBezTo>
                  <a:pt x="2425516" y="1851450"/>
                  <a:pt x="2454467" y="1880400"/>
                  <a:pt x="2454467" y="1916114"/>
                </a:cubicBezTo>
                <a:cubicBezTo>
                  <a:pt x="2454467" y="1951828"/>
                  <a:pt x="2425516" y="1980760"/>
                  <a:pt x="2389782" y="1980760"/>
                </a:cubicBezTo>
                <a:cubicBezTo>
                  <a:pt x="2354086" y="1980760"/>
                  <a:pt x="2325128" y="1951828"/>
                  <a:pt x="2325128" y="1916114"/>
                </a:cubicBezTo>
                <a:cubicBezTo>
                  <a:pt x="2325128" y="1880400"/>
                  <a:pt x="2354086" y="1851450"/>
                  <a:pt x="2389782" y="1851450"/>
                </a:cubicBezTo>
                <a:close/>
                <a:moveTo>
                  <a:pt x="10625394" y="1710535"/>
                </a:moveTo>
                <a:cubicBezTo>
                  <a:pt x="10661108" y="1710535"/>
                  <a:pt x="10690060" y="1739485"/>
                  <a:pt x="10690060" y="1775201"/>
                </a:cubicBezTo>
                <a:cubicBezTo>
                  <a:pt x="10690060" y="1810913"/>
                  <a:pt x="10661108" y="1839865"/>
                  <a:pt x="10625394" y="1839865"/>
                </a:cubicBezTo>
                <a:cubicBezTo>
                  <a:pt x="10589680" y="1839865"/>
                  <a:pt x="10560728" y="1810913"/>
                  <a:pt x="10560728" y="1775201"/>
                </a:cubicBezTo>
                <a:cubicBezTo>
                  <a:pt x="10560728" y="1739485"/>
                  <a:pt x="10589680" y="1710535"/>
                  <a:pt x="10625394" y="1710535"/>
                </a:cubicBezTo>
                <a:close/>
                <a:moveTo>
                  <a:pt x="10159588" y="1710535"/>
                </a:moveTo>
                <a:cubicBezTo>
                  <a:pt x="10195302" y="1710535"/>
                  <a:pt x="10224254" y="1739485"/>
                  <a:pt x="10224254" y="1775201"/>
                </a:cubicBezTo>
                <a:cubicBezTo>
                  <a:pt x="10224254" y="1810913"/>
                  <a:pt x="10195302" y="1839865"/>
                  <a:pt x="10159588" y="1839865"/>
                </a:cubicBezTo>
                <a:cubicBezTo>
                  <a:pt x="10123874" y="1839865"/>
                  <a:pt x="10094922" y="1810913"/>
                  <a:pt x="10094922" y="1775201"/>
                </a:cubicBezTo>
                <a:cubicBezTo>
                  <a:pt x="10094922" y="1739485"/>
                  <a:pt x="10123874" y="1710535"/>
                  <a:pt x="10159588" y="1710535"/>
                </a:cubicBezTo>
                <a:close/>
                <a:moveTo>
                  <a:pt x="10003016" y="1710535"/>
                </a:moveTo>
                <a:cubicBezTo>
                  <a:pt x="10038730" y="1710535"/>
                  <a:pt x="10067682" y="1739485"/>
                  <a:pt x="10067682" y="1775201"/>
                </a:cubicBezTo>
                <a:cubicBezTo>
                  <a:pt x="10067682" y="1810913"/>
                  <a:pt x="10038730" y="1839865"/>
                  <a:pt x="10003016" y="1839865"/>
                </a:cubicBezTo>
                <a:cubicBezTo>
                  <a:pt x="9967302" y="1839865"/>
                  <a:pt x="9938350" y="1810913"/>
                  <a:pt x="9938350" y="1775201"/>
                </a:cubicBezTo>
                <a:cubicBezTo>
                  <a:pt x="9938350" y="1739485"/>
                  <a:pt x="9967302" y="1710535"/>
                  <a:pt x="10003016" y="1710535"/>
                </a:cubicBezTo>
                <a:close/>
                <a:moveTo>
                  <a:pt x="9850356" y="1710535"/>
                </a:moveTo>
                <a:cubicBezTo>
                  <a:pt x="9886070" y="1710535"/>
                  <a:pt x="9915022" y="1739485"/>
                  <a:pt x="9915022" y="1775201"/>
                </a:cubicBezTo>
                <a:cubicBezTo>
                  <a:pt x="9915022" y="1810913"/>
                  <a:pt x="9886070" y="1839865"/>
                  <a:pt x="9850356" y="1839865"/>
                </a:cubicBezTo>
                <a:cubicBezTo>
                  <a:pt x="9814642" y="1839865"/>
                  <a:pt x="9785690" y="1810913"/>
                  <a:pt x="9785690" y="1775201"/>
                </a:cubicBezTo>
                <a:cubicBezTo>
                  <a:pt x="9785690" y="1739485"/>
                  <a:pt x="9814642" y="1710535"/>
                  <a:pt x="9850356" y="1710535"/>
                </a:cubicBezTo>
                <a:close/>
                <a:moveTo>
                  <a:pt x="9693782" y="1710535"/>
                </a:moveTo>
                <a:cubicBezTo>
                  <a:pt x="9729496" y="1710535"/>
                  <a:pt x="9758448" y="1739485"/>
                  <a:pt x="9758448" y="1775201"/>
                </a:cubicBezTo>
                <a:cubicBezTo>
                  <a:pt x="9758448" y="1810913"/>
                  <a:pt x="9729496" y="1839865"/>
                  <a:pt x="9693782" y="1839865"/>
                </a:cubicBezTo>
                <a:cubicBezTo>
                  <a:pt x="9658068" y="1839865"/>
                  <a:pt x="9629116" y="1810913"/>
                  <a:pt x="9629116" y="1775201"/>
                </a:cubicBezTo>
                <a:cubicBezTo>
                  <a:pt x="9629116" y="1739485"/>
                  <a:pt x="9658068" y="1710535"/>
                  <a:pt x="9693782" y="1710535"/>
                </a:cubicBezTo>
                <a:close/>
                <a:moveTo>
                  <a:pt x="9541123" y="1710535"/>
                </a:moveTo>
                <a:cubicBezTo>
                  <a:pt x="9576837" y="1710535"/>
                  <a:pt x="9605789" y="1739485"/>
                  <a:pt x="9605789" y="1775201"/>
                </a:cubicBezTo>
                <a:cubicBezTo>
                  <a:pt x="9605789" y="1810913"/>
                  <a:pt x="9576837" y="1839865"/>
                  <a:pt x="9541123" y="1839865"/>
                </a:cubicBezTo>
                <a:cubicBezTo>
                  <a:pt x="9505409" y="1839865"/>
                  <a:pt x="9476457" y="1810913"/>
                  <a:pt x="9476457" y="1775201"/>
                </a:cubicBezTo>
                <a:cubicBezTo>
                  <a:pt x="9476457" y="1739485"/>
                  <a:pt x="9505409" y="1710535"/>
                  <a:pt x="9541123" y="1710535"/>
                </a:cubicBezTo>
                <a:close/>
                <a:moveTo>
                  <a:pt x="9384550" y="1710535"/>
                </a:moveTo>
                <a:cubicBezTo>
                  <a:pt x="9420264" y="1710535"/>
                  <a:pt x="9449216" y="1739485"/>
                  <a:pt x="9449216" y="1775201"/>
                </a:cubicBezTo>
                <a:cubicBezTo>
                  <a:pt x="9449216" y="1810913"/>
                  <a:pt x="9420264" y="1839865"/>
                  <a:pt x="9384550" y="1839865"/>
                </a:cubicBezTo>
                <a:cubicBezTo>
                  <a:pt x="9348836" y="1839865"/>
                  <a:pt x="9319884" y="1810913"/>
                  <a:pt x="9319884" y="1775201"/>
                </a:cubicBezTo>
                <a:cubicBezTo>
                  <a:pt x="9319884" y="1739485"/>
                  <a:pt x="9348836" y="1710535"/>
                  <a:pt x="9384550" y="1710535"/>
                </a:cubicBezTo>
                <a:close/>
                <a:moveTo>
                  <a:pt x="9227977" y="1710535"/>
                </a:moveTo>
                <a:cubicBezTo>
                  <a:pt x="9263691" y="1710535"/>
                  <a:pt x="9292643" y="1739485"/>
                  <a:pt x="9292643" y="1775201"/>
                </a:cubicBezTo>
                <a:cubicBezTo>
                  <a:pt x="9292643" y="1810913"/>
                  <a:pt x="9263691" y="1839865"/>
                  <a:pt x="9227977" y="1839865"/>
                </a:cubicBezTo>
                <a:cubicBezTo>
                  <a:pt x="9192263" y="1839865"/>
                  <a:pt x="9163311" y="1810913"/>
                  <a:pt x="9163311" y="1775201"/>
                </a:cubicBezTo>
                <a:cubicBezTo>
                  <a:pt x="9163311" y="1739485"/>
                  <a:pt x="9192263" y="1710535"/>
                  <a:pt x="9227977" y="1710535"/>
                </a:cubicBezTo>
                <a:close/>
                <a:moveTo>
                  <a:pt x="9075317" y="1710535"/>
                </a:moveTo>
                <a:cubicBezTo>
                  <a:pt x="9111031" y="1710535"/>
                  <a:pt x="9139983" y="1739485"/>
                  <a:pt x="9139983" y="1775201"/>
                </a:cubicBezTo>
                <a:cubicBezTo>
                  <a:pt x="9139983" y="1810913"/>
                  <a:pt x="9111031" y="1839865"/>
                  <a:pt x="9075317" y="1839865"/>
                </a:cubicBezTo>
                <a:cubicBezTo>
                  <a:pt x="9039603" y="1839865"/>
                  <a:pt x="9010651" y="1810913"/>
                  <a:pt x="9010651" y="1775201"/>
                </a:cubicBezTo>
                <a:cubicBezTo>
                  <a:pt x="9010651" y="1739485"/>
                  <a:pt x="9039603" y="1710535"/>
                  <a:pt x="9075317" y="1710535"/>
                </a:cubicBezTo>
                <a:close/>
                <a:moveTo>
                  <a:pt x="8914829" y="1710535"/>
                </a:moveTo>
                <a:cubicBezTo>
                  <a:pt x="8950543" y="1710535"/>
                  <a:pt x="8979495" y="1739485"/>
                  <a:pt x="8979495" y="1775201"/>
                </a:cubicBezTo>
                <a:cubicBezTo>
                  <a:pt x="8979495" y="1810913"/>
                  <a:pt x="8950543" y="1839865"/>
                  <a:pt x="8914829" y="1839865"/>
                </a:cubicBezTo>
                <a:cubicBezTo>
                  <a:pt x="8879115" y="1839865"/>
                  <a:pt x="8850163" y="1810913"/>
                  <a:pt x="8850163" y="1775201"/>
                </a:cubicBezTo>
                <a:cubicBezTo>
                  <a:pt x="8850163" y="1739485"/>
                  <a:pt x="8879115" y="1710535"/>
                  <a:pt x="8914829" y="1710535"/>
                </a:cubicBezTo>
                <a:close/>
                <a:moveTo>
                  <a:pt x="8766086" y="1710535"/>
                </a:moveTo>
                <a:cubicBezTo>
                  <a:pt x="8801800" y="1710535"/>
                  <a:pt x="8830752" y="1739485"/>
                  <a:pt x="8830752" y="1775201"/>
                </a:cubicBezTo>
                <a:cubicBezTo>
                  <a:pt x="8830752" y="1810913"/>
                  <a:pt x="8801800" y="1839865"/>
                  <a:pt x="8766086" y="1839865"/>
                </a:cubicBezTo>
                <a:cubicBezTo>
                  <a:pt x="8730372" y="1839865"/>
                  <a:pt x="8701420" y="1810913"/>
                  <a:pt x="8701420" y="1775201"/>
                </a:cubicBezTo>
                <a:cubicBezTo>
                  <a:pt x="8701420" y="1739485"/>
                  <a:pt x="8730372" y="1710535"/>
                  <a:pt x="8766086" y="1710535"/>
                </a:cubicBezTo>
                <a:close/>
                <a:moveTo>
                  <a:pt x="8601683" y="1710535"/>
                </a:moveTo>
                <a:cubicBezTo>
                  <a:pt x="8637397" y="1710535"/>
                  <a:pt x="8666349" y="1739485"/>
                  <a:pt x="8666349" y="1775201"/>
                </a:cubicBezTo>
                <a:cubicBezTo>
                  <a:pt x="8666349" y="1810913"/>
                  <a:pt x="8637397" y="1839865"/>
                  <a:pt x="8601683" y="1839865"/>
                </a:cubicBezTo>
                <a:cubicBezTo>
                  <a:pt x="8565969" y="1839865"/>
                  <a:pt x="8537017" y="1810913"/>
                  <a:pt x="8537017" y="1775201"/>
                </a:cubicBezTo>
                <a:cubicBezTo>
                  <a:pt x="8537017" y="1739485"/>
                  <a:pt x="8565969" y="1710535"/>
                  <a:pt x="8601683" y="1710535"/>
                </a:cubicBezTo>
                <a:close/>
                <a:moveTo>
                  <a:pt x="8449025" y="1710535"/>
                </a:moveTo>
                <a:cubicBezTo>
                  <a:pt x="8484739" y="1710535"/>
                  <a:pt x="8513691" y="1739485"/>
                  <a:pt x="8513691" y="1775201"/>
                </a:cubicBezTo>
                <a:cubicBezTo>
                  <a:pt x="8513691" y="1810913"/>
                  <a:pt x="8484739" y="1839865"/>
                  <a:pt x="8449025" y="1839865"/>
                </a:cubicBezTo>
                <a:cubicBezTo>
                  <a:pt x="8413311" y="1839865"/>
                  <a:pt x="8384359" y="1810913"/>
                  <a:pt x="8384359" y="1775201"/>
                </a:cubicBezTo>
                <a:cubicBezTo>
                  <a:pt x="8384359" y="1739485"/>
                  <a:pt x="8413311" y="1710535"/>
                  <a:pt x="8449025" y="1710535"/>
                </a:cubicBezTo>
                <a:close/>
                <a:moveTo>
                  <a:pt x="8296367" y="1710535"/>
                </a:moveTo>
                <a:cubicBezTo>
                  <a:pt x="8332081" y="1710535"/>
                  <a:pt x="8361033" y="1739485"/>
                  <a:pt x="8361033" y="1775201"/>
                </a:cubicBezTo>
                <a:cubicBezTo>
                  <a:pt x="8361033" y="1810913"/>
                  <a:pt x="8332081" y="1839865"/>
                  <a:pt x="8296367" y="1839865"/>
                </a:cubicBezTo>
                <a:cubicBezTo>
                  <a:pt x="8260653" y="1839865"/>
                  <a:pt x="8231701" y="1810913"/>
                  <a:pt x="8231701" y="1775201"/>
                </a:cubicBezTo>
                <a:cubicBezTo>
                  <a:pt x="8231701" y="1739485"/>
                  <a:pt x="8260653" y="1710535"/>
                  <a:pt x="8296367" y="1710535"/>
                </a:cubicBezTo>
                <a:close/>
                <a:moveTo>
                  <a:pt x="8139792" y="1710535"/>
                </a:moveTo>
                <a:cubicBezTo>
                  <a:pt x="8175506" y="1710535"/>
                  <a:pt x="8204458" y="1739485"/>
                  <a:pt x="8204458" y="1775201"/>
                </a:cubicBezTo>
                <a:cubicBezTo>
                  <a:pt x="8204458" y="1810913"/>
                  <a:pt x="8175506" y="1839865"/>
                  <a:pt x="8139792" y="1839865"/>
                </a:cubicBezTo>
                <a:cubicBezTo>
                  <a:pt x="8104078" y="1839865"/>
                  <a:pt x="8075126" y="1810913"/>
                  <a:pt x="8075126" y="1775201"/>
                </a:cubicBezTo>
                <a:cubicBezTo>
                  <a:pt x="8075126" y="1739485"/>
                  <a:pt x="8104078" y="1710535"/>
                  <a:pt x="8139792" y="1710535"/>
                </a:cubicBezTo>
                <a:close/>
                <a:moveTo>
                  <a:pt x="7987133" y="1710535"/>
                </a:moveTo>
                <a:cubicBezTo>
                  <a:pt x="8022847" y="1710535"/>
                  <a:pt x="8051799" y="1739485"/>
                  <a:pt x="8051799" y="1775201"/>
                </a:cubicBezTo>
                <a:cubicBezTo>
                  <a:pt x="8051799" y="1810913"/>
                  <a:pt x="8022847" y="1839865"/>
                  <a:pt x="7987133" y="1839865"/>
                </a:cubicBezTo>
                <a:cubicBezTo>
                  <a:pt x="7951419" y="1839865"/>
                  <a:pt x="7922467" y="1810913"/>
                  <a:pt x="7922467" y="1775201"/>
                </a:cubicBezTo>
                <a:cubicBezTo>
                  <a:pt x="7922467" y="1739485"/>
                  <a:pt x="7951419" y="1710535"/>
                  <a:pt x="7987133" y="1710535"/>
                </a:cubicBezTo>
                <a:close/>
                <a:moveTo>
                  <a:pt x="7830562" y="1710535"/>
                </a:moveTo>
                <a:cubicBezTo>
                  <a:pt x="7866276" y="1710535"/>
                  <a:pt x="7895228" y="1739485"/>
                  <a:pt x="7895228" y="1775201"/>
                </a:cubicBezTo>
                <a:cubicBezTo>
                  <a:pt x="7895228" y="1810913"/>
                  <a:pt x="7866276" y="1839865"/>
                  <a:pt x="7830562" y="1839865"/>
                </a:cubicBezTo>
                <a:cubicBezTo>
                  <a:pt x="7794848" y="1839865"/>
                  <a:pt x="7765896" y="1810913"/>
                  <a:pt x="7765896" y="1775201"/>
                </a:cubicBezTo>
                <a:cubicBezTo>
                  <a:pt x="7765896" y="1739485"/>
                  <a:pt x="7794848" y="1710535"/>
                  <a:pt x="7830562" y="1710535"/>
                </a:cubicBezTo>
                <a:close/>
                <a:moveTo>
                  <a:pt x="7677902" y="1710535"/>
                </a:moveTo>
                <a:cubicBezTo>
                  <a:pt x="7713616" y="1710535"/>
                  <a:pt x="7742568" y="1739485"/>
                  <a:pt x="7742568" y="1775201"/>
                </a:cubicBezTo>
                <a:cubicBezTo>
                  <a:pt x="7742568" y="1810913"/>
                  <a:pt x="7713616" y="1839865"/>
                  <a:pt x="7677902" y="1839865"/>
                </a:cubicBezTo>
                <a:cubicBezTo>
                  <a:pt x="7642188" y="1839865"/>
                  <a:pt x="7613236" y="1810913"/>
                  <a:pt x="7613236" y="1775201"/>
                </a:cubicBezTo>
                <a:cubicBezTo>
                  <a:pt x="7613236" y="1739485"/>
                  <a:pt x="7642188" y="1710535"/>
                  <a:pt x="7677902" y="1710535"/>
                </a:cubicBezTo>
                <a:close/>
                <a:moveTo>
                  <a:pt x="7521329" y="1710535"/>
                </a:moveTo>
                <a:cubicBezTo>
                  <a:pt x="7557043" y="1710535"/>
                  <a:pt x="7585995" y="1739485"/>
                  <a:pt x="7585995" y="1775201"/>
                </a:cubicBezTo>
                <a:cubicBezTo>
                  <a:pt x="7585995" y="1810913"/>
                  <a:pt x="7557043" y="1839865"/>
                  <a:pt x="7521329" y="1839865"/>
                </a:cubicBezTo>
                <a:cubicBezTo>
                  <a:pt x="7485615" y="1839865"/>
                  <a:pt x="7456663" y="1810913"/>
                  <a:pt x="7456663" y="1775201"/>
                </a:cubicBezTo>
                <a:cubicBezTo>
                  <a:pt x="7456663" y="1739485"/>
                  <a:pt x="7485615" y="1710535"/>
                  <a:pt x="7521329" y="1710535"/>
                </a:cubicBezTo>
                <a:close/>
                <a:moveTo>
                  <a:pt x="7368669" y="1710535"/>
                </a:moveTo>
                <a:cubicBezTo>
                  <a:pt x="7404383" y="1710535"/>
                  <a:pt x="7433335" y="1739485"/>
                  <a:pt x="7433335" y="1775201"/>
                </a:cubicBezTo>
                <a:cubicBezTo>
                  <a:pt x="7433335" y="1810913"/>
                  <a:pt x="7404383" y="1839865"/>
                  <a:pt x="7368669" y="1839865"/>
                </a:cubicBezTo>
                <a:cubicBezTo>
                  <a:pt x="7332955" y="1839865"/>
                  <a:pt x="7304003" y="1810913"/>
                  <a:pt x="7304003" y="1775201"/>
                </a:cubicBezTo>
                <a:cubicBezTo>
                  <a:pt x="7304003" y="1739485"/>
                  <a:pt x="7332955" y="1710535"/>
                  <a:pt x="7368669" y="1710535"/>
                </a:cubicBezTo>
                <a:close/>
                <a:moveTo>
                  <a:pt x="7212096" y="1710535"/>
                </a:moveTo>
                <a:cubicBezTo>
                  <a:pt x="7247810" y="1710535"/>
                  <a:pt x="7276762" y="1739485"/>
                  <a:pt x="7276762" y="1775201"/>
                </a:cubicBezTo>
                <a:cubicBezTo>
                  <a:pt x="7276762" y="1810913"/>
                  <a:pt x="7247810" y="1839865"/>
                  <a:pt x="7212096" y="1839865"/>
                </a:cubicBezTo>
                <a:cubicBezTo>
                  <a:pt x="7176382" y="1839865"/>
                  <a:pt x="7147430" y="1810913"/>
                  <a:pt x="7147430" y="1775201"/>
                </a:cubicBezTo>
                <a:cubicBezTo>
                  <a:pt x="7147430" y="1739485"/>
                  <a:pt x="7176382" y="1710535"/>
                  <a:pt x="7212096" y="1710535"/>
                </a:cubicBezTo>
                <a:close/>
                <a:moveTo>
                  <a:pt x="7055523" y="1710535"/>
                </a:moveTo>
                <a:cubicBezTo>
                  <a:pt x="7091237" y="1710535"/>
                  <a:pt x="7120189" y="1739485"/>
                  <a:pt x="7120189" y="1775201"/>
                </a:cubicBezTo>
                <a:cubicBezTo>
                  <a:pt x="7120189" y="1810913"/>
                  <a:pt x="7091237" y="1839865"/>
                  <a:pt x="7055523" y="1839865"/>
                </a:cubicBezTo>
                <a:cubicBezTo>
                  <a:pt x="7019809" y="1839865"/>
                  <a:pt x="6990857" y="1810913"/>
                  <a:pt x="6990857" y="1775201"/>
                </a:cubicBezTo>
                <a:cubicBezTo>
                  <a:pt x="6990857" y="1739485"/>
                  <a:pt x="7019809" y="1710535"/>
                  <a:pt x="7055523" y="1710535"/>
                </a:cubicBezTo>
                <a:close/>
                <a:moveTo>
                  <a:pt x="6895037" y="1710535"/>
                </a:moveTo>
                <a:cubicBezTo>
                  <a:pt x="6930751" y="1710535"/>
                  <a:pt x="6959703" y="1739485"/>
                  <a:pt x="6959703" y="1775201"/>
                </a:cubicBezTo>
                <a:cubicBezTo>
                  <a:pt x="6959703" y="1810913"/>
                  <a:pt x="6930751" y="1839865"/>
                  <a:pt x="6895037" y="1839865"/>
                </a:cubicBezTo>
                <a:cubicBezTo>
                  <a:pt x="6859323" y="1839865"/>
                  <a:pt x="6830371" y="1810913"/>
                  <a:pt x="6830371" y="1775201"/>
                </a:cubicBezTo>
                <a:cubicBezTo>
                  <a:pt x="6830371" y="1739485"/>
                  <a:pt x="6859323" y="1710535"/>
                  <a:pt x="6895037" y="1710535"/>
                </a:cubicBezTo>
                <a:close/>
                <a:moveTo>
                  <a:pt x="6742375" y="1710535"/>
                </a:moveTo>
                <a:cubicBezTo>
                  <a:pt x="6778089" y="1710535"/>
                  <a:pt x="6807041" y="1739485"/>
                  <a:pt x="6807041" y="1775201"/>
                </a:cubicBezTo>
                <a:cubicBezTo>
                  <a:pt x="6807041" y="1810913"/>
                  <a:pt x="6778089" y="1839865"/>
                  <a:pt x="6742375" y="1839865"/>
                </a:cubicBezTo>
                <a:cubicBezTo>
                  <a:pt x="6706661" y="1839865"/>
                  <a:pt x="6677709" y="1810913"/>
                  <a:pt x="6677709" y="1775201"/>
                </a:cubicBezTo>
                <a:cubicBezTo>
                  <a:pt x="6677709" y="1739485"/>
                  <a:pt x="6706661" y="1710535"/>
                  <a:pt x="6742375" y="1710535"/>
                </a:cubicBezTo>
                <a:close/>
                <a:moveTo>
                  <a:pt x="6585802" y="1710535"/>
                </a:moveTo>
                <a:cubicBezTo>
                  <a:pt x="6621516" y="1710535"/>
                  <a:pt x="6650468" y="1739485"/>
                  <a:pt x="6650468" y="1775201"/>
                </a:cubicBezTo>
                <a:cubicBezTo>
                  <a:pt x="6650468" y="1810913"/>
                  <a:pt x="6621516" y="1839865"/>
                  <a:pt x="6585802" y="1839865"/>
                </a:cubicBezTo>
                <a:cubicBezTo>
                  <a:pt x="6550088" y="1839865"/>
                  <a:pt x="6521136" y="1810913"/>
                  <a:pt x="6521136" y="1775201"/>
                </a:cubicBezTo>
                <a:cubicBezTo>
                  <a:pt x="6521136" y="1739485"/>
                  <a:pt x="6550088" y="1710535"/>
                  <a:pt x="6585802" y="1710535"/>
                </a:cubicBezTo>
                <a:close/>
                <a:moveTo>
                  <a:pt x="6429229" y="1710535"/>
                </a:moveTo>
                <a:cubicBezTo>
                  <a:pt x="6464943" y="1710535"/>
                  <a:pt x="6493895" y="1739485"/>
                  <a:pt x="6493895" y="1775201"/>
                </a:cubicBezTo>
                <a:cubicBezTo>
                  <a:pt x="6493895" y="1810913"/>
                  <a:pt x="6464943" y="1839865"/>
                  <a:pt x="6429229" y="1839865"/>
                </a:cubicBezTo>
                <a:cubicBezTo>
                  <a:pt x="6393515" y="1839865"/>
                  <a:pt x="6364563" y="1810913"/>
                  <a:pt x="6364563" y="1775201"/>
                </a:cubicBezTo>
                <a:cubicBezTo>
                  <a:pt x="6364563" y="1739485"/>
                  <a:pt x="6393515" y="1710535"/>
                  <a:pt x="6429229" y="1710535"/>
                </a:cubicBezTo>
                <a:close/>
                <a:moveTo>
                  <a:pt x="6276571" y="1710535"/>
                </a:moveTo>
                <a:cubicBezTo>
                  <a:pt x="6312285" y="1710535"/>
                  <a:pt x="6341237" y="1739485"/>
                  <a:pt x="6341237" y="1775201"/>
                </a:cubicBezTo>
                <a:cubicBezTo>
                  <a:pt x="6341237" y="1810913"/>
                  <a:pt x="6312285" y="1839865"/>
                  <a:pt x="6276571" y="1839865"/>
                </a:cubicBezTo>
                <a:cubicBezTo>
                  <a:pt x="6240857" y="1839865"/>
                  <a:pt x="6211905" y="1810913"/>
                  <a:pt x="6211905" y="1775201"/>
                </a:cubicBezTo>
                <a:cubicBezTo>
                  <a:pt x="6211905" y="1739485"/>
                  <a:pt x="6240857" y="1710535"/>
                  <a:pt x="6276571" y="1710535"/>
                </a:cubicBezTo>
                <a:close/>
                <a:moveTo>
                  <a:pt x="6119999" y="1710535"/>
                </a:moveTo>
                <a:cubicBezTo>
                  <a:pt x="6155713" y="1710535"/>
                  <a:pt x="6184665" y="1739485"/>
                  <a:pt x="6184665" y="1775201"/>
                </a:cubicBezTo>
                <a:cubicBezTo>
                  <a:pt x="6184665" y="1810913"/>
                  <a:pt x="6155713" y="1839865"/>
                  <a:pt x="6119999" y="1839865"/>
                </a:cubicBezTo>
                <a:cubicBezTo>
                  <a:pt x="6084285" y="1839865"/>
                  <a:pt x="6055333" y="1810913"/>
                  <a:pt x="6055333" y="1775201"/>
                </a:cubicBezTo>
                <a:cubicBezTo>
                  <a:pt x="6055333" y="1739485"/>
                  <a:pt x="6084285" y="1710535"/>
                  <a:pt x="6119999" y="1710535"/>
                </a:cubicBezTo>
                <a:close/>
                <a:moveTo>
                  <a:pt x="5967338" y="1710535"/>
                </a:moveTo>
                <a:cubicBezTo>
                  <a:pt x="6003052" y="1710535"/>
                  <a:pt x="6032004" y="1739485"/>
                  <a:pt x="6032004" y="1775201"/>
                </a:cubicBezTo>
                <a:cubicBezTo>
                  <a:pt x="6032004" y="1810913"/>
                  <a:pt x="6003052" y="1839865"/>
                  <a:pt x="5967338" y="1839865"/>
                </a:cubicBezTo>
                <a:cubicBezTo>
                  <a:pt x="5931624" y="1839865"/>
                  <a:pt x="5902672" y="1810913"/>
                  <a:pt x="5902672" y="1775201"/>
                </a:cubicBezTo>
                <a:cubicBezTo>
                  <a:pt x="5902672" y="1739485"/>
                  <a:pt x="5931624" y="1710535"/>
                  <a:pt x="5967338" y="1710535"/>
                </a:cubicBezTo>
                <a:close/>
                <a:moveTo>
                  <a:pt x="5810800" y="1710535"/>
                </a:moveTo>
                <a:cubicBezTo>
                  <a:pt x="5846479" y="1710535"/>
                  <a:pt x="5875431" y="1739485"/>
                  <a:pt x="5875431" y="1775201"/>
                </a:cubicBezTo>
                <a:cubicBezTo>
                  <a:pt x="5875431" y="1810913"/>
                  <a:pt x="5846479" y="1839865"/>
                  <a:pt x="5810800" y="1839865"/>
                </a:cubicBezTo>
                <a:cubicBezTo>
                  <a:pt x="5775077" y="1839865"/>
                  <a:pt x="5746117" y="1810913"/>
                  <a:pt x="5746117" y="1775201"/>
                </a:cubicBezTo>
                <a:cubicBezTo>
                  <a:pt x="5746117" y="1739485"/>
                  <a:pt x="5775077" y="1710535"/>
                  <a:pt x="5810800" y="1710535"/>
                </a:cubicBezTo>
                <a:close/>
                <a:moveTo>
                  <a:pt x="5658108" y="1710535"/>
                </a:moveTo>
                <a:cubicBezTo>
                  <a:pt x="5693823" y="1710535"/>
                  <a:pt x="5722783" y="1739485"/>
                  <a:pt x="5722783" y="1775201"/>
                </a:cubicBezTo>
                <a:cubicBezTo>
                  <a:pt x="5722783" y="1810913"/>
                  <a:pt x="5693823" y="1839865"/>
                  <a:pt x="5658108" y="1839865"/>
                </a:cubicBezTo>
                <a:cubicBezTo>
                  <a:pt x="5622397" y="1839865"/>
                  <a:pt x="5593441" y="1810913"/>
                  <a:pt x="5593441" y="1775201"/>
                </a:cubicBezTo>
                <a:cubicBezTo>
                  <a:pt x="5593441" y="1739485"/>
                  <a:pt x="5622397" y="1710535"/>
                  <a:pt x="5658108" y="1710535"/>
                </a:cubicBezTo>
                <a:close/>
                <a:moveTo>
                  <a:pt x="5501543" y="1710535"/>
                </a:moveTo>
                <a:cubicBezTo>
                  <a:pt x="5537254" y="1710535"/>
                  <a:pt x="5566205" y="1739485"/>
                  <a:pt x="5566205" y="1775201"/>
                </a:cubicBezTo>
                <a:cubicBezTo>
                  <a:pt x="5566205" y="1810913"/>
                  <a:pt x="5537254" y="1839865"/>
                  <a:pt x="5501543" y="1839865"/>
                </a:cubicBezTo>
                <a:cubicBezTo>
                  <a:pt x="5465830" y="1839865"/>
                  <a:pt x="5436886" y="1810913"/>
                  <a:pt x="5436886" y="1775201"/>
                </a:cubicBezTo>
                <a:cubicBezTo>
                  <a:pt x="5436886" y="1739485"/>
                  <a:pt x="5465830" y="1710535"/>
                  <a:pt x="5501543" y="1710535"/>
                </a:cubicBezTo>
                <a:close/>
                <a:moveTo>
                  <a:pt x="5348888" y="1710535"/>
                </a:moveTo>
                <a:cubicBezTo>
                  <a:pt x="5384604" y="1710535"/>
                  <a:pt x="5413554" y="1739485"/>
                  <a:pt x="5413554" y="1775201"/>
                </a:cubicBezTo>
                <a:cubicBezTo>
                  <a:pt x="5413554" y="1810913"/>
                  <a:pt x="5384604" y="1839865"/>
                  <a:pt x="5348888" y="1839865"/>
                </a:cubicBezTo>
                <a:cubicBezTo>
                  <a:pt x="5313189" y="1839865"/>
                  <a:pt x="5284230" y="1810913"/>
                  <a:pt x="5284230" y="1775201"/>
                </a:cubicBezTo>
                <a:cubicBezTo>
                  <a:pt x="5284230" y="1739485"/>
                  <a:pt x="5313189" y="1710535"/>
                  <a:pt x="5348888" y="1710535"/>
                </a:cubicBezTo>
                <a:close/>
                <a:moveTo>
                  <a:pt x="5192321" y="1710535"/>
                </a:moveTo>
                <a:cubicBezTo>
                  <a:pt x="5228040" y="1710535"/>
                  <a:pt x="5256982" y="1739485"/>
                  <a:pt x="5256982" y="1775201"/>
                </a:cubicBezTo>
                <a:cubicBezTo>
                  <a:pt x="5256982" y="1810913"/>
                  <a:pt x="5228040" y="1839865"/>
                  <a:pt x="5192321" y="1839865"/>
                </a:cubicBezTo>
                <a:cubicBezTo>
                  <a:pt x="5156613" y="1839865"/>
                  <a:pt x="5127656" y="1810913"/>
                  <a:pt x="5127656" y="1775201"/>
                </a:cubicBezTo>
                <a:cubicBezTo>
                  <a:pt x="5127656" y="1739485"/>
                  <a:pt x="5156613" y="1710535"/>
                  <a:pt x="5192321" y="1710535"/>
                </a:cubicBezTo>
                <a:close/>
                <a:moveTo>
                  <a:pt x="3630603" y="1710535"/>
                </a:moveTo>
                <a:cubicBezTo>
                  <a:pt x="3666311" y="1710535"/>
                  <a:pt x="3695268" y="1739485"/>
                  <a:pt x="3695268" y="1775201"/>
                </a:cubicBezTo>
                <a:cubicBezTo>
                  <a:pt x="3695268" y="1810913"/>
                  <a:pt x="3666311" y="1839865"/>
                  <a:pt x="3630603" y="1839865"/>
                </a:cubicBezTo>
                <a:cubicBezTo>
                  <a:pt x="3594880" y="1839865"/>
                  <a:pt x="3565924" y="1810913"/>
                  <a:pt x="3565924" y="1775201"/>
                </a:cubicBezTo>
                <a:cubicBezTo>
                  <a:pt x="3565924" y="1739485"/>
                  <a:pt x="3594880" y="1710535"/>
                  <a:pt x="3630603" y="1710535"/>
                </a:cubicBezTo>
                <a:close/>
                <a:moveTo>
                  <a:pt x="3481848" y="1710535"/>
                </a:moveTo>
                <a:cubicBezTo>
                  <a:pt x="3517561" y="1710535"/>
                  <a:pt x="3546518" y="1739485"/>
                  <a:pt x="3546518" y="1775201"/>
                </a:cubicBezTo>
                <a:cubicBezTo>
                  <a:pt x="3546518" y="1810913"/>
                  <a:pt x="3517561" y="1839865"/>
                  <a:pt x="3481848" y="1839865"/>
                </a:cubicBezTo>
                <a:cubicBezTo>
                  <a:pt x="3446141" y="1839865"/>
                  <a:pt x="3417193" y="1810913"/>
                  <a:pt x="3417193" y="1775201"/>
                </a:cubicBezTo>
                <a:cubicBezTo>
                  <a:pt x="3417193" y="1739485"/>
                  <a:pt x="3446141" y="1710535"/>
                  <a:pt x="3481848" y="1710535"/>
                </a:cubicBezTo>
                <a:close/>
                <a:moveTo>
                  <a:pt x="3321383" y="1710535"/>
                </a:moveTo>
                <a:cubicBezTo>
                  <a:pt x="3357095" y="1710535"/>
                  <a:pt x="3386026" y="1739485"/>
                  <a:pt x="3386026" y="1775201"/>
                </a:cubicBezTo>
                <a:cubicBezTo>
                  <a:pt x="3386026" y="1810913"/>
                  <a:pt x="3357095" y="1839865"/>
                  <a:pt x="3321383" y="1839865"/>
                </a:cubicBezTo>
                <a:cubicBezTo>
                  <a:pt x="3285663" y="1839865"/>
                  <a:pt x="3256721" y="1810913"/>
                  <a:pt x="3256721" y="1775201"/>
                </a:cubicBezTo>
                <a:cubicBezTo>
                  <a:pt x="3256721" y="1739485"/>
                  <a:pt x="3285663" y="1710535"/>
                  <a:pt x="3321383" y="1710535"/>
                </a:cubicBezTo>
                <a:close/>
                <a:moveTo>
                  <a:pt x="3172630" y="1710535"/>
                </a:moveTo>
                <a:cubicBezTo>
                  <a:pt x="3208353" y="1710535"/>
                  <a:pt x="3237304" y="1739485"/>
                  <a:pt x="3237304" y="1775201"/>
                </a:cubicBezTo>
                <a:cubicBezTo>
                  <a:pt x="3237304" y="1810913"/>
                  <a:pt x="3208353" y="1839865"/>
                  <a:pt x="3172630" y="1839865"/>
                </a:cubicBezTo>
                <a:cubicBezTo>
                  <a:pt x="3136907" y="1839865"/>
                  <a:pt x="3107947" y="1810913"/>
                  <a:pt x="3107947" y="1775201"/>
                </a:cubicBezTo>
                <a:cubicBezTo>
                  <a:pt x="3107947" y="1739485"/>
                  <a:pt x="3136907" y="1710535"/>
                  <a:pt x="3172630" y="1710535"/>
                </a:cubicBezTo>
                <a:close/>
                <a:moveTo>
                  <a:pt x="3012113" y="1710535"/>
                </a:moveTo>
                <a:cubicBezTo>
                  <a:pt x="3047824" y="1710535"/>
                  <a:pt x="3076783" y="1739485"/>
                  <a:pt x="3076783" y="1775201"/>
                </a:cubicBezTo>
                <a:cubicBezTo>
                  <a:pt x="3076783" y="1810913"/>
                  <a:pt x="3047824" y="1839865"/>
                  <a:pt x="3012113" y="1839865"/>
                </a:cubicBezTo>
                <a:cubicBezTo>
                  <a:pt x="2976404" y="1839865"/>
                  <a:pt x="2947457" y="1810913"/>
                  <a:pt x="2947457" y="1775201"/>
                </a:cubicBezTo>
                <a:cubicBezTo>
                  <a:pt x="2947457" y="1739485"/>
                  <a:pt x="2976404" y="1710535"/>
                  <a:pt x="3012113" y="1710535"/>
                </a:cubicBezTo>
                <a:close/>
                <a:moveTo>
                  <a:pt x="2855561" y="1710535"/>
                </a:moveTo>
                <a:cubicBezTo>
                  <a:pt x="2891270" y="1710535"/>
                  <a:pt x="2920218" y="1739485"/>
                  <a:pt x="2920218" y="1775201"/>
                </a:cubicBezTo>
                <a:cubicBezTo>
                  <a:pt x="2920218" y="1810913"/>
                  <a:pt x="2891270" y="1839865"/>
                  <a:pt x="2855561" y="1839865"/>
                </a:cubicBezTo>
                <a:cubicBezTo>
                  <a:pt x="2819852" y="1839865"/>
                  <a:pt x="2790904" y="1810913"/>
                  <a:pt x="2790904" y="1775201"/>
                </a:cubicBezTo>
                <a:cubicBezTo>
                  <a:pt x="2790904" y="1739485"/>
                  <a:pt x="2819852" y="1710535"/>
                  <a:pt x="2855561" y="1710535"/>
                </a:cubicBezTo>
                <a:close/>
                <a:moveTo>
                  <a:pt x="2699010" y="1710535"/>
                </a:moveTo>
                <a:cubicBezTo>
                  <a:pt x="2734719" y="1710535"/>
                  <a:pt x="2763667" y="1739485"/>
                  <a:pt x="2763667" y="1775201"/>
                </a:cubicBezTo>
                <a:cubicBezTo>
                  <a:pt x="2763667" y="1810913"/>
                  <a:pt x="2734719" y="1839865"/>
                  <a:pt x="2699010" y="1839865"/>
                </a:cubicBezTo>
                <a:cubicBezTo>
                  <a:pt x="2663301" y="1839865"/>
                  <a:pt x="2634353" y="1810913"/>
                  <a:pt x="2634353" y="1775201"/>
                </a:cubicBezTo>
                <a:cubicBezTo>
                  <a:pt x="2634353" y="1739485"/>
                  <a:pt x="2663301" y="1710535"/>
                  <a:pt x="2699010" y="1710535"/>
                </a:cubicBezTo>
                <a:close/>
                <a:moveTo>
                  <a:pt x="2546372" y="1710535"/>
                </a:moveTo>
                <a:cubicBezTo>
                  <a:pt x="2582081" y="1710535"/>
                  <a:pt x="2611030" y="1739485"/>
                  <a:pt x="2611030" y="1775201"/>
                </a:cubicBezTo>
                <a:cubicBezTo>
                  <a:pt x="2611030" y="1810913"/>
                  <a:pt x="2582081" y="1839865"/>
                  <a:pt x="2546372" y="1839865"/>
                </a:cubicBezTo>
                <a:cubicBezTo>
                  <a:pt x="2510649" y="1839865"/>
                  <a:pt x="2481712" y="1810913"/>
                  <a:pt x="2481712" y="1775201"/>
                </a:cubicBezTo>
                <a:cubicBezTo>
                  <a:pt x="2481712" y="1739485"/>
                  <a:pt x="2510649" y="1710535"/>
                  <a:pt x="2546372" y="1710535"/>
                </a:cubicBezTo>
                <a:close/>
                <a:moveTo>
                  <a:pt x="2389782" y="1710535"/>
                </a:moveTo>
                <a:cubicBezTo>
                  <a:pt x="2425527" y="1710535"/>
                  <a:pt x="2454476" y="1739485"/>
                  <a:pt x="2454476" y="1775201"/>
                </a:cubicBezTo>
                <a:cubicBezTo>
                  <a:pt x="2454476" y="1810913"/>
                  <a:pt x="2425527" y="1839865"/>
                  <a:pt x="2389782" y="1839865"/>
                </a:cubicBezTo>
                <a:cubicBezTo>
                  <a:pt x="2354097" y="1839865"/>
                  <a:pt x="2325139" y="1810913"/>
                  <a:pt x="2325139" y="1775201"/>
                </a:cubicBezTo>
                <a:cubicBezTo>
                  <a:pt x="2325139" y="1739485"/>
                  <a:pt x="2354097" y="1710535"/>
                  <a:pt x="2389782" y="1710535"/>
                </a:cubicBezTo>
                <a:close/>
                <a:moveTo>
                  <a:pt x="2237121" y="1710535"/>
                </a:moveTo>
                <a:cubicBezTo>
                  <a:pt x="2272845" y="1710535"/>
                  <a:pt x="2301804" y="1739485"/>
                  <a:pt x="2301804" y="1775201"/>
                </a:cubicBezTo>
                <a:cubicBezTo>
                  <a:pt x="2301804" y="1810913"/>
                  <a:pt x="2272845" y="1839865"/>
                  <a:pt x="2237121" y="1839865"/>
                </a:cubicBezTo>
                <a:cubicBezTo>
                  <a:pt x="2201397" y="1839865"/>
                  <a:pt x="2172438" y="1810913"/>
                  <a:pt x="2172438" y="1775201"/>
                </a:cubicBezTo>
                <a:cubicBezTo>
                  <a:pt x="2172438" y="1739485"/>
                  <a:pt x="2201397" y="1710535"/>
                  <a:pt x="2237121" y="1710535"/>
                </a:cubicBezTo>
                <a:close/>
                <a:moveTo>
                  <a:pt x="2084441" y="1710535"/>
                </a:moveTo>
                <a:cubicBezTo>
                  <a:pt x="2120153" y="1710535"/>
                  <a:pt x="2149104" y="1739485"/>
                  <a:pt x="2149104" y="1775201"/>
                </a:cubicBezTo>
                <a:cubicBezTo>
                  <a:pt x="2149104" y="1810913"/>
                  <a:pt x="2120153" y="1839865"/>
                  <a:pt x="2084441" y="1839865"/>
                </a:cubicBezTo>
                <a:cubicBezTo>
                  <a:pt x="2048713" y="1839865"/>
                  <a:pt x="2019794" y="1810913"/>
                  <a:pt x="2019794" y="1775201"/>
                </a:cubicBezTo>
                <a:cubicBezTo>
                  <a:pt x="2019794" y="1739485"/>
                  <a:pt x="2048713" y="1710535"/>
                  <a:pt x="2084441" y="1710535"/>
                </a:cubicBezTo>
                <a:close/>
                <a:moveTo>
                  <a:pt x="1927857" y="1710535"/>
                </a:moveTo>
                <a:cubicBezTo>
                  <a:pt x="1963566" y="1710535"/>
                  <a:pt x="1992543" y="1739485"/>
                  <a:pt x="1992543" y="1775201"/>
                </a:cubicBezTo>
                <a:cubicBezTo>
                  <a:pt x="1992543" y="1810913"/>
                  <a:pt x="1963566" y="1839865"/>
                  <a:pt x="1927857" y="1839865"/>
                </a:cubicBezTo>
                <a:cubicBezTo>
                  <a:pt x="1892173" y="1839865"/>
                  <a:pt x="1863219" y="1810913"/>
                  <a:pt x="1863219" y="1775201"/>
                </a:cubicBezTo>
                <a:cubicBezTo>
                  <a:pt x="1863219" y="1739485"/>
                  <a:pt x="1892173" y="1710535"/>
                  <a:pt x="1927857" y="1710535"/>
                </a:cubicBezTo>
                <a:close/>
                <a:moveTo>
                  <a:pt x="1775206" y="1710535"/>
                </a:moveTo>
                <a:cubicBezTo>
                  <a:pt x="1810911" y="1710535"/>
                  <a:pt x="1839889" y="1739485"/>
                  <a:pt x="1839889" y="1775201"/>
                </a:cubicBezTo>
                <a:cubicBezTo>
                  <a:pt x="1839889" y="1810913"/>
                  <a:pt x="1810911" y="1839865"/>
                  <a:pt x="1775206" y="1839865"/>
                </a:cubicBezTo>
                <a:cubicBezTo>
                  <a:pt x="1739487" y="1839865"/>
                  <a:pt x="1710535" y="1810913"/>
                  <a:pt x="1710535" y="1775201"/>
                </a:cubicBezTo>
                <a:cubicBezTo>
                  <a:pt x="1710535" y="1739485"/>
                  <a:pt x="1739487" y="1710535"/>
                  <a:pt x="1775206" y="1710535"/>
                </a:cubicBezTo>
                <a:close/>
                <a:moveTo>
                  <a:pt x="1618624" y="1710535"/>
                </a:moveTo>
                <a:cubicBezTo>
                  <a:pt x="1654343" y="1710535"/>
                  <a:pt x="1683293" y="1739485"/>
                  <a:pt x="1683293" y="1775201"/>
                </a:cubicBezTo>
                <a:cubicBezTo>
                  <a:pt x="1683293" y="1810913"/>
                  <a:pt x="1654343" y="1839865"/>
                  <a:pt x="1618624" y="1839865"/>
                </a:cubicBezTo>
                <a:cubicBezTo>
                  <a:pt x="1582913" y="1839865"/>
                  <a:pt x="1553961" y="1810913"/>
                  <a:pt x="1553961" y="1775201"/>
                </a:cubicBezTo>
                <a:cubicBezTo>
                  <a:pt x="1553961" y="1739485"/>
                  <a:pt x="1582913" y="1710535"/>
                  <a:pt x="1618624" y="1710535"/>
                </a:cubicBezTo>
                <a:close/>
                <a:moveTo>
                  <a:pt x="1465967" y="1710535"/>
                </a:moveTo>
                <a:cubicBezTo>
                  <a:pt x="1501681" y="1710535"/>
                  <a:pt x="1530634" y="1739485"/>
                  <a:pt x="1530634" y="1775201"/>
                </a:cubicBezTo>
                <a:cubicBezTo>
                  <a:pt x="1530634" y="1810913"/>
                  <a:pt x="1501681" y="1839865"/>
                  <a:pt x="1465967" y="1839865"/>
                </a:cubicBezTo>
                <a:cubicBezTo>
                  <a:pt x="1430254" y="1839865"/>
                  <a:pt x="1401304" y="1810913"/>
                  <a:pt x="1401304" y="1775201"/>
                </a:cubicBezTo>
                <a:cubicBezTo>
                  <a:pt x="1401304" y="1739485"/>
                  <a:pt x="1430254" y="1710535"/>
                  <a:pt x="1465967" y="1710535"/>
                </a:cubicBezTo>
                <a:close/>
                <a:moveTo>
                  <a:pt x="1309394" y="1710535"/>
                </a:moveTo>
                <a:cubicBezTo>
                  <a:pt x="1345108" y="1710535"/>
                  <a:pt x="1374060" y="1739485"/>
                  <a:pt x="1374060" y="1775201"/>
                </a:cubicBezTo>
                <a:cubicBezTo>
                  <a:pt x="1374060" y="1810913"/>
                  <a:pt x="1345108" y="1839865"/>
                  <a:pt x="1309394" y="1839865"/>
                </a:cubicBezTo>
                <a:cubicBezTo>
                  <a:pt x="1273680" y="1839865"/>
                  <a:pt x="1244728" y="1810913"/>
                  <a:pt x="1244728" y="1775201"/>
                </a:cubicBezTo>
                <a:cubicBezTo>
                  <a:pt x="1244728" y="1739485"/>
                  <a:pt x="1273680" y="1710535"/>
                  <a:pt x="1309394" y="1710535"/>
                </a:cubicBezTo>
                <a:close/>
                <a:moveTo>
                  <a:pt x="1148909" y="1710535"/>
                </a:moveTo>
                <a:cubicBezTo>
                  <a:pt x="1184623" y="1710535"/>
                  <a:pt x="1213575" y="1739485"/>
                  <a:pt x="1213575" y="1775201"/>
                </a:cubicBezTo>
                <a:cubicBezTo>
                  <a:pt x="1213575" y="1810913"/>
                  <a:pt x="1184623" y="1839865"/>
                  <a:pt x="1148909" y="1839865"/>
                </a:cubicBezTo>
                <a:cubicBezTo>
                  <a:pt x="1113196" y="1839865"/>
                  <a:pt x="1084244" y="1810913"/>
                  <a:pt x="1084244" y="1775201"/>
                </a:cubicBezTo>
                <a:cubicBezTo>
                  <a:pt x="1084244" y="1739485"/>
                  <a:pt x="1113196" y="1710535"/>
                  <a:pt x="1148909" y="1710535"/>
                </a:cubicBezTo>
                <a:close/>
                <a:moveTo>
                  <a:pt x="8914829" y="1565709"/>
                </a:moveTo>
                <a:cubicBezTo>
                  <a:pt x="8950543" y="1565709"/>
                  <a:pt x="8979495" y="1594659"/>
                  <a:pt x="8979495" y="1630374"/>
                </a:cubicBezTo>
                <a:cubicBezTo>
                  <a:pt x="8979495" y="1666088"/>
                  <a:pt x="8950543" y="1695039"/>
                  <a:pt x="8914829" y="1695039"/>
                </a:cubicBezTo>
                <a:cubicBezTo>
                  <a:pt x="8879115" y="1695039"/>
                  <a:pt x="8850163" y="1666088"/>
                  <a:pt x="8850163" y="1630374"/>
                </a:cubicBezTo>
                <a:cubicBezTo>
                  <a:pt x="8850163" y="1594659"/>
                  <a:pt x="8879115" y="1565709"/>
                  <a:pt x="8914829" y="1565709"/>
                </a:cubicBezTo>
                <a:close/>
                <a:moveTo>
                  <a:pt x="8766086" y="1565709"/>
                </a:moveTo>
                <a:cubicBezTo>
                  <a:pt x="8801800" y="1565709"/>
                  <a:pt x="8830752" y="1594659"/>
                  <a:pt x="8830752" y="1630374"/>
                </a:cubicBezTo>
                <a:cubicBezTo>
                  <a:pt x="8830752" y="1666088"/>
                  <a:pt x="8801800" y="1695039"/>
                  <a:pt x="8766086" y="1695039"/>
                </a:cubicBezTo>
                <a:cubicBezTo>
                  <a:pt x="8730372" y="1695039"/>
                  <a:pt x="8701420" y="1666088"/>
                  <a:pt x="8701420" y="1630374"/>
                </a:cubicBezTo>
                <a:cubicBezTo>
                  <a:pt x="8701420" y="1594659"/>
                  <a:pt x="8730372" y="1565709"/>
                  <a:pt x="8766086" y="1565709"/>
                </a:cubicBezTo>
                <a:close/>
                <a:moveTo>
                  <a:pt x="8601683" y="1565709"/>
                </a:moveTo>
                <a:cubicBezTo>
                  <a:pt x="8637397" y="1565709"/>
                  <a:pt x="8666349" y="1594659"/>
                  <a:pt x="8666349" y="1630374"/>
                </a:cubicBezTo>
                <a:cubicBezTo>
                  <a:pt x="8666349" y="1666088"/>
                  <a:pt x="8637397" y="1695039"/>
                  <a:pt x="8601683" y="1695039"/>
                </a:cubicBezTo>
                <a:cubicBezTo>
                  <a:pt x="8565969" y="1695039"/>
                  <a:pt x="8537017" y="1666088"/>
                  <a:pt x="8537017" y="1630374"/>
                </a:cubicBezTo>
                <a:cubicBezTo>
                  <a:pt x="8537017" y="1594659"/>
                  <a:pt x="8565969" y="1565709"/>
                  <a:pt x="8601683" y="1565709"/>
                </a:cubicBezTo>
                <a:close/>
                <a:moveTo>
                  <a:pt x="8449025" y="1565709"/>
                </a:moveTo>
                <a:cubicBezTo>
                  <a:pt x="8484739" y="1565709"/>
                  <a:pt x="8513691" y="1594659"/>
                  <a:pt x="8513691" y="1630374"/>
                </a:cubicBezTo>
                <a:cubicBezTo>
                  <a:pt x="8513691" y="1666088"/>
                  <a:pt x="8484739" y="1695039"/>
                  <a:pt x="8449025" y="1695039"/>
                </a:cubicBezTo>
                <a:cubicBezTo>
                  <a:pt x="8413311" y="1695039"/>
                  <a:pt x="8384359" y="1666088"/>
                  <a:pt x="8384359" y="1630374"/>
                </a:cubicBezTo>
                <a:cubicBezTo>
                  <a:pt x="8384359" y="1594659"/>
                  <a:pt x="8413311" y="1565709"/>
                  <a:pt x="8449025" y="1565709"/>
                </a:cubicBezTo>
                <a:close/>
                <a:moveTo>
                  <a:pt x="8296367" y="1565709"/>
                </a:moveTo>
                <a:cubicBezTo>
                  <a:pt x="8332081" y="1565709"/>
                  <a:pt x="8361033" y="1594659"/>
                  <a:pt x="8361033" y="1630374"/>
                </a:cubicBezTo>
                <a:cubicBezTo>
                  <a:pt x="8361033" y="1666088"/>
                  <a:pt x="8332081" y="1695039"/>
                  <a:pt x="8296367" y="1695039"/>
                </a:cubicBezTo>
                <a:cubicBezTo>
                  <a:pt x="8260653" y="1695039"/>
                  <a:pt x="8231701" y="1666088"/>
                  <a:pt x="8231701" y="1630374"/>
                </a:cubicBezTo>
                <a:cubicBezTo>
                  <a:pt x="8231701" y="1594659"/>
                  <a:pt x="8260653" y="1565709"/>
                  <a:pt x="8296367" y="1565709"/>
                </a:cubicBezTo>
                <a:close/>
                <a:moveTo>
                  <a:pt x="8139792" y="1565709"/>
                </a:moveTo>
                <a:cubicBezTo>
                  <a:pt x="8175506" y="1565709"/>
                  <a:pt x="8204458" y="1594659"/>
                  <a:pt x="8204458" y="1630374"/>
                </a:cubicBezTo>
                <a:cubicBezTo>
                  <a:pt x="8204458" y="1666088"/>
                  <a:pt x="8175506" y="1695039"/>
                  <a:pt x="8139792" y="1695039"/>
                </a:cubicBezTo>
                <a:cubicBezTo>
                  <a:pt x="8104078" y="1695039"/>
                  <a:pt x="8075126" y="1666088"/>
                  <a:pt x="8075126" y="1630374"/>
                </a:cubicBezTo>
                <a:cubicBezTo>
                  <a:pt x="8075126" y="1594659"/>
                  <a:pt x="8104078" y="1565709"/>
                  <a:pt x="8139792" y="1565709"/>
                </a:cubicBezTo>
                <a:close/>
                <a:moveTo>
                  <a:pt x="7987133" y="1565709"/>
                </a:moveTo>
                <a:cubicBezTo>
                  <a:pt x="8022847" y="1565709"/>
                  <a:pt x="8051799" y="1594659"/>
                  <a:pt x="8051799" y="1630374"/>
                </a:cubicBezTo>
                <a:cubicBezTo>
                  <a:pt x="8051799" y="1666088"/>
                  <a:pt x="8022847" y="1695039"/>
                  <a:pt x="7987133" y="1695039"/>
                </a:cubicBezTo>
                <a:cubicBezTo>
                  <a:pt x="7951419" y="1695039"/>
                  <a:pt x="7922467" y="1666088"/>
                  <a:pt x="7922467" y="1630374"/>
                </a:cubicBezTo>
                <a:cubicBezTo>
                  <a:pt x="7922467" y="1594659"/>
                  <a:pt x="7951419" y="1565709"/>
                  <a:pt x="7987133" y="1565709"/>
                </a:cubicBezTo>
                <a:close/>
                <a:moveTo>
                  <a:pt x="7830562" y="1565709"/>
                </a:moveTo>
                <a:cubicBezTo>
                  <a:pt x="7866276" y="1565709"/>
                  <a:pt x="7895228" y="1594659"/>
                  <a:pt x="7895228" y="1630374"/>
                </a:cubicBezTo>
                <a:cubicBezTo>
                  <a:pt x="7895228" y="1666088"/>
                  <a:pt x="7866276" y="1695039"/>
                  <a:pt x="7830562" y="1695039"/>
                </a:cubicBezTo>
                <a:cubicBezTo>
                  <a:pt x="7794848" y="1695039"/>
                  <a:pt x="7765896" y="1666088"/>
                  <a:pt x="7765896" y="1630374"/>
                </a:cubicBezTo>
                <a:cubicBezTo>
                  <a:pt x="7765896" y="1594659"/>
                  <a:pt x="7794848" y="1565709"/>
                  <a:pt x="7830562" y="1565709"/>
                </a:cubicBezTo>
                <a:close/>
                <a:moveTo>
                  <a:pt x="7677902" y="1565709"/>
                </a:moveTo>
                <a:cubicBezTo>
                  <a:pt x="7713616" y="1565709"/>
                  <a:pt x="7742568" y="1594659"/>
                  <a:pt x="7742568" y="1630374"/>
                </a:cubicBezTo>
                <a:cubicBezTo>
                  <a:pt x="7742568" y="1666088"/>
                  <a:pt x="7713616" y="1695039"/>
                  <a:pt x="7677902" y="1695039"/>
                </a:cubicBezTo>
                <a:cubicBezTo>
                  <a:pt x="7642188" y="1695039"/>
                  <a:pt x="7613236" y="1666088"/>
                  <a:pt x="7613236" y="1630374"/>
                </a:cubicBezTo>
                <a:cubicBezTo>
                  <a:pt x="7613236" y="1594659"/>
                  <a:pt x="7642188" y="1565709"/>
                  <a:pt x="7677902" y="1565709"/>
                </a:cubicBezTo>
                <a:close/>
                <a:moveTo>
                  <a:pt x="7521329" y="1565709"/>
                </a:moveTo>
                <a:cubicBezTo>
                  <a:pt x="7557043" y="1565709"/>
                  <a:pt x="7585995" y="1594659"/>
                  <a:pt x="7585995" y="1630374"/>
                </a:cubicBezTo>
                <a:cubicBezTo>
                  <a:pt x="7585995" y="1666088"/>
                  <a:pt x="7557043" y="1695039"/>
                  <a:pt x="7521329" y="1695039"/>
                </a:cubicBezTo>
                <a:cubicBezTo>
                  <a:pt x="7485615" y="1695039"/>
                  <a:pt x="7456663" y="1666088"/>
                  <a:pt x="7456663" y="1630374"/>
                </a:cubicBezTo>
                <a:cubicBezTo>
                  <a:pt x="7456663" y="1594659"/>
                  <a:pt x="7485615" y="1565709"/>
                  <a:pt x="7521329" y="1565709"/>
                </a:cubicBezTo>
                <a:close/>
                <a:moveTo>
                  <a:pt x="7368669" y="1565709"/>
                </a:moveTo>
                <a:cubicBezTo>
                  <a:pt x="7404383" y="1565709"/>
                  <a:pt x="7433335" y="1594659"/>
                  <a:pt x="7433335" y="1630374"/>
                </a:cubicBezTo>
                <a:cubicBezTo>
                  <a:pt x="7433335" y="1666088"/>
                  <a:pt x="7404383" y="1695039"/>
                  <a:pt x="7368669" y="1695039"/>
                </a:cubicBezTo>
                <a:cubicBezTo>
                  <a:pt x="7332955" y="1695039"/>
                  <a:pt x="7304003" y="1666088"/>
                  <a:pt x="7304003" y="1630374"/>
                </a:cubicBezTo>
                <a:cubicBezTo>
                  <a:pt x="7304003" y="1594659"/>
                  <a:pt x="7332955" y="1565709"/>
                  <a:pt x="7368669" y="1565709"/>
                </a:cubicBezTo>
                <a:close/>
                <a:moveTo>
                  <a:pt x="7212096" y="1565709"/>
                </a:moveTo>
                <a:cubicBezTo>
                  <a:pt x="7247810" y="1565709"/>
                  <a:pt x="7276762" y="1594659"/>
                  <a:pt x="7276762" y="1630374"/>
                </a:cubicBezTo>
                <a:cubicBezTo>
                  <a:pt x="7276762" y="1666088"/>
                  <a:pt x="7247810" y="1695039"/>
                  <a:pt x="7212096" y="1695039"/>
                </a:cubicBezTo>
                <a:cubicBezTo>
                  <a:pt x="7176382" y="1695039"/>
                  <a:pt x="7147430" y="1666088"/>
                  <a:pt x="7147430" y="1630374"/>
                </a:cubicBezTo>
                <a:cubicBezTo>
                  <a:pt x="7147430" y="1594659"/>
                  <a:pt x="7176382" y="1565709"/>
                  <a:pt x="7212096" y="1565709"/>
                </a:cubicBezTo>
                <a:close/>
                <a:moveTo>
                  <a:pt x="7055523" y="1565709"/>
                </a:moveTo>
                <a:cubicBezTo>
                  <a:pt x="7091237" y="1565709"/>
                  <a:pt x="7120189" y="1594659"/>
                  <a:pt x="7120189" y="1630374"/>
                </a:cubicBezTo>
                <a:cubicBezTo>
                  <a:pt x="7120189" y="1666088"/>
                  <a:pt x="7091237" y="1695039"/>
                  <a:pt x="7055523" y="1695039"/>
                </a:cubicBezTo>
                <a:cubicBezTo>
                  <a:pt x="7019809" y="1695039"/>
                  <a:pt x="6990857" y="1666088"/>
                  <a:pt x="6990857" y="1630374"/>
                </a:cubicBezTo>
                <a:cubicBezTo>
                  <a:pt x="6990857" y="1594659"/>
                  <a:pt x="7019809" y="1565709"/>
                  <a:pt x="7055523" y="1565709"/>
                </a:cubicBezTo>
                <a:close/>
                <a:moveTo>
                  <a:pt x="6895037" y="1565709"/>
                </a:moveTo>
                <a:cubicBezTo>
                  <a:pt x="6930751" y="1565709"/>
                  <a:pt x="6959703" y="1594659"/>
                  <a:pt x="6959703" y="1630374"/>
                </a:cubicBezTo>
                <a:cubicBezTo>
                  <a:pt x="6959703" y="1666088"/>
                  <a:pt x="6930751" y="1695039"/>
                  <a:pt x="6895037" y="1695039"/>
                </a:cubicBezTo>
                <a:cubicBezTo>
                  <a:pt x="6859323" y="1695039"/>
                  <a:pt x="6830371" y="1666088"/>
                  <a:pt x="6830371" y="1630374"/>
                </a:cubicBezTo>
                <a:cubicBezTo>
                  <a:pt x="6830371" y="1594659"/>
                  <a:pt x="6859323" y="1565709"/>
                  <a:pt x="6895037" y="1565709"/>
                </a:cubicBezTo>
                <a:close/>
                <a:moveTo>
                  <a:pt x="6742375" y="1565709"/>
                </a:moveTo>
                <a:cubicBezTo>
                  <a:pt x="6778089" y="1565709"/>
                  <a:pt x="6807041" y="1594659"/>
                  <a:pt x="6807041" y="1630374"/>
                </a:cubicBezTo>
                <a:cubicBezTo>
                  <a:pt x="6807041" y="1666088"/>
                  <a:pt x="6778089" y="1695039"/>
                  <a:pt x="6742375" y="1695039"/>
                </a:cubicBezTo>
                <a:cubicBezTo>
                  <a:pt x="6706661" y="1695039"/>
                  <a:pt x="6677709" y="1666088"/>
                  <a:pt x="6677709" y="1630374"/>
                </a:cubicBezTo>
                <a:cubicBezTo>
                  <a:pt x="6677709" y="1594659"/>
                  <a:pt x="6706661" y="1565709"/>
                  <a:pt x="6742375" y="1565709"/>
                </a:cubicBezTo>
                <a:close/>
                <a:moveTo>
                  <a:pt x="6585802" y="1565709"/>
                </a:moveTo>
                <a:cubicBezTo>
                  <a:pt x="6621516" y="1565709"/>
                  <a:pt x="6650468" y="1594659"/>
                  <a:pt x="6650468" y="1630374"/>
                </a:cubicBezTo>
                <a:cubicBezTo>
                  <a:pt x="6650468" y="1666088"/>
                  <a:pt x="6621516" y="1695039"/>
                  <a:pt x="6585802" y="1695039"/>
                </a:cubicBezTo>
                <a:cubicBezTo>
                  <a:pt x="6550088" y="1695039"/>
                  <a:pt x="6521136" y="1666088"/>
                  <a:pt x="6521136" y="1630374"/>
                </a:cubicBezTo>
                <a:cubicBezTo>
                  <a:pt x="6521136" y="1594659"/>
                  <a:pt x="6550088" y="1565709"/>
                  <a:pt x="6585802" y="1565709"/>
                </a:cubicBezTo>
                <a:close/>
                <a:moveTo>
                  <a:pt x="6429229" y="1565709"/>
                </a:moveTo>
                <a:cubicBezTo>
                  <a:pt x="6464943" y="1565709"/>
                  <a:pt x="6493895" y="1594659"/>
                  <a:pt x="6493895" y="1630374"/>
                </a:cubicBezTo>
                <a:cubicBezTo>
                  <a:pt x="6493895" y="1666088"/>
                  <a:pt x="6464943" y="1695039"/>
                  <a:pt x="6429229" y="1695039"/>
                </a:cubicBezTo>
                <a:cubicBezTo>
                  <a:pt x="6393515" y="1695039"/>
                  <a:pt x="6364563" y="1666088"/>
                  <a:pt x="6364563" y="1630374"/>
                </a:cubicBezTo>
                <a:cubicBezTo>
                  <a:pt x="6364563" y="1594659"/>
                  <a:pt x="6393515" y="1565709"/>
                  <a:pt x="6429229" y="1565709"/>
                </a:cubicBezTo>
                <a:close/>
                <a:moveTo>
                  <a:pt x="6276571" y="1565709"/>
                </a:moveTo>
                <a:cubicBezTo>
                  <a:pt x="6312285" y="1565709"/>
                  <a:pt x="6341237" y="1594659"/>
                  <a:pt x="6341237" y="1630374"/>
                </a:cubicBezTo>
                <a:cubicBezTo>
                  <a:pt x="6341237" y="1666088"/>
                  <a:pt x="6312285" y="1695039"/>
                  <a:pt x="6276571" y="1695039"/>
                </a:cubicBezTo>
                <a:cubicBezTo>
                  <a:pt x="6240857" y="1695039"/>
                  <a:pt x="6211905" y="1666088"/>
                  <a:pt x="6211905" y="1630374"/>
                </a:cubicBezTo>
                <a:cubicBezTo>
                  <a:pt x="6211905" y="1594659"/>
                  <a:pt x="6240857" y="1565709"/>
                  <a:pt x="6276571" y="1565709"/>
                </a:cubicBezTo>
                <a:close/>
                <a:moveTo>
                  <a:pt x="5810802" y="1565709"/>
                </a:moveTo>
                <a:cubicBezTo>
                  <a:pt x="5846479" y="1565709"/>
                  <a:pt x="5875431" y="1594659"/>
                  <a:pt x="5875431" y="1630374"/>
                </a:cubicBezTo>
                <a:cubicBezTo>
                  <a:pt x="5875431" y="1666088"/>
                  <a:pt x="5846479" y="1695039"/>
                  <a:pt x="5810802" y="1695039"/>
                </a:cubicBezTo>
                <a:cubicBezTo>
                  <a:pt x="5775077" y="1695039"/>
                  <a:pt x="5746117" y="1666088"/>
                  <a:pt x="5746117" y="1630374"/>
                </a:cubicBezTo>
                <a:cubicBezTo>
                  <a:pt x="5746117" y="1594659"/>
                  <a:pt x="5775077" y="1565709"/>
                  <a:pt x="5810802" y="1565709"/>
                </a:cubicBezTo>
                <a:close/>
                <a:moveTo>
                  <a:pt x="5348888" y="1565709"/>
                </a:moveTo>
                <a:cubicBezTo>
                  <a:pt x="5384604" y="1565709"/>
                  <a:pt x="5413556" y="1594659"/>
                  <a:pt x="5413556" y="1630374"/>
                </a:cubicBezTo>
                <a:cubicBezTo>
                  <a:pt x="5413556" y="1666088"/>
                  <a:pt x="5384604" y="1695039"/>
                  <a:pt x="5348888" y="1695039"/>
                </a:cubicBezTo>
                <a:cubicBezTo>
                  <a:pt x="5313192" y="1695039"/>
                  <a:pt x="5284232" y="1666088"/>
                  <a:pt x="5284232" y="1630374"/>
                </a:cubicBezTo>
                <a:cubicBezTo>
                  <a:pt x="5284232" y="1594659"/>
                  <a:pt x="5313192" y="1565709"/>
                  <a:pt x="5348888" y="1565709"/>
                </a:cubicBezTo>
                <a:close/>
                <a:moveTo>
                  <a:pt x="3481855" y="1565709"/>
                </a:moveTo>
                <a:cubicBezTo>
                  <a:pt x="3517568" y="1565709"/>
                  <a:pt x="3546525" y="1594659"/>
                  <a:pt x="3546525" y="1630374"/>
                </a:cubicBezTo>
                <a:cubicBezTo>
                  <a:pt x="3546525" y="1666088"/>
                  <a:pt x="3517568" y="1695039"/>
                  <a:pt x="3481855" y="1695039"/>
                </a:cubicBezTo>
                <a:cubicBezTo>
                  <a:pt x="3446149" y="1695039"/>
                  <a:pt x="3417201" y="1666088"/>
                  <a:pt x="3417201" y="1630374"/>
                </a:cubicBezTo>
                <a:cubicBezTo>
                  <a:pt x="3417201" y="1594659"/>
                  <a:pt x="3446149" y="1565709"/>
                  <a:pt x="3481855" y="1565709"/>
                </a:cubicBezTo>
                <a:close/>
                <a:moveTo>
                  <a:pt x="3321390" y="1565709"/>
                </a:moveTo>
                <a:cubicBezTo>
                  <a:pt x="3357101" y="1565709"/>
                  <a:pt x="3386032" y="1594659"/>
                  <a:pt x="3386032" y="1630374"/>
                </a:cubicBezTo>
                <a:cubicBezTo>
                  <a:pt x="3386032" y="1666088"/>
                  <a:pt x="3357101" y="1695039"/>
                  <a:pt x="3321390" y="1695039"/>
                </a:cubicBezTo>
                <a:cubicBezTo>
                  <a:pt x="3285669" y="1695039"/>
                  <a:pt x="3256727" y="1666088"/>
                  <a:pt x="3256727" y="1630374"/>
                </a:cubicBezTo>
                <a:cubicBezTo>
                  <a:pt x="3256727" y="1594659"/>
                  <a:pt x="3285669" y="1565709"/>
                  <a:pt x="3321390" y="1565709"/>
                </a:cubicBezTo>
                <a:close/>
                <a:moveTo>
                  <a:pt x="3172637" y="1565709"/>
                </a:moveTo>
                <a:cubicBezTo>
                  <a:pt x="3208362" y="1565709"/>
                  <a:pt x="3237310" y="1594659"/>
                  <a:pt x="3237310" y="1630374"/>
                </a:cubicBezTo>
                <a:cubicBezTo>
                  <a:pt x="3237310" y="1666088"/>
                  <a:pt x="3208362" y="1695039"/>
                  <a:pt x="3172637" y="1695039"/>
                </a:cubicBezTo>
                <a:cubicBezTo>
                  <a:pt x="3136914" y="1695039"/>
                  <a:pt x="3107954" y="1666088"/>
                  <a:pt x="3107954" y="1630374"/>
                </a:cubicBezTo>
                <a:cubicBezTo>
                  <a:pt x="3107954" y="1594659"/>
                  <a:pt x="3136914" y="1565709"/>
                  <a:pt x="3172637" y="1565709"/>
                </a:cubicBezTo>
                <a:close/>
                <a:moveTo>
                  <a:pt x="3012119" y="1565709"/>
                </a:moveTo>
                <a:cubicBezTo>
                  <a:pt x="3047829" y="1565709"/>
                  <a:pt x="3076788" y="1594659"/>
                  <a:pt x="3076788" y="1630374"/>
                </a:cubicBezTo>
                <a:cubicBezTo>
                  <a:pt x="3076788" y="1666088"/>
                  <a:pt x="3047829" y="1695039"/>
                  <a:pt x="3012119" y="1695039"/>
                </a:cubicBezTo>
                <a:cubicBezTo>
                  <a:pt x="2976410" y="1695039"/>
                  <a:pt x="2947463" y="1666088"/>
                  <a:pt x="2947463" y="1630374"/>
                </a:cubicBezTo>
                <a:cubicBezTo>
                  <a:pt x="2947463" y="1594659"/>
                  <a:pt x="2976410" y="1565709"/>
                  <a:pt x="3012119" y="1565709"/>
                </a:cubicBezTo>
                <a:close/>
                <a:moveTo>
                  <a:pt x="2546380" y="1565709"/>
                </a:moveTo>
                <a:cubicBezTo>
                  <a:pt x="2582088" y="1565709"/>
                  <a:pt x="2611038" y="1594659"/>
                  <a:pt x="2611038" y="1630374"/>
                </a:cubicBezTo>
                <a:cubicBezTo>
                  <a:pt x="2611038" y="1666088"/>
                  <a:pt x="2582088" y="1695039"/>
                  <a:pt x="2546380" y="1695039"/>
                </a:cubicBezTo>
                <a:cubicBezTo>
                  <a:pt x="2510655" y="1695039"/>
                  <a:pt x="2481723" y="1666088"/>
                  <a:pt x="2481723" y="1630374"/>
                </a:cubicBezTo>
                <a:cubicBezTo>
                  <a:pt x="2481723" y="1594659"/>
                  <a:pt x="2510655" y="1565709"/>
                  <a:pt x="2546380" y="1565709"/>
                </a:cubicBezTo>
                <a:close/>
                <a:moveTo>
                  <a:pt x="2389803" y="1565709"/>
                </a:moveTo>
                <a:cubicBezTo>
                  <a:pt x="2425537" y="1565709"/>
                  <a:pt x="2454486" y="1594659"/>
                  <a:pt x="2454486" y="1630374"/>
                </a:cubicBezTo>
                <a:cubicBezTo>
                  <a:pt x="2454486" y="1666088"/>
                  <a:pt x="2425537" y="1695039"/>
                  <a:pt x="2389803" y="1695039"/>
                </a:cubicBezTo>
                <a:cubicBezTo>
                  <a:pt x="2354107" y="1695039"/>
                  <a:pt x="2325148" y="1666088"/>
                  <a:pt x="2325148" y="1630374"/>
                </a:cubicBezTo>
                <a:cubicBezTo>
                  <a:pt x="2325148" y="1594659"/>
                  <a:pt x="2354107" y="1565709"/>
                  <a:pt x="2389803" y="1565709"/>
                </a:cubicBezTo>
                <a:close/>
                <a:moveTo>
                  <a:pt x="2237130" y="1565709"/>
                </a:moveTo>
                <a:cubicBezTo>
                  <a:pt x="2272854" y="1565709"/>
                  <a:pt x="2301814" y="1594659"/>
                  <a:pt x="2301814" y="1630374"/>
                </a:cubicBezTo>
                <a:cubicBezTo>
                  <a:pt x="2301814" y="1666088"/>
                  <a:pt x="2272854" y="1695039"/>
                  <a:pt x="2237130" y="1695039"/>
                </a:cubicBezTo>
                <a:cubicBezTo>
                  <a:pt x="2201406" y="1695039"/>
                  <a:pt x="2172445" y="1666088"/>
                  <a:pt x="2172445" y="1630374"/>
                </a:cubicBezTo>
                <a:cubicBezTo>
                  <a:pt x="2172445" y="1594659"/>
                  <a:pt x="2201406" y="1565709"/>
                  <a:pt x="2237130" y="1565709"/>
                </a:cubicBezTo>
                <a:close/>
                <a:moveTo>
                  <a:pt x="2084449" y="1565709"/>
                </a:moveTo>
                <a:cubicBezTo>
                  <a:pt x="2120162" y="1565709"/>
                  <a:pt x="2149111" y="1594659"/>
                  <a:pt x="2149111" y="1630374"/>
                </a:cubicBezTo>
                <a:cubicBezTo>
                  <a:pt x="2149111" y="1666088"/>
                  <a:pt x="2120162" y="1695039"/>
                  <a:pt x="2084449" y="1695039"/>
                </a:cubicBezTo>
                <a:cubicBezTo>
                  <a:pt x="2048717" y="1695039"/>
                  <a:pt x="2019802" y="1666088"/>
                  <a:pt x="2019802" y="1630374"/>
                </a:cubicBezTo>
                <a:cubicBezTo>
                  <a:pt x="2019802" y="1594659"/>
                  <a:pt x="2048717" y="1565709"/>
                  <a:pt x="2084449" y="1565709"/>
                </a:cubicBezTo>
                <a:close/>
                <a:moveTo>
                  <a:pt x="1927857" y="1565709"/>
                </a:moveTo>
                <a:cubicBezTo>
                  <a:pt x="1963586" y="1565709"/>
                  <a:pt x="1992550" y="1594659"/>
                  <a:pt x="1992550" y="1630374"/>
                </a:cubicBezTo>
                <a:cubicBezTo>
                  <a:pt x="1992550" y="1666088"/>
                  <a:pt x="1963586" y="1695039"/>
                  <a:pt x="1927857" y="1695039"/>
                </a:cubicBezTo>
                <a:cubicBezTo>
                  <a:pt x="1892182" y="1695039"/>
                  <a:pt x="1863227" y="1666088"/>
                  <a:pt x="1863227" y="1630374"/>
                </a:cubicBezTo>
                <a:cubicBezTo>
                  <a:pt x="1863227" y="1594659"/>
                  <a:pt x="1892182" y="1565709"/>
                  <a:pt x="1927857" y="1565709"/>
                </a:cubicBezTo>
                <a:close/>
                <a:moveTo>
                  <a:pt x="1775214" y="1565709"/>
                </a:moveTo>
                <a:cubicBezTo>
                  <a:pt x="1810917" y="1565709"/>
                  <a:pt x="1839897" y="1594659"/>
                  <a:pt x="1839897" y="1630374"/>
                </a:cubicBezTo>
                <a:cubicBezTo>
                  <a:pt x="1839897" y="1666088"/>
                  <a:pt x="1810917" y="1695039"/>
                  <a:pt x="1775214" y="1695039"/>
                </a:cubicBezTo>
                <a:cubicBezTo>
                  <a:pt x="1739494" y="1695039"/>
                  <a:pt x="1710542" y="1666088"/>
                  <a:pt x="1710542" y="1630374"/>
                </a:cubicBezTo>
                <a:cubicBezTo>
                  <a:pt x="1710542" y="1594659"/>
                  <a:pt x="1739494" y="1565709"/>
                  <a:pt x="1775214" y="1565709"/>
                </a:cubicBezTo>
                <a:close/>
                <a:moveTo>
                  <a:pt x="1618630" y="1565709"/>
                </a:moveTo>
                <a:cubicBezTo>
                  <a:pt x="1654350" y="1565709"/>
                  <a:pt x="1683301" y="1594659"/>
                  <a:pt x="1683301" y="1630374"/>
                </a:cubicBezTo>
                <a:cubicBezTo>
                  <a:pt x="1683301" y="1666088"/>
                  <a:pt x="1654350" y="1695039"/>
                  <a:pt x="1618630" y="1695039"/>
                </a:cubicBezTo>
                <a:cubicBezTo>
                  <a:pt x="1582919" y="1695039"/>
                  <a:pt x="1553968" y="1666088"/>
                  <a:pt x="1553968" y="1630374"/>
                </a:cubicBezTo>
                <a:cubicBezTo>
                  <a:pt x="1553968" y="1594659"/>
                  <a:pt x="1582919" y="1565709"/>
                  <a:pt x="1618630" y="1565709"/>
                </a:cubicBezTo>
                <a:close/>
                <a:moveTo>
                  <a:pt x="1465974" y="1565709"/>
                </a:moveTo>
                <a:cubicBezTo>
                  <a:pt x="1501687" y="1565709"/>
                  <a:pt x="1530639" y="1594659"/>
                  <a:pt x="1530639" y="1630374"/>
                </a:cubicBezTo>
                <a:cubicBezTo>
                  <a:pt x="1530639" y="1666088"/>
                  <a:pt x="1501687" y="1695039"/>
                  <a:pt x="1465974" y="1695039"/>
                </a:cubicBezTo>
                <a:cubicBezTo>
                  <a:pt x="1430260" y="1695039"/>
                  <a:pt x="1401310" y="1666088"/>
                  <a:pt x="1401310" y="1630374"/>
                </a:cubicBezTo>
                <a:cubicBezTo>
                  <a:pt x="1401310" y="1594659"/>
                  <a:pt x="1430260" y="1565709"/>
                  <a:pt x="1465974" y="1565709"/>
                </a:cubicBezTo>
                <a:close/>
                <a:moveTo>
                  <a:pt x="1309401" y="1565709"/>
                </a:moveTo>
                <a:cubicBezTo>
                  <a:pt x="1345114" y="1565709"/>
                  <a:pt x="1374066" y="1594659"/>
                  <a:pt x="1374066" y="1630374"/>
                </a:cubicBezTo>
                <a:cubicBezTo>
                  <a:pt x="1374066" y="1666088"/>
                  <a:pt x="1345114" y="1695039"/>
                  <a:pt x="1309401" y="1695039"/>
                </a:cubicBezTo>
                <a:cubicBezTo>
                  <a:pt x="1273687" y="1695039"/>
                  <a:pt x="1244735" y="1666088"/>
                  <a:pt x="1244735" y="1630374"/>
                </a:cubicBezTo>
                <a:cubicBezTo>
                  <a:pt x="1244735" y="1594659"/>
                  <a:pt x="1273687" y="1565709"/>
                  <a:pt x="1309401" y="1565709"/>
                </a:cubicBezTo>
                <a:close/>
                <a:moveTo>
                  <a:pt x="1148916" y="1565709"/>
                </a:moveTo>
                <a:cubicBezTo>
                  <a:pt x="1184630" y="1565709"/>
                  <a:pt x="1213581" y="1594659"/>
                  <a:pt x="1213581" y="1630374"/>
                </a:cubicBezTo>
                <a:cubicBezTo>
                  <a:pt x="1213581" y="1666088"/>
                  <a:pt x="1184630" y="1695039"/>
                  <a:pt x="1148916" y="1695039"/>
                </a:cubicBezTo>
                <a:cubicBezTo>
                  <a:pt x="1113202" y="1695039"/>
                  <a:pt x="1084251" y="1666088"/>
                  <a:pt x="1084251" y="1630374"/>
                </a:cubicBezTo>
                <a:cubicBezTo>
                  <a:pt x="1084251" y="1594659"/>
                  <a:pt x="1113202" y="1565709"/>
                  <a:pt x="1148916" y="1565709"/>
                </a:cubicBezTo>
                <a:close/>
                <a:moveTo>
                  <a:pt x="10778052" y="1565707"/>
                </a:moveTo>
                <a:cubicBezTo>
                  <a:pt x="10813766" y="1565707"/>
                  <a:pt x="10842718" y="1594659"/>
                  <a:pt x="10842718" y="1630373"/>
                </a:cubicBezTo>
                <a:cubicBezTo>
                  <a:pt x="10842718" y="1666087"/>
                  <a:pt x="10813766" y="1695039"/>
                  <a:pt x="10778052" y="1695039"/>
                </a:cubicBezTo>
                <a:cubicBezTo>
                  <a:pt x="10742338" y="1695039"/>
                  <a:pt x="10713386" y="1666087"/>
                  <a:pt x="10713386" y="1630373"/>
                </a:cubicBezTo>
                <a:cubicBezTo>
                  <a:pt x="10713386" y="1594659"/>
                  <a:pt x="10742338" y="1565707"/>
                  <a:pt x="10778052" y="1565707"/>
                </a:cubicBezTo>
                <a:close/>
                <a:moveTo>
                  <a:pt x="10625394" y="1565707"/>
                </a:moveTo>
                <a:cubicBezTo>
                  <a:pt x="10661108" y="1565707"/>
                  <a:pt x="10690060" y="1594659"/>
                  <a:pt x="10690060" y="1630373"/>
                </a:cubicBezTo>
                <a:cubicBezTo>
                  <a:pt x="10690060" y="1666087"/>
                  <a:pt x="10661108" y="1695039"/>
                  <a:pt x="10625394" y="1695039"/>
                </a:cubicBezTo>
                <a:cubicBezTo>
                  <a:pt x="10589680" y="1695039"/>
                  <a:pt x="10560728" y="1666087"/>
                  <a:pt x="10560728" y="1630373"/>
                </a:cubicBezTo>
                <a:cubicBezTo>
                  <a:pt x="10560728" y="1594659"/>
                  <a:pt x="10589680" y="1565707"/>
                  <a:pt x="10625394" y="1565707"/>
                </a:cubicBezTo>
                <a:close/>
                <a:moveTo>
                  <a:pt x="9850356" y="1565707"/>
                </a:moveTo>
                <a:cubicBezTo>
                  <a:pt x="9886070" y="1565707"/>
                  <a:pt x="9915022" y="1594659"/>
                  <a:pt x="9915022" y="1630373"/>
                </a:cubicBezTo>
                <a:cubicBezTo>
                  <a:pt x="9915022" y="1666087"/>
                  <a:pt x="9886070" y="1695039"/>
                  <a:pt x="9850356" y="1695039"/>
                </a:cubicBezTo>
                <a:cubicBezTo>
                  <a:pt x="9814642" y="1695039"/>
                  <a:pt x="9785690" y="1666087"/>
                  <a:pt x="9785690" y="1630373"/>
                </a:cubicBezTo>
                <a:cubicBezTo>
                  <a:pt x="9785690" y="1594659"/>
                  <a:pt x="9814642" y="1565707"/>
                  <a:pt x="9850356" y="1565707"/>
                </a:cubicBezTo>
                <a:close/>
                <a:moveTo>
                  <a:pt x="9693782" y="1565707"/>
                </a:moveTo>
                <a:cubicBezTo>
                  <a:pt x="9729496" y="1565707"/>
                  <a:pt x="9758448" y="1594659"/>
                  <a:pt x="9758448" y="1630373"/>
                </a:cubicBezTo>
                <a:cubicBezTo>
                  <a:pt x="9758448" y="1666087"/>
                  <a:pt x="9729496" y="1695039"/>
                  <a:pt x="9693782" y="1695039"/>
                </a:cubicBezTo>
                <a:cubicBezTo>
                  <a:pt x="9658068" y="1695039"/>
                  <a:pt x="9629116" y="1666087"/>
                  <a:pt x="9629116" y="1630373"/>
                </a:cubicBezTo>
                <a:cubicBezTo>
                  <a:pt x="9629116" y="1594659"/>
                  <a:pt x="9658068" y="1565707"/>
                  <a:pt x="9693782" y="1565707"/>
                </a:cubicBezTo>
                <a:close/>
                <a:moveTo>
                  <a:pt x="9541123" y="1565707"/>
                </a:moveTo>
                <a:cubicBezTo>
                  <a:pt x="9576837" y="1565707"/>
                  <a:pt x="9605789" y="1594659"/>
                  <a:pt x="9605789" y="1630373"/>
                </a:cubicBezTo>
                <a:cubicBezTo>
                  <a:pt x="9605789" y="1666087"/>
                  <a:pt x="9576837" y="1695039"/>
                  <a:pt x="9541123" y="1695039"/>
                </a:cubicBezTo>
                <a:cubicBezTo>
                  <a:pt x="9505409" y="1695039"/>
                  <a:pt x="9476457" y="1666087"/>
                  <a:pt x="9476457" y="1630373"/>
                </a:cubicBezTo>
                <a:cubicBezTo>
                  <a:pt x="9476457" y="1594659"/>
                  <a:pt x="9505409" y="1565707"/>
                  <a:pt x="9541123" y="1565707"/>
                </a:cubicBezTo>
                <a:close/>
                <a:moveTo>
                  <a:pt x="9384550" y="1565707"/>
                </a:moveTo>
                <a:cubicBezTo>
                  <a:pt x="9420264" y="1565707"/>
                  <a:pt x="9449216" y="1594659"/>
                  <a:pt x="9449216" y="1630373"/>
                </a:cubicBezTo>
                <a:cubicBezTo>
                  <a:pt x="9449216" y="1666087"/>
                  <a:pt x="9420264" y="1695039"/>
                  <a:pt x="9384550" y="1695039"/>
                </a:cubicBezTo>
                <a:cubicBezTo>
                  <a:pt x="9348836" y="1695039"/>
                  <a:pt x="9319884" y="1666087"/>
                  <a:pt x="9319884" y="1630373"/>
                </a:cubicBezTo>
                <a:cubicBezTo>
                  <a:pt x="9319884" y="1594659"/>
                  <a:pt x="9348836" y="1565707"/>
                  <a:pt x="9384550" y="1565707"/>
                </a:cubicBezTo>
                <a:close/>
                <a:moveTo>
                  <a:pt x="9227977" y="1565707"/>
                </a:moveTo>
                <a:cubicBezTo>
                  <a:pt x="9263691" y="1565707"/>
                  <a:pt x="9292643" y="1594659"/>
                  <a:pt x="9292643" y="1630373"/>
                </a:cubicBezTo>
                <a:cubicBezTo>
                  <a:pt x="9292643" y="1666087"/>
                  <a:pt x="9263691" y="1695039"/>
                  <a:pt x="9227977" y="1695039"/>
                </a:cubicBezTo>
                <a:cubicBezTo>
                  <a:pt x="9192263" y="1695039"/>
                  <a:pt x="9163311" y="1666087"/>
                  <a:pt x="9163311" y="1630373"/>
                </a:cubicBezTo>
                <a:cubicBezTo>
                  <a:pt x="9163311" y="1594659"/>
                  <a:pt x="9192263" y="1565707"/>
                  <a:pt x="9227977" y="1565707"/>
                </a:cubicBezTo>
                <a:close/>
                <a:moveTo>
                  <a:pt x="9075317" y="1565707"/>
                </a:moveTo>
                <a:cubicBezTo>
                  <a:pt x="9111031" y="1565707"/>
                  <a:pt x="9139983" y="1594659"/>
                  <a:pt x="9139983" y="1630373"/>
                </a:cubicBezTo>
                <a:cubicBezTo>
                  <a:pt x="9139983" y="1666087"/>
                  <a:pt x="9111031" y="1695039"/>
                  <a:pt x="9075317" y="1695039"/>
                </a:cubicBezTo>
                <a:cubicBezTo>
                  <a:pt x="9039603" y="1695039"/>
                  <a:pt x="9010651" y="1666087"/>
                  <a:pt x="9010651" y="1630373"/>
                </a:cubicBezTo>
                <a:cubicBezTo>
                  <a:pt x="9010651" y="1594659"/>
                  <a:pt x="9039603" y="1565707"/>
                  <a:pt x="9075317" y="1565707"/>
                </a:cubicBezTo>
                <a:close/>
                <a:moveTo>
                  <a:pt x="217310" y="1565707"/>
                </a:moveTo>
                <a:cubicBezTo>
                  <a:pt x="253023" y="1565707"/>
                  <a:pt x="281975" y="1594659"/>
                  <a:pt x="281975" y="1630373"/>
                </a:cubicBezTo>
                <a:cubicBezTo>
                  <a:pt x="281975" y="1666087"/>
                  <a:pt x="253023" y="1695039"/>
                  <a:pt x="217310" y="1695039"/>
                </a:cubicBezTo>
                <a:cubicBezTo>
                  <a:pt x="181596" y="1695039"/>
                  <a:pt x="152644" y="1666087"/>
                  <a:pt x="152644" y="1630373"/>
                </a:cubicBezTo>
                <a:cubicBezTo>
                  <a:pt x="152644" y="1594659"/>
                  <a:pt x="181596" y="1565707"/>
                  <a:pt x="217310" y="1565707"/>
                </a:cubicBezTo>
                <a:close/>
                <a:moveTo>
                  <a:pt x="10778052" y="1428710"/>
                </a:moveTo>
                <a:cubicBezTo>
                  <a:pt x="10813766" y="1428710"/>
                  <a:pt x="10842718" y="1457662"/>
                  <a:pt x="10842718" y="1493374"/>
                </a:cubicBezTo>
                <a:cubicBezTo>
                  <a:pt x="10842718" y="1529088"/>
                  <a:pt x="10813766" y="1558040"/>
                  <a:pt x="10778052" y="1558040"/>
                </a:cubicBezTo>
                <a:cubicBezTo>
                  <a:pt x="10742338" y="1558040"/>
                  <a:pt x="10713386" y="1529088"/>
                  <a:pt x="10713386" y="1493374"/>
                </a:cubicBezTo>
                <a:cubicBezTo>
                  <a:pt x="10713386" y="1457662"/>
                  <a:pt x="10742338" y="1428710"/>
                  <a:pt x="10778052" y="1428710"/>
                </a:cubicBezTo>
                <a:close/>
                <a:moveTo>
                  <a:pt x="10625394" y="1428710"/>
                </a:moveTo>
                <a:cubicBezTo>
                  <a:pt x="10661108" y="1428710"/>
                  <a:pt x="10690060" y="1457662"/>
                  <a:pt x="10690060" y="1493374"/>
                </a:cubicBezTo>
                <a:cubicBezTo>
                  <a:pt x="10690060" y="1529088"/>
                  <a:pt x="10661108" y="1558040"/>
                  <a:pt x="10625394" y="1558040"/>
                </a:cubicBezTo>
                <a:cubicBezTo>
                  <a:pt x="10589680" y="1558040"/>
                  <a:pt x="10560728" y="1529088"/>
                  <a:pt x="10560728" y="1493374"/>
                </a:cubicBezTo>
                <a:cubicBezTo>
                  <a:pt x="10560728" y="1457662"/>
                  <a:pt x="10589680" y="1428710"/>
                  <a:pt x="10625394" y="1428710"/>
                </a:cubicBezTo>
                <a:close/>
                <a:moveTo>
                  <a:pt x="10003016" y="1428710"/>
                </a:moveTo>
                <a:cubicBezTo>
                  <a:pt x="10038730" y="1428710"/>
                  <a:pt x="10067682" y="1457662"/>
                  <a:pt x="10067682" y="1493374"/>
                </a:cubicBezTo>
                <a:cubicBezTo>
                  <a:pt x="10067682" y="1529088"/>
                  <a:pt x="10038730" y="1558040"/>
                  <a:pt x="10003016" y="1558040"/>
                </a:cubicBezTo>
                <a:cubicBezTo>
                  <a:pt x="9967302" y="1558040"/>
                  <a:pt x="9938350" y="1529088"/>
                  <a:pt x="9938350" y="1493374"/>
                </a:cubicBezTo>
                <a:cubicBezTo>
                  <a:pt x="9938350" y="1457662"/>
                  <a:pt x="9967302" y="1428710"/>
                  <a:pt x="10003016" y="1428710"/>
                </a:cubicBezTo>
                <a:close/>
                <a:moveTo>
                  <a:pt x="9850356" y="1428710"/>
                </a:moveTo>
                <a:cubicBezTo>
                  <a:pt x="9886070" y="1428710"/>
                  <a:pt x="9915022" y="1457662"/>
                  <a:pt x="9915022" y="1493374"/>
                </a:cubicBezTo>
                <a:cubicBezTo>
                  <a:pt x="9915022" y="1529088"/>
                  <a:pt x="9886070" y="1558040"/>
                  <a:pt x="9850356" y="1558040"/>
                </a:cubicBezTo>
                <a:cubicBezTo>
                  <a:pt x="9814642" y="1558040"/>
                  <a:pt x="9785690" y="1529088"/>
                  <a:pt x="9785690" y="1493374"/>
                </a:cubicBezTo>
                <a:cubicBezTo>
                  <a:pt x="9785690" y="1457662"/>
                  <a:pt x="9814642" y="1428710"/>
                  <a:pt x="9850356" y="1428710"/>
                </a:cubicBezTo>
                <a:close/>
                <a:moveTo>
                  <a:pt x="9693782" y="1428710"/>
                </a:moveTo>
                <a:cubicBezTo>
                  <a:pt x="9729496" y="1428710"/>
                  <a:pt x="9758448" y="1457662"/>
                  <a:pt x="9758448" y="1493374"/>
                </a:cubicBezTo>
                <a:cubicBezTo>
                  <a:pt x="9758448" y="1529088"/>
                  <a:pt x="9729496" y="1558040"/>
                  <a:pt x="9693782" y="1558040"/>
                </a:cubicBezTo>
                <a:cubicBezTo>
                  <a:pt x="9658068" y="1558040"/>
                  <a:pt x="9629116" y="1529088"/>
                  <a:pt x="9629116" y="1493374"/>
                </a:cubicBezTo>
                <a:cubicBezTo>
                  <a:pt x="9629116" y="1457662"/>
                  <a:pt x="9658068" y="1428710"/>
                  <a:pt x="9693782" y="1428710"/>
                </a:cubicBezTo>
                <a:close/>
                <a:moveTo>
                  <a:pt x="9541123" y="1428710"/>
                </a:moveTo>
                <a:cubicBezTo>
                  <a:pt x="9576837" y="1428710"/>
                  <a:pt x="9605789" y="1457662"/>
                  <a:pt x="9605789" y="1493374"/>
                </a:cubicBezTo>
                <a:cubicBezTo>
                  <a:pt x="9605789" y="1529088"/>
                  <a:pt x="9576837" y="1558040"/>
                  <a:pt x="9541123" y="1558040"/>
                </a:cubicBezTo>
                <a:cubicBezTo>
                  <a:pt x="9505409" y="1558040"/>
                  <a:pt x="9476457" y="1529088"/>
                  <a:pt x="9476457" y="1493374"/>
                </a:cubicBezTo>
                <a:cubicBezTo>
                  <a:pt x="9476457" y="1457662"/>
                  <a:pt x="9505409" y="1428710"/>
                  <a:pt x="9541123" y="1428710"/>
                </a:cubicBezTo>
                <a:close/>
                <a:moveTo>
                  <a:pt x="9384550" y="1428710"/>
                </a:moveTo>
                <a:cubicBezTo>
                  <a:pt x="9420264" y="1428710"/>
                  <a:pt x="9449216" y="1457662"/>
                  <a:pt x="9449216" y="1493374"/>
                </a:cubicBezTo>
                <a:cubicBezTo>
                  <a:pt x="9449216" y="1529088"/>
                  <a:pt x="9420264" y="1558040"/>
                  <a:pt x="9384550" y="1558040"/>
                </a:cubicBezTo>
                <a:cubicBezTo>
                  <a:pt x="9348836" y="1558040"/>
                  <a:pt x="9319884" y="1529088"/>
                  <a:pt x="9319884" y="1493374"/>
                </a:cubicBezTo>
                <a:cubicBezTo>
                  <a:pt x="9319884" y="1457662"/>
                  <a:pt x="9348836" y="1428710"/>
                  <a:pt x="9384550" y="1428710"/>
                </a:cubicBezTo>
                <a:close/>
                <a:moveTo>
                  <a:pt x="9227977" y="1428710"/>
                </a:moveTo>
                <a:cubicBezTo>
                  <a:pt x="9263691" y="1428710"/>
                  <a:pt x="9292643" y="1457662"/>
                  <a:pt x="9292643" y="1493374"/>
                </a:cubicBezTo>
                <a:cubicBezTo>
                  <a:pt x="9292643" y="1529088"/>
                  <a:pt x="9263691" y="1558040"/>
                  <a:pt x="9227977" y="1558040"/>
                </a:cubicBezTo>
                <a:cubicBezTo>
                  <a:pt x="9192263" y="1558040"/>
                  <a:pt x="9163311" y="1529088"/>
                  <a:pt x="9163311" y="1493374"/>
                </a:cubicBezTo>
                <a:cubicBezTo>
                  <a:pt x="9163311" y="1457662"/>
                  <a:pt x="9192263" y="1428710"/>
                  <a:pt x="9227977" y="1428710"/>
                </a:cubicBezTo>
                <a:close/>
                <a:moveTo>
                  <a:pt x="9075317" y="1428710"/>
                </a:moveTo>
                <a:cubicBezTo>
                  <a:pt x="9111031" y="1428710"/>
                  <a:pt x="9139983" y="1457662"/>
                  <a:pt x="9139983" y="1493374"/>
                </a:cubicBezTo>
                <a:cubicBezTo>
                  <a:pt x="9139983" y="1529088"/>
                  <a:pt x="9111031" y="1558040"/>
                  <a:pt x="9075317" y="1558040"/>
                </a:cubicBezTo>
                <a:cubicBezTo>
                  <a:pt x="9039603" y="1558040"/>
                  <a:pt x="9010651" y="1529088"/>
                  <a:pt x="9010651" y="1493374"/>
                </a:cubicBezTo>
                <a:cubicBezTo>
                  <a:pt x="9010651" y="1457662"/>
                  <a:pt x="9039603" y="1428710"/>
                  <a:pt x="9075317" y="1428710"/>
                </a:cubicBezTo>
                <a:close/>
                <a:moveTo>
                  <a:pt x="8914829" y="1428710"/>
                </a:moveTo>
                <a:cubicBezTo>
                  <a:pt x="8950543" y="1428710"/>
                  <a:pt x="8979495" y="1457662"/>
                  <a:pt x="8979495" y="1493374"/>
                </a:cubicBezTo>
                <a:cubicBezTo>
                  <a:pt x="8979495" y="1529088"/>
                  <a:pt x="8950543" y="1558040"/>
                  <a:pt x="8914829" y="1558040"/>
                </a:cubicBezTo>
                <a:cubicBezTo>
                  <a:pt x="8879115" y="1558040"/>
                  <a:pt x="8850163" y="1529088"/>
                  <a:pt x="8850163" y="1493374"/>
                </a:cubicBezTo>
                <a:cubicBezTo>
                  <a:pt x="8850163" y="1457662"/>
                  <a:pt x="8879115" y="1428710"/>
                  <a:pt x="8914829" y="1428710"/>
                </a:cubicBezTo>
                <a:close/>
                <a:moveTo>
                  <a:pt x="8766086" y="1428710"/>
                </a:moveTo>
                <a:cubicBezTo>
                  <a:pt x="8801800" y="1428710"/>
                  <a:pt x="8830752" y="1457662"/>
                  <a:pt x="8830752" y="1493374"/>
                </a:cubicBezTo>
                <a:cubicBezTo>
                  <a:pt x="8830752" y="1529088"/>
                  <a:pt x="8801800" y="1558040"/>
                  <a:pt x="8766086" y="1558040"/>
                </a:cubicBezTo>
                <a:cubicBezTo>
                  <a:pt x="8730372" y="1558040"/>
                  <a:pt x="8701420" y="1529088"/>
                  <a:pt x="8701420" y="1493374"/>
                </a:cubicBezTo>
                <a:cubicBezTo>
                  <a:pt x="8701420" y="1457662"/>
                  <a:pt x="8730372" y="1428710"/>
                  <a:pt x="8766086" y="1428710"/>
                </a:cubicBezTo>
                <a:close/>
                <a:moveTo>
                  <a:pt x="8601683" y="1428710"/>
                </a:moveTo>
                <a:cubicBezTo>
                  <a:pt x="8637397" y="1428710"/>
                  <a:pt x="8666349" y="1457662"/>
                  <a:pt x="8666349" y="1493374"/>
                </a:cubicBezTo>
                <a:cubicBezTo>
                  <a:pt x="8666349" y="1529088"/>
                  <a:pt x="8637397" y="1558040"/>
                  <a:pt x="8601683" y="1558040"/>
                </a:cubicBezTo>
                <a:cubicBezTo>
                  <a:pt x="8565969" y="1558040"/>
                  <a:pt x="8537017" y="1529088"/>
                  <a:pt x="8537017" y="1493374"/>
                </a:cubicBezTo>
                <a:cubicBezTo>
                  <a:pt x="8537017" y="1457662"/>
                  <a:pt x="8565969" y="1428710"/>
                  <a:pt x="8601683" y="1428710"/>
                </a:cubicBezTo>
                <a:close/>
                <a:moveTo>
                  <a:pt x="8449025" y="1428710"/>
                </a:moveTo>
                <a:cubicBezTo>
                  <a:pt x="8484739" y="1428710"/>
                  <a:pt x="8513691" y="1457662"/>
                  <a:pt x="8513691" y="1493374"/>
                </a:cubicBezTo>
                <a:cubicBezTo>
                  <a:pt x="8513691" y="1529088"/>
                  <a:pt x="8484739" y="1558040"/>
                  <a:pt x="8449025" y="1558040"/>
                </a:cubicBezTo>
                <a:cubicBezTo>
                  <a:pt x="8413311" y="1558040"/>
                  <a:pt x="8384359" y="1529088"/>
                  <a:pt x="8384359" y="1493374"/>
                </a:cubicBezTo>
                <a:cubicBezTo>
                  <a:pt x="8384359" y="1457662"/>
                  <a:pt x="8413311" y="1428710"/>
                  <a:pt x="8449025" y="1428710"/>
                </a:cubicBezTo>
                <a:close/>
                <a:moveTo>
                  <a:pt x="8296367" y="1428710"/>
                </a:moveTo>
                <a:cubicBezTo>
                  <a:pt x="8332081" y="1428710"/>
                  <a:pt x="8361033" y="1457662"/>
                  <a:pt x="8361033" y="1493374"/>
                </a:cubicBezTo>
                <a:cubicBezTo>
                  <a:pt x="8361033" y="1529088"/>
                  <a:pt x="8332081" y="1558040"/>
                  <a:pt x="8296367" y="1558040"/>
                </a:cubicBezTo>
                <a:cubicBezTo>
                  <a:pt x="8260653" y="1558040"/>
                  <a:pt x="8231701" y="1529088"/>
                  <a:pt x="8231701" y="1493374"/>
                </a:cubicBezTo>
                <a:cubicBezTo>
                  <a:pt x="8231701" y="1457662"/>
                  <a:pt x="8260653" y="1428710"/>
                  <a:pt x="8296367" y="1428710"/>
                </a:cubicBezTo>
                <a:close/>
                <a:moveTo>
                  <a:pt x="8139792" y="1428710"/>
                </a:moveTo>
                <a:cubicBezTo>
                  <a:pt x="8175506" y="1428710"/>
                  <a:pt x="8204458" y="1457662"/>
                  <a:pt x="8204458" y="1493374"/>
                </a:cubicBezTo>
                <a:cubicBezTo>
                  <a:pt x="8204458" y="1529088"/>
                  <a:pt x="8175506" y="1558040"/>
                  <a:pt x="8139792" y="1558040"/>
                </a:cubicBezTo>
                <a:cubicBezTo>
                  <a:pt x="8104078" y="1558040"/>
                  <a:pt x="8075126" y="1529088"/>
                  <a:pt x="8075126" y="1493374"/>
                </a:cubicBezTo>
                <a:cubicBezTo>
                  <a:pt x="8075126" y="1457662"/>
                  <a:pt x="8104078" y="1428710"/>
                  <a:pt x="8139792" y="1428710"/>
                </a:cubicBezTo>
                <a:close/>
                <a:moveTo>
                  <a:pt x="7987133" y="1428710"/>
                </a:moveTo>
                <a:cubicBezTo>
                  <a:pt x="8022847" y="1428710"/>
                  <a:pt x="8051799" y="1457662"/>
                  <a:pt x="8051799" y="1493374"/>
                </a:cubicBezTo>
                <a:cubicBezTo>
                  <a:pt x="8051799" y="1529088"/>
                  <a:pt x="8022847" y="1558040"/>
                  <a:pt x="7987133" y="1558040"/>
                </a:cubicBezTo>
                <a:cubicBezTo>
                  <a:pt x="7951419" y="1558040"/>
                  <a:pt x="7922467" y="1529088"/>
                  <a:pt x="7922467" y="1493374"/>
                </a:cubicBezTo>
                <a:cubicBezTo>
                  <a:pt x="7922467" y="1457662"/>
                  <a:pt x="7951419" y="1428710"/>
                  <a:pt x="7987133" y="1428710"/>
                </a:cubicBezTo>
                <a:close/>
                <a:moveTo>
                  <a:pt x="7830562" y="1428710"/>
                </a:moveTo>
                <a:cubicBezTo>
                  <a:pt x="7866276" y="1428710"/>
                  <a:pt x="7895228" y="1457662"/>
                  <a:pt x="7895228" y="1493374"/>
                </a:cubicBezTo>
                <a:cubicBezTo>
                  <a:pt x="7895228" y="1529088"/>
                  <a:pt x="7866276" y="1558040"/>
                  <a:pt x="7830562" y="1558040"/>
                </a:cubicBezTo>
                <a:cubicBezTo>
                  <a:pt x="7794848" y="1558040"/>
                  <a:pt x="7765896" y="1529088"/>
                  <a:pt x="7765896" y="1493374"/>
                </a:cubicBezTo>
                <a:cubicBezTo>
                  <a:pt x="7765896" y="1457662"/>
                  <a:pt x="7794848" y="1428710"/>
                  <a:pt x="7830562" y="1428710"/>
                </a:cubicBezTo>
                <a:close/>
                <a:moveTo>
                  <a:pt x="7677902" y="1428710"/>
                </a:moveTo>
                <a:cubicBezTo>
                  <a:pt x="7713616" y="1428710"/>
                  <a:pt x="7742568" y="1457662"/>
                  <a:pt x="7742568" y="1493374"/>
                </a:cubicBezTo>
                <a:cubicBezTo>
                  <a:pt x="7742568" y="1529088"/>
                  <a:pt x="7713616" y="1558040"/>
                  <a:pt x="7677902" y="1558040"/>
                </a:cubicBezTo>
                <a:cubicBezTo>
                  <a:pt x="7642188" y="1558040"/>
                  <a:pt x="7613236" y="1529088"/>
                  <a:pt x="7613236" y="1493374"/>
                </a:cubicBezTo>
                <a:cubicBezTo>
                  <a:pt x="7613236" y="1457662"/>
                  <a:pt x="7642188" y="1428710"/>
                  <a:pt x="7677902" y="1428710"/>
                </a:cubicBezTo>
                <a:close/>
                <a:moveTo>
                  <a:pt x="7521329" y="1428710"/>
                </a:moveTo>
                <a:cubicBezTo>
                  <a:pt x="7557043" y="1428710"/>
                  <a:pt x="7585995" y="1457662"/>
                  <a:pt x="7585995" y="1493374"/>
                </a:cubicBezTo>
                <a:cubicBezTo>
                  <a:pt x="7585995" y="1529088"/>
                  <a:pt x="7557043" y="1558040"/>
                  <a:pt x="7521329" y="1558040"/>
                </a:cubicBezTo>
                <a:cubicBezTo>
                  <a:pt x="7485615" y="1558040"/>
                  <a:pt x="7456663" y="1529088"/>
                  <a:pt x="7456663" y="1493374"/>
                </a:cubicBezTo>
                <a:cubicBezTo>
                  <a:pt x="7456663" y="1457662"/>
                  <a:pt x="7485615" y="1428710"/>
                  <a:pt x="7521329" y="1428710"/>
                </a:cubicBezTo>
                <a:close/>
                <a:moveTo>
                  <a:pt x="7368669" y="1428710"/>
                </a:moveTo>
                <a:cubicBezTo>
                  <a:pt x="7404383" y="1428710"/>
                  <a:pt x="7433335" y="1457662"/>
                  <a:pt x="7433335" y="1493374"/>
                </a:cubicBezTo>
                <a:cubicBezTo>
                  <a:pt x="7433335" y="1529088"/>
                  <a:pt x="7404383" y="1558040"/>
                  <a:pt x="7368669" y="1558040"/>
                </a:cubicBezTo>
                <a:cubicBezTo>
                  <a:pt x="7332955" y="1558040"/>
                  <a:pt x="7304003" y="1529088"/>
                  <a:pt x="7304003" y="1493374"/>
                </a:cubicBezTo>
                <a:cubicBezTo>
                  <a:pt x="7304003" y="1457662"/>
                  <a:pt x="7332955" y="1428710"/>
                  <a:pt x="7368669" y="1428710"/>
                </a:cubicBezTo>
                <a:close/>
                <a:moveTo>
                  <a:pt x="7212096" y="1428710"/>
                </a:moveTo>
                <a:cubicBezTo>
                  <a:pt x="7247810" y="1428710"/>
                  <a:pt x="7276762" y="1457662"/>
                  <a:pt x="7276762" y="1493374"/>
                </a:cubicBezTo>
                <a:cubicBezTo>
                  <a:pt x="7276762" y="1529088"/>
                  <a:pt x="7247810" y="1558040"/>
                  <a:pt x="7212096" y="1558040"/>
                </a:cubicBezTo>
                <a:cubicBezTo>
                  <a:pt x="7176382" y="1558040"/>
                  <a:pt x="7147430" y="1529088"/>
                  <a:pt x="7147430" y="1493374"/>
                </a:cubicBezTo>
                <a:cubicBezTo>
                  <a:pt x="7147430" y="1457662"/>
                  <a:pt x="7176382" y="1428710"/>
                  <a:pt x="7212096" y="1428710"/>
                </a:cubicBezTo>
                <a:close/>
                <a:moveTo>
                  <a:pt x="7055523" y="1428710"/>
                </a:moveTo>
                <a:cubicBezTo>
                  <a:pt x="7091237" y="1428710"/>
                  <a:pt x="7120189" y="1457662"/>
                  <a:pt x="7120189" y="1493374"/>
                </a:cubicBezTo>
                <a:cubicBezTo>
                  <a:pt x="7120189" y="1529088"/>
                  <a:pt x="7091237" y="1558040"/>
                  <a:pt x="7055523" y="1558040"/>
                </a:cubicBezTo>
                <a:cubicBezTo>
                  <a:pt x="7019809" y="1558040"/>
                  <a:pt x="6990857" y="1529088"/>
                  <a:pt x="6990857" y="1493374"/>
                </a:cubicBezTo>
                <a:cubicBezTo>
                  <a:pt x="6990857" y="1457662"/>
                  <a:pt x="7019809" y="1428710"/>
                  <a:pt x="7055523" y="1428710"/>
                </a:cubicBezTo>
                <a:close/>
                <a:moveTo>
                  <a:pt x="6895037" y="1428710"/>
                </a:moveTo>
                <a:cubicBezTo>
                  <a:pt x="6930751" y="1428710"/>
                  <a:pt x="6959703" y="1457662"/>
                  <a:pt x="6959703" y="1493374"/>
                </a:cubicBezTo>
                <a:cubicBezTo>
                  <a:pt x="6959703" y="1529088"/>
                  <a:pt x="6930751" y="1558040"/>
                  <a:pt x="6895037" y="1558040"/>
                </a:cubicBezTo>
                <a:cubicBezTo>
                  <a:pt x="6859323" y="1558040"/>
                  <a:pt x="6830371" y="1529088"/>
                  <a:pt x="6830371" y="1493374"/>
                </a:cubicBezTo>
                <a:cubicBezTo>
                  <a:pt x="6830371" y="1457662"/>
                  <a:pt x="6859323" y="1428710"/>
                  <a:pt x="6895037" y="1428710"/>
                </a:cubicBezTo>
                <a:close/>
                <a:moveTo>
                  <a:pt x="6742375" y="1428710"/>
                </a:moveTo>
                <a:cubicBezTo>
                  <a:pt x="6778089" y="1428710"/>
                  <a:pt x="6807041" y="1457662"/>
                  <a:pt x="6807041" y="1493374"/>
                </a:cubicBezTo>
                <a:cubicBezTo>
                  <a:pt x="6807041" y="1529088"/>
                  <a:pt x="6778089" y="1558040"/>
                  <a:pt x="6742375" y="1558040"/>
                </a:cubicBezTo>
                <a:cubicBezTo>
                  <a:pt x="6706661" y="1558040"/>
                  <a:pt x="6677709" y="1529088"/>
                  <a:pt x="6677709" y="1493374"/>
                </a:cubicBezTo>
                <a:cubicBezTo>
                  <a:pt x="6677709" y="1457662"/>
                  <a:pt x="6706661" y="1428710"/>
                  <a:pt x="6742375" y="1428710"/>
                </a:cubicBezTo>
                <a:close/>
                <a:moveTo>
                  <a:pt x="6585802" y="1428710"/>
                </a:moveTo>
                <a:cubicBezTo>
                  <a:pt x="6621516" y="1428710"/>
                  <a:pt x="6650468" y="1457662"/>
                  <a:pt x="6650468" y="1493374"/>
                </a:cubicBezTo>
                <a:cubicBezTo>
                  <a:pt x="6650468" y="1529088"/>
                  <a:pt x="6621516" y="1558040"/>
                  <a:pt x="6585802" y="1558040"/>
                </a:cubicBezTo>
                <a:cubicBezTo>
                  <a:pt x="6550088" y="1558040"/>
                  <a:pt x="6521136" y="1529088"/>
                  <a:pt x="6521136" y="1493374"/>
                </a:cubicBezTo>
                <a:cubicBezTo>
                  <a:pt x="6521136" y="1457662"/>
                  <a:pt x="6550088" y="1428710"/>
                  <a:pt x="6585802" y="1428710"/>
                </a:cubicBezTo>
                <a:close/>
                <a:moveTo>
                  <a:pt x="6429229" y="1428710"/>
                </a:moveTo>
                <a:cubicBezTo>
                  <a:pt x="6464943" y="1428710"/>
                  <a:pt x="6493895" y="1457662"/>
                  <a:pt x="6493895" y="1493374"/>
                </a:cubicBezTo>
                <a:cubicBezTo>
                  <a:pt x="6493895" y="1529088"/>
                  <a:pt x="6464943" y="1558040"/>
                  <a:pt x="6429229" y="1558040"/>
                </a:cubicBezTo>
                <a:cubicBezTo>
                  <a:pt x="6393515" y="1558040"/>
                  <a:pt x="6364563" y="1529088"/>
                  <a:pt x="6364563" y="1493374"/>
                </a:cubicBezTo>
                <a:cubicBezTo>
                  <a:pt x="6364563" y="1457662"/>
                  <a:pt x="6393515" y="1428710"/>
                  <a:pt x="6429229" y="1428710"/>
                </a:cubicBezTo>
                <a:close/>
                <a:moveTo>
                  <a:pt x="6276571" y="1428710"/>
                </a:moveTo>
                <a:cubicBezTo>
                  <a:pt x="6312285" y="1428710"/>
                  <a:pt x="6341237" y="1457662"/>
                  <a:pt x="6341237" y="1493374"/>
                </a:cubicBezTo>
                <a:cubicBezTo>
                  <a:pt x="6341237" y="1529088"/>
                  <a:pt x="6312285" y="1558040"/>
                  <a:pt x="6276571" y="1558040"/>
                </a:cubicBezTo>
                <a:cubicBezTo>
                  <a:pt x="6240857" y="1558040"/>
                  <a:pt x="6211905" y="1529088"/>
                  <a:pt x="6211905" y="1493374"/>
                </a:cubicBezTo>
                <a:cubicBezTo>
                  <a:pt x="6211905" y="1457662"/>
                  <a:pt x="6240857" y="1428710"/>
                  <a:pt x="6276571" y="1428710"/>
                </a:cubicBezTo>
                <a:close/>
                <a:moveTo>
                  <a:pt x="5967338" y="1428710"/>
                </a:moveTo>
                <a:cubicBezTo>
                  <a:pt x="6003052" y="1428710"/>
                  <a:pt x="6032004" y="1457662"/>
                  <a:pt x="6032004" y="1493374"/>
                </a:cubicBezTo>
                <a:cubicBezTo>
                  <a:pt x="6032004" y="1529088"/>
                  <a:pt x="6003052" y="1558040"/>
                  <a:pt x="5967338" y="1558040"/>
                </a:cubicBezTo>
                <a:cubicBezTo>
                  <a:pt x="5931624" y="1558040"/>
                  <a:pt x="5902672" y="1529088"/>
                  <a:pt x="5902672" y="1493374"/>
                </a:cubicBezTo>
                <a:cubicBezTo>
                  <a:pt x="5902672" y="1457662"/>
                  <a:pt x="5931624" y="1428710"/>
                  <a:pt x="5967338" y="1428710"/>
                </a:cubicBezTo>
                <a:close/>
                <a:moveTo>
                  <a:pt x="5810805" y="1428710"/>
                </a:moveTo>
                <a:cubicBezTo>
                  <a:pt x="5846479" y="1428710"/>
                  <a:pt x="5875431" y="1457662"/>
                  <a:pt x="5875431" y="1493374"/>
                </a:cubicBezTo>
                <a:cubicBezTo>
                  <a:pt x="5875431" y="1529088"/>
                  <a:pt x="5846479" y="1558040"/>
                  <a:pt x="5810805" y="1558040"/>
                </a:cubicBezTo>
                <a:cubicBezTo>
                  <a:pt x="5775079" y="1558040"/>
                  <a:pt x="5746119" y="1529088"/>
                  <a:pt x="5746119" y="1493374"/>
                </a:cubicBezTo>
                <a:cubicBezTo>
                  <a:pt x="5746119" y="1457662"/>
                  <a:pt x="5775079" y="1428710"/>
                  <a:pt x="5810805" y="1428710"/>
                </a:cubicBezTo>
                <a:close/>
                <a:moveTo>
                  <a:pt x="5658108" y="1428710"/>
                </a:moveTo>
                <a:cubicBezTo>
                  <a:pt x="5693823" y="1428710"/>
                  <a:pt x="5722785" y="1457662"/>
                  <a:pt x="5722785" y="1493374"/>
                </a:cubicBezTo>
                <a:cubicBezTo>
                  <a:pt x="5722785" y="1529088"/>
                  <a:pt x="5693823" y="1558040"/>
                  <a:pt x="5658108" y="1558040"/>
                </a:cubicBezTo>
                <a:cubicBezTo>
                  <a:pt x="5622397" y="1558040"/>
                  <a:pt x="5593443" y="1529088"/>
                  <a:pt x="5593443" y="1493374"/>
                </a:cubicBezTo>
                <a:cubicBezTo>
                  <a:pt x="5593443" y="1457662"/>
                  <a:pt x="5622397" y="1428710"/>
                  <a:pt x="5658108" y="1428710"/>
                </a:cubicBezTo>
                <a:close/>
                <a:moveTo>
                  <a:pt x="526542" y="1428710"/>
                </a:moveTo>
                <a:cubicBezTo>
                  <a:pt x="562256" y="1428710"/>
                  <a:pt x="591208" y="1457662"/>
                  <a:pt x="591208" y="1493374"/>
                </a:cubicBezTo>
                <a:cubicBezTo>
                  <a:pt x="591208" y="1529088"/>
                  <a:pt x="562256" y="1558040"/>
                  <a:pt x="526542" y="1558040"/>
                </a:cubicBezTo>
                <a:cubicBezTo>
                  <a:pt x="490829" y="1558040"/>
                  <a:pt x="461877" y="1529088"/>
                  <a:pt x="461877" y="1493374"/>
                </a:cubicBezTo>
                <a:cubicBezTo>
                  <a:pt x="461877" y="1457662"/>
                  <a:pt x="490829" y="1428710"/>
                  <a:pt x="526542" y="1428710"/>
                </a:cubicBezTo>
                <a:close/>
                <a:moveTo>
                  <a:pt x="373886" y="1428710"/>
                </a:moveTo>
                <a:cubicBezTo>
                  <a:pt x="409600" y="1428710"/>
                  <a:pt x="438551" y="1457662"/>
                  <a:pt x="438551" y="1493374"/>
                </a:cubicBezTo>
                <a:cubicBezTo>
                  <a:pt x="438551" y="1529088"/>
                  <a:pt x="409600" y="1558040"/>
                  <a:pt x="373886" y="1558040"/>
                </a:cubicBezTo>
                <a:cubicBezTo>
                  <a:pt x="338173" y="1558040"/>
                  <a:pt x="309221" y="1529088"/>
                  <a:pt x="309221" y="1493374"/>
                </a:cubicBezTo>
                <a:cubicBezTo>
                  <a:pt x="309221" y="1457662"/>
                  <a:pt x="338173" y="1428710"/>
                  <a:pt x="373886" y="1428710"/>
                </a:cubicBezTo>
                <a:close/>
                <a:moveTo>
                  <a:pt x="217317" y="1428710"/>
                </a:moveTo>
                <a:cubicBezTo>
                  <a:pt x="253031" y="1428710"/>
                  <a:pt x="281982" y="1457662"/>
                  <a:pt x="281982" y="1493374"/>
                </a:cubicBezTo>
                <a:cubicBezTo>
                  <a:pt x="281982" y="1529088"/>
                  <a:pt x="253031" y="1558040"/>
                  <a:pt x="217317" y="1558040"/>
                </a:cubicBezTo>
                <a:cubicBezTo>
                  <a:pt x="181604" y="1558040"/>
                  <a:pt x="152652" y="1529088"/>
                  <a:pt x="152652" y="1493374"/>
                </a:cubicBezTo>
                <a:cubicBezTo>
                  <a:pt x="152652" y="1457662"/>
                  <a:pt x="181604" y="1428710"/>
                  <a:pt x="217317" y="1428710"/>
                </a:cubicBezTo>
                <a:close/>
                <a:moveTo>
                  <a:pt x="5348888" y="1428708"/>
                </a:moveTo>
                <a:cubicBezTo>
                  <a:pt x="5384604" y="1428708"/>
                  <a:pt x="5413557" y="1457660"/>
                  <a:pt x="5413557" y="1493374"/>
                </a:cubicBezTo>
                <a:cubicBezTo>
                  <a:pt x="5413557" y="1529086"/>
                  <a:pt x="5384604" y="1558038"/>
                  <a:pt x="5348888" y="1558038"/>
                </a:cubicBezTo>
                <a:cubicBezTo>
                  <a:pt x="5313192" y="1558038"/>
                  <a:pt x="5284237" y="1529086"/>
                  <a:pt x="5284237" y="1493374"/>
                </a:cubicBezTo>
                <a:cubicBezTo>
                  <a:pt x="5284237" y="1457660"/>
                  <a:pt x="5313192" y="1428708"/>
                  <a:pt x="5348888" y="1428708"/>
                </a:cubicBezTo>
                <a:close/>
                <a:moveTo>
                  <a:pt x="3321398" y="1428708"/>
                </a:moveTo>
                <a:cubicBezTo>
                  <a:pt x="3357109" y="1428708"/>
                  <a:pt x="3386040" y="1457660"/>
                  <a:pt x="3386040" y="1493374"/>
                </a:cubicBezTo>
                <a:cubicBezTo>
                  <a:pt x="3386040" y="1529086"/>
                  <a:pt x="3357109" y="1558038"/>
                  <a:pt x="3321398" y="1558038"/>
                </a:cubicBezTo>
                <a:cubicBezTo>
                  <a:pt x="3285674" y="1558038"/>
                  <a:pt x="3256733" y="1529086"/>
                  <a:pt x="3256733" y="1493374"/>
                </a:cubicBezTo>
                <a:cubicBezTo>
                  <a:pt x="3256733" y="1457660"/>
                  <a:pt x="3285674" y="1428708"/>
                  <a:pt x="3321398" y="1428708"/>
                </a:cubicBezTo>
                <a:close/>
                <a:moveTo>
                  <a:pt x="3172644" y="1428708"/>
                </a:moveTo>
                <a:cubicBezTo>
                  <a:pt x="3208369" y="1428708"/>
                  <a:pt x="3237318" y="1457660"/>
                  <a:pt x="3237318" y="1493374"/>
                </a:cubicBezTo>
                <a:cubicBezTo>
                  <a:pt x="3237318" y="1529086"/>
                  <a:pt x="3208369" y="1558038"/>
                  <a:pt x="3172644" y="1558038"/>
                </a:cubicBezTo>
                <a:cubicBezTo>
                  <a:pt x="3136920" y="1558038"/>
                  <a:pt x="3107959" y="1529086"/>
                  <a:pt x="3107959" y="1493374"/>
                </a:cubicBezTo>
                <a:cubicBezTo>
                  <a:pt x="3107959" y="1457660"/>
                  <a:pt x="3136920" y="1428708"/>
                  <a:pt x="3172644" y="1428708"/>
                </a:cubicBezTo>
                <a:close/>
                <a:moveTo>
                  <a:pt x="3012125" y="1428708"/>
                </a:moveTo>
                <a:cubicBezTo>
                  <a:pt x="3047833" y="1428708"/>
                  <a:pt x="3076794" y="1457660"/>
                  <a:pt x="3076794" y="1493374"/>
                </a:cubicBezTo>
                <a:cubicBezTo>
                  <a:pt x="3076794" y="1529086"/>
                  <a:pt x="3047833" y="1558038"/>
                  <a:pt x="3012125" y="1558038"/>
                </a:cubicBezTo>
                <a:cubicBezTo>
                  <a:pt x="2976416" y="1558038"/>
                  <a:pt x="2947469" y="1529086"/>
                  <a:pt x="2947469" y="1493374"/>
                </a:cubicBezTo>
                <a:cubicBezTo>
                  <a:pt x="2947469" y="1457660"/>
                  <a:pt x="2976416" y="1428708"/>
                  <a:pt x="3012125" y="1428708"/>
                </a:cubicBezTo>
                <a:close/>
                <a:moveTo>
                  <a:pt x="2389803" y="1428708"/>
                </a:moveTo>
                <a:cubicBezTo>
                  <a:pt x="2425546" y="1428708"/>
                  <a:pt x="2454493" y="1457660"/>
                  <a:pt x="2454493" y="1493374"/>
                </a:cubicBezTo>
                <a:cubicBezTo>
                  <a:pt x="2454493" y="1529086"/>
                  <a:pt x="2425546" y="1558038"/>
                  <a:pt x="2389803" y="1558038"/>
                </a:cubicBezTo>
                <a:cubicBezTo>
                  <a:pt x="2354117" y="1558038"/>
                  <a:pt x="2325157" y="1529086"/>
                  <a:pt x="2325157" y="1493374"/>
                </a:cubicBezTo>
                <a:cubicBezTo>
                  <a:pt x="2325157" y="1457660"/>
                  <a:pt x="2354117" y="1428708"/>
                  <a:pt x="2389803" y="1428708"/>
                </a:cubicBezTo>
                <a:close/>
                <a:moveTo>
                  <a:pt x="2237136" y="1428708"/>
                </a:moveTo>
                <a:cubicBezTo>
                  <a:pt x="2272861" y="1428708"/>
                  <a:pt x="2301822" y="1457660"/>
                  <a:pt x="2301822" y="1493374"/>
                </a:cubicBezTo>
                <a:cubicBezTo>
                  <a:pt x="2301822" y="1529086"/>
                  <a:pt x="2272861" y="1558038"/>
                  <a:pt x="2237136" y="1558038"/>
                </a:cubicBezTo>
                <a:cubicBezTo>
                  <a:pt x="2201412" y="1558038"/>
                  <a:pt x="2172451" y="1529086"/>
                  <a:pt x="2172451" y="1493374"/>
                </a:cubicBezTo>
                <a:cubicBezTo>
                  <a:pt x="2172451" y="1457660"/>
                  <a:pt x="2201412" y="1428708"/>
                  <a:pt x="2237136" y="1428708"/>
                </a:cubicBezTo>
                <a:close/>
                <a:moveTo>
                  <a:pt x="2084457" y="1428708"/>
                </a:moveTo>
                <a:cubicBezTo>
                  <a:pt x="2120169" y="1428708"/>
                  <a:pt x="2149118" y="1457660"/>
                  <a:pt x="2149118" y="1493374"/>
                </a:cubicBezTo>
                <a:cubicBezTo>
                  <a:pt x="2149118" y="1529086"/>
                  <a:pt x="2120169" y="1558038"/>
                  <a:pt x="2084457" y="1558038"/>
                </a:cubicBezTo>
                <a:cubicBezTo>
                  <a:pt x="2048724" y="1558038"/>
                  <a:pt x="2019816" y="1529086"/>
                  <a:pt x="2019816" y="1493374"/>
                </a:cubicBezTo>
                <a:cubicBezTo>
                  <a:pt x="2019816" y="1457660"/>
                  <a:pt x="2048724" y="1428708"/>
                  <a:pt x="2084457" y="1428708"/>
                </a:cubicBezTo>
                <a:close/>
                <a:moveTo>
                  <a:pt x="1927872" y="1428708"/>
                </a:moveTo>
                <a:cubicBezTo>
                  <a:pt x="1963586" y="1428708"/>
                  <a:pt x="1992557" y="1457660"/>
                  <a:pt x="1992557" y="1493374"/>
                </a:cubicBezTo>
                <a:cubicBezTo>
                  <a:pt x="1992557" y="1529086"/>
                  <a:pt x="1963586" y="1558038"/>
                  <a:pt x="1927872" y="1558038"/>
                </a:cubicBezTo>
                <a:cubicBezTo>
                  <a:pt x="1892188" y="1558038"/>
                  <a:pt x="1863233" y="1529086"/>
                  <a:pt x="1863233" y="1493374"/>
                </a:cubicBezTo>
                <a:cubicBezTo>
                  <a:pt x="1863233" y="1457660"/>
                  <a:pt x="1892188" y="1428708"/>
                  <a:pt x="1927872" y="1428708"/>
                </a:cubicBezTo>
                <a:close/>
                <a:moveTo>
                  <a:pt x="1775219" y="1428708"/>
                </a:moveTo>
                <a:cubicBezTo>
                  <a:pt x="1810923" y="1428708"/>
                  <a:pt x="1839905" y="1457660"/>
                  <a:pt x="1839905" y="1493374"/>
                </a:cubicBezTo>
                <a:cubicBezTo>
                  <a:pt x="1839905" y="1529086"/>
                  <a:pt x="1810923" y="1558038"/>
                  <a:pt x="1775219" y="1558038"/>
                </a:cubicBezTo>
                <a:cubicBezTo>
                  <a:pt x="1739498" y="1558038"/>
                  <a:pt x="1710549" y="1529086"/>
                  <a:pt x="1710549" y="1493374"/>
                </a:cubicBezTo>
                <a:cubicBezTo>
                  <a:pt x="1710549" y="1457660"/>
                  <a:pt x="1739498" y="1428708"/>
                  <a:pt x="1775219" y="1428708"/>
                </a:cubicBezTo>
                <a:close/>
                <a:moveTo>
                  <a:pt x="1618636" y="1428708"/>
                </a:moveTo>
                <a:cubicBezTo>
                  <a:pt x="1654355" y="1428708"/>
                  <a:pt x="1683307" y="1457660"/>
                  <a:pt x="1683307" y="1493374"/>
                </a:cubicBezTo>
                <a:cubicBezTo>
                  <a:pt x="1683307" y="1529086"/>
                  <a:pt x="1654355" y="1558038"/>
                  <a:pt x="1618636" y="1558038"/>
                </a:cubicBezTo>
                <a:cubicBezTo>
                  <a:pt x="1582925" y="1558038"/>
                  <a:pt x="1553973" y="1529086"/>
                  <a:pt x="1553973" y="1493374"/>
                </a:cubicBezTo>
                <a:cubicBezTo>
                  <a:pt x="1553973" y="1457660"/>
                  <a:pt x="1582925" y="1428708"/>
                  <a:pt x="1618636" y="1428708"/>
                </a:cubicBezTo>
                <a:close/>
                <a:moveTo>
                  <a:pt x="1465980" y="1428708"/>
                </a:moveTo>
                <a:cubicBezTo>
                  <a:pt x="1501694" y="1428708"/>
                  <a:pt x="1530647" y="1457660"/>
                  <a:pt x="1530647" y="1493374"/>
                </a:cubicBezTo>
                <a:cubicBezTo>
                  <a:pt x="1530647" y="1529086"/>
                  <a:pt x="1501694" y="1558038"/>
                  <a:pt x="1465980" y="1558038"/>
                </a:cubicBezTo>
                <a:cubicBezTo>
                  <a:pt x="1430267" y="1558038"/>
                  <a:pt x="1401318" y="1529086"/>
                  <a:pt x="1401318" y="1493374"/>
                </a:cubicBezTo>
                <a:cubicBezTo>
                  <a:pt x="1401318" y="1457660"/>
                  <a:pt x="1430267" y="1428708"/>
                  <a:pt x="1465980" y="1428708"/>
                </a:cubicBezTo>
                <a:close/>
                <a:moveTo>
                  <a:pt x="1309407" y="1428708"/>
                </a:moveTo>
                <a:cubicBezTo>
                  <a:pt x="1345121" y="1428708"/>
                  <a:pt x="1374073" y="1457660"/>
                  <a:pt x="1374073" y="1493374"/>
                </a:cubicBezTo>
                <a:cubicBezTo>
                  <a:pt x="1374073" y="1529086"/>
                  <a:pt x="1345121" y="1558038"/>
                  <a:pt x="1309407" y="1558038"/>
                </a:cubicBezTo>
                <a:cubicBezTo>
                  <a:pt x="1273694" y="1558038"/>
                  <a:pt x="1244742" y="1529086"/>
                  <a:pt x="1244742" y="1493374"/>
                </a:cubicBezTo>
                <a:cubicBezTo>
                  <a:pt x="1244742" y="1457660"/>
                  <a:pt x="1273694" y="1428708"/>
                  <a:pt x="1309407" y="1428708"/>
                </a:cubicBezTo>
                <a:close/>
                <a:moveTo>
                  <a:pt x="1148923" y="1428708"/>
                </a:moveTo>
                <a:cubicBezTo>
                  <a:pt x="1184637" y="1428708"/>
                  <a:pt x="1213588" y="1457660"/>
                  <a:pt x="1213588" y="1493374"/>
                </a:cubicBezTo>
                <a:cubicBezTo>
                  <a:pt x="1213588" y="1529086"/>
                  <a:pt x="1184637" y="1558038"/>
                  <a:pt x="1148923" y="1558038"/>
                </a:cubicBezTo>
                <a:cubicBezTo>
                  <a:pt x="1113209" y="1558038"/>
                  <a:pt x="1084258" y="1529086"/>
                  <a:pt x="1084258" y="1493374"/>
                </a:cubicBezTo>
                <a:cubicBezTo>
                  <a:pt x="1084258" y="1457660"/>
                  <a:pt x="1113209" y="1428708"/>
                  <a:pt x="1148923" y="1428708"/>
                </a:cubicBezTo>
                <a:close/>
                <a:moveTo>
                  <a:pt x="11095111" y="1287791"/>
                </a:moveTo>
                <a:cubicBezTo>
                  <a:pt x="11130825" y="1287791"/>
                  <a:pt x="11159777" y="1316743"/>
                  <a:pt x="11159777" y="1352456"/>
                </a:cubicBezTo>
                <a:cubicBezTo>
                  <a:pt x="11159777" y="1388171"/>
                  <a:pt x="11130825" y="1417123"/>
                  <a:pt x="11095111" y="1417123"/>
                </a:cubicBezTo>
                <a:cubicBezTo>
                  <a:pt x="11059397" y="1417123"/>
                  <a:pt x="11030445" y="1388171"/>
                  <a:pt x="11030445" y="1352456"/>
                </a:cubicBezTo>
                <a:cubicBezTo>
                  <a:pt x="11030445" y="1316743"/>
                  <a:pt x="11059397" y="1287791"/>
                  <a:pt x="11095111" y="1287791"/>
                </a:cubicBezTo>
                <a:close/>
                <a:moveTo>
                  <a:pt x="10938538" y="1287791"/>
                </a:moveTo>
                <a:cubicBezTo>
                  <a:pt x="10974252" y="1287791"/>
                  <a:pt x="11003204" y="1316743"/>
                  <a:pt x="11003204" y="1352456"/>
                </a:cubicBezTo>
                <a:cubicBezTo>
                  <a:pt x="11003204" y="1388171"/>
                  <a:pt x="10974252" y="1417123"/>
                  <a:pt x="10938538" y="1417123"/>
                </a:cubicBezTo>
                <a:cubicBezTo>
                  <a:pt x="10902824" y="1417123"/>
                  <a:pt x="10873872" y="1388171"/>
                  <a:pt x="10873872" y="1352456"/>
                </a:cubicBezTo>
                <a:cubicBezTo>
                  <a:pt x="10873872" y="1316743"/>
                  <a:pt x="10902824" y="1287791"/>
                  <a:pt x="10938538" y="1287791"/>
                </a:cubicBezTo>
                <a:close/>
                <a:moveTo>
                  <a:pt x="10778051" y="1287791"/>
                </a:moveTo>
                <a:cubicBezTo>
                  <a:pt x="10813765" y="1287791"/>
                  <a:pt x="10842717" y="1316743"/>
                  <a:pt x="10842717" y="1352456"/>
                </a:cubicBezTo>
                <a:cubicBezTo>
                  <a:pt x="10842717" y="1388171"/>
                  <a:pt x="10813765" y="1417123"/>
                  <a:pt x="10778051" y="1417123"/>
                </a:cubicBezTo>
                <a:cubicBezTo>
                  <a:pt x="10742337" y="1417123"/>
                  <a:pt x="10713385" y="1388171"/>
                  <a:pt x="10713385" y="1352456"/>
                </a:cubicBezTo>
                <a:cubicBezTo>
                  <a:pt x="10713385" y="1316743"/>
                  <a:pt x="10742337" y="1287791"/>
                  <a:pt x="10778051" y="1287791"/>
                </a:cubicBezTo>
                <a:close/>
                <a:moveTo>
                  <a:pt x="10625391" y="1287791"/>
                </a:moveTo>
                <a:cubicBezTo>
                  <a:pt x="10661105" y="1287791"/>
                  <a:pt x="10690057" y="1316743"/>
                  <a:pt x="10690057" y="1352456"/>
                </a:cubicBezTo>
                <a:cubicBezTo>
                  <a:pt x="10690057" y="1388171"/>
                  <a:pt x="10661105" y="1417123"/>
                  <a:pt x="10625391" y="1417123"/>
                </a:cubicBezTo>
                <a:cubicBezTo>
                  <a:pt x="10589677" y="1417123"/>
                  <a:pt x="10560725" y="1388171"/>
                  <a:pt x="10560725" y="1352456"/>
                </a:cubicBezTo>
                <a:cubicBezTo>
                  <a:pt x="10560725" y="1316743"/>
                  <a:pt x="10589677" y="1287791"/>
                  <a:pt x="10625391" y="1287791"/>
                </a:cubicBezTo>
                <a:close/>
                <a:moveTo>
                  <a:pt x="10468818" y="1287791"/>
                </a:moveTo>
                <a:cubicBezTo>
                  <a:pt x="10504532" y="1287791"/>
                  <a:pt x="10533484" y="1316743"/>
                  <a:pt x="10533484" y="1352456"/>
                </a:cubicBezTo>
                <a:cubicBezTo>
                  <a:pt x="10533484" y="1388171"/>
                  <a:pt x="10504532" y="1417123"/>
                  <a:pt x="10468818" y="1417123"/>
                </a:cubicBezTo>
                <a:cubicBezTo>
                  <a:pt x="10433104" y="1417123"/>
                  <a:pt x="10404152" y="1388171"/>
                  <a:pt x="10404152" y="1352456"/>
                </a:cubicBezTo>
                <a:cubicBezTo>
                  <a:pt x="10404152" y="1316743"/>
                  <a:pt x="10433104" y="1287791"/>
                  <a:pt x="10468818" y="1287791"/>
                </a:cubicBezTo>
                <a:close/>
                <a:moveTo>
                  <a:pt x="10312244" y="1287791"/>
                </a:moveTo>
                <a:cubicBezTo>
                  <a:pt x="10347958" y="1287791"/>
                  <a:pt x="10376910" y="1316743"/>
                  <a:pt x="10376910" y="1352456"/>
                </a:cubicBezTo>
                <a:cubicBezTo>
                  <a:pt x="10376910" y="1388171"/>
                  <a:pt x="10347958" y="1417123"/>
                  <a:pt x="10312244" y="1417123"/>
                </a:cubicBezTo>
                <a:cubicBezTo>
                  <a:pt x="10276530" y="1417123"/>
                  <a:pt x="10247578" y="1388171"/>
                  <a:pt x="10247578" y="1352456"/>
                </a:cubicBezTo>
                <a:cubicBezTo>
                  <a:pt x="10247578" y="1316743"/>
                  <a:pt x="10276530" y="1287791"/>
                  <a:pt x="10312244" y="1287791"/>
                </a:cubicBezTo>
                <a:close/>
                <a:moveTo>
                  <a:pt x="10159586" y="1287791"/>
                </a:moveTo>
                <a:cubicBezTo>
                  <a:pt x="10195300" y="1287791"/>
                  <a:pt x="10224252" y="1316743"/>
                  <a:pt x="10224252" y="1352456"/>
                </a:cubicBezTo>
                <a:cubicBezTo>
                  <a:pt x="10224252" y="1388171"/>
                  <a:pt x="10195300" y="1417123"/>
                  <a:pt x="10159586" y="1417123"/>
                </a:cubicBezTo>
                <a:cubicBezTo>
                  <a:pt x="10123872" y="1417123"/>
                  <a:pt x="10094920" y="1388171"/>
                  <a:pt x="10094920" y="1352456"/>
                </a:cubicBezTo>
                <a:cubicBezTo>
                  <a:pt x="10094920" y="1316743"/>
                  <a:pt x="10123872" y="1287791"/>
                  <a:pt x="10159586" y="1287791"/>
                </a:cubicBezTo>
                <a:close/>
                <a:moveTo>
                  <a:pt x="10003015" y="1287791"/>
                </a:moveTo>
                <a:cubicBezTo>
                  <a:pt x="10038729" y="1287791"/>
                  <a:pt x="10067681" y="1316743"/>
                  <a:pt x="10067681" y="1352456"/>
                </a:cubicBezTo>
                <a:cubicBezTo>
                  <a:pt x="10067681" y="1388171"/>
                  <a:pt x="10038729" y="1417123"/>
                  <a:pt x="10003015" y="1417123"/>
                </a:cubicBezTo>
                <a:cubicBezTo>
                  <a:pt x="9967301" y="1417123"/>
                  <a:pt x="9938349" y="1388171"/>
                  <a:pt x="9938349" y="1352456"/>
                </a:cubicBezTo>
                <a:cubicBezTo>
                  <a:pt x="9938349" y="1316743"/>
                  <a:pt x="9967301" y="1287791"/>
                  <a:pt x="10003015" y="1287791"/>
                </a:cubicBezTo>
                <a:close/>
                <a:moveTo>
                  <a:pt x="9850355" y="1287791"/>
                </a:moveTo>
                <a:cubicBezTo>
                  <a:pt x="9886069" y="1287791"/>
                  <a:pt x="9915021" y="1316743"/>
                  <a:pt x="9915021" y="1352456"/>
                </a:cubicBezTo>
                <a:cubicBezTo>
                  <a:pt x="9915021" y="1388171"/>
                  <a:pt x="9886069" y="1417123"/>
                  <a:pt x="9850355" y="1417123"/>
                </a:cubicBezTo>
                <a:cubicBezTo>
                  <a:pt x="9814641" y="1417123"/>
                  <a:pt x="9785689" y="1388171"/>
                  <a:pt x="9785689" y="1352456"/>
                </a:cubicBezTo>
                <a:cubicBezTo>
                  <a:pt x="9785689" y="1316743"/>
                  <a:pt x="9814641" y="1287791"/>
                  <a:pt x="9850355" y="1287791"/>
                </a:cubicBezTo>
                <a:close/>
                <a:moveTo>
                  <a:pt x="9693780" y="1287791"/>
                </a:moveTo>
                <a:cubicBezTo>
                  <a:pt x="9729494" y="1287791"/>
                  <a:pt x="9758446" y="1316743"/>
                  <a:pt x="9758446" y="1352456"/>
                </a:cubicBezTo>
                <a:cubicBezTo>
                  <a:pt x="9758446" y="1388171"/>
                  <a:pt x="9729494" y="1417123"/>
                  <a:pt x="9693780" y="1417123"/>
                </a:cubicBezTo>
                <a:cubicBezTo>
                  <a:pt x="9658066" y="1417123"/>
                  <a:pt x="9629114" y="1388171"/>
                  <a:pt x="9629114" y="1352456"/>
                </a:cubicBezTo>
                <a:cubicBezTo>
                  <a:pt x="9629114" y="1316743"/>
                  <a:pt x="9658066" y="1287791"/>
                  <a:pt x="9693780" y="1287791"/>
                </a:cubicBezTo>
                <a:close/>
                <a:moveTo>
                  <a:pt x="9541122" y="1287791"/>
                </a:moveTo>
                <a:cubicBezTo>
                  <a:pt x="9576836" y="1287791"/>
                  <a:pt x="9605788" y="1316743"/>
                  <a:pt x="9605788" y="1352456"/>
                </a:cubicBezTo>
                <a:cubicBezTo>
                  <a:pt x="9605788" y="1388171"/>
                  <a:pt x="9576836" y="1417123"/>
                  <a:pt x="9541122" y="1417123"/>
                </a:cubicBezTo>
                <a:cubicBezTo>
                  <a:pt x="9505408" y="1417123"/>
                  <a:pt x="9476456" y="1388171"/>
                  <a:pt x="9476456" y="1352456"/>
                </a:cubicBezTo>
                <a:cubicBezTo>
                  <a:pt x="9476456" y="1316743"/>
                  <a:pt x="9505408" y="1287791"/>
                  <a:pt x="9541122" y="1287791"/>
                </a:cubicBezTo>
                <a:close/>
                <a:moveTo>
                  <a:pt x="9384549" y="1287791"/>
                </a:moveTo>
                <a:cubicBezTo>
                  <a:pt x="9420263" y="1287791"/>
                  <a:pt x="9449215" y="1316743"/>
                  <a:pt x="9449215" y="1352456"/>
                </a:cubicBezTo>
                <a:cubicBezTo>
                  <a:pt x="9449215" y="1388171"/>
                  <a:pt x="9420263" y="1417123"/>
                  <a:pt x="9384549" y="1417123"/>
                </a:cubicBezTo>
                <a:cubicBezTo>
                  <a:pt x="9348835" y="1417123"/>
                  <a:pt x="9319883" y="1388171"/>
                  <a:pt x="9319883" y="1352456"/>
                </a:cubicBezTo>
                <a:cubicBezTo>
                  <a:pt x="9319883" y="1316743"/>
                  <a:pt x="9348835" y="1287791"/>
                  <a:pt x="9384549" y="1287791"/>
                </a:cubicBezTo>
                <a:close/>
                <a:moveTo>
                  <a:pt x="9227976" y="1287791"/>
                </a:moveTo>
                <a:cubicBezTo>
                  <a:pt x="9263690" y="1287791"/>
                  <a:pt x="9292642" y="1316743"/>
                  <a:pt x="9292642" y="1352456"/>
                </a:cubicBezTo>
                <a:cubicBezTo>
                  <a:pt x="9292642" y="1388171"/>
                  <a:pt x="9263690" y="1417123"/>
                  <a:pt x="9227976" y="1417123"/>
                </a:cubicBezTo>
                <a:cubicBezTo>
                  <a:pt x="9192262" y="1417123"/>
                  <a:pt x="9163310" y="1388171"/>
                  <a:pt x="9163310" y="1352456"/>
                </a:cubicBezTo>
                <a:cubicBezTo>
                  <a:pt x="9163310" y="1316743"/>
                  <a:pt x="9192262" y="1287791"/>
                  <a:pt x="9227976" y="1287791"/>
                </a:cubicBezTo>
                <a:close/>
                <a:moveTo>
                  <a:pt x="9075316" y="1287791"/>
                </a:moveTo>
                <a:cubicBezTo>
                  <a:pt x="9111030" y="1287791"/>
                  <a:pt x="9139982" y="1316743"/>
                  <a:pt x="9139982" y="1352456"/>
                </a:cubicBezTo>
                <a:cubicBezTo>
                  <a:pt x="9139982" y="1388171"/>
                  <a:pt x="9111030" y="1417123"/>
                  <a:pt x="9075316" y="1417123"/>
                </a:cubicBezTo>
                <a:cubicBezTo>
                  <a:pt x="9039602" y="1417123"/>
                  <a:pt x="9010650" y="1388171"/>
                  <a:pt x="9010650" y="1352456"/>
                </a:cubicBezTo>
                <a:cubicBezTo>
                  <a:pt x="9010650" y="1316743"/>
                  <a:pt x="9039602" y="1287791"/>
                  <a:pt x="9075316" y="1287791"/>
                </a:cubicBezTo>
                <a:close/>
                <a:moveTo>
                  <a:pt x="8914828" y="1287791"/>
                </a:moveTo>
                <a:cubicBezTo>
                  <a:pt x="8950542" y="1287791"/>
                  <a:pt x="8979494" y="1316743"/>
                  <a:pt x="8979494" y="1352456"/>
                </a:cubicBezTo>
                <a:cubicBezTo>
                  <a:pt x="8979494" y="1388171"/>
                  <a:pt x="8950542" y="1417123"/>
                  <a:pt x="8914828" y="1417123"/>
                </a:cubicBezTo>
                <a:cubicBezTo>
                  <a:pt x="8879114" y="1417123"/>
                  <a:pt x="8850162" y="1388171"/>
                  <a:pt x="8850162" y="1352456"/>
                </a:cubicBezTo>
                <a:cubicBezTo>
                  <a:pt x="8850162" y="1316743"/>
                  <a:pt x="8879114" y="1287791"/>
                  <a:pt x="8914828" y="1287791"/>
                </a:cubicBezTo>
                <a:close/>
                <a:moveTo>
                  <a:pt x="8766084" y="1287791"/>
                </a:moveTo>
                <a:cubicBezTo>
                  <a:pt x="8801798" y="1287791"/>
                  <a:pt x="8830750" y="1316743"/>
                  <a:pt x="8830750" y="1352456"/>
                </a:cubicBezTo>
                <a:cubicBezTo>
                  <a:pt x="8830750" y="1388171"/>
                  <a:pt x="8801798" y="1417123"/>
                  <a:pt x="8766084" y="1417123"/>
                </a:cubicBezTo>
                <a:cubicBezTo>
                  <a:pt x="8730370" y="1417123"/>
                  <a:pt x="8701418" y="1388171"/>
                  <a:pt x="8701418" y="1352456"/>
                </a:cubicBezTo>
                <a:cubicBezTo>
                  <a:pt x="8701418" y="1316743"/>
                  <a:pt x="8730370" y="1287791"/>
                  <a:pt x="8766084" y="1287791"/>
                </a:cubicBezTo>
                <a:close/>
                <a:moveTo>
                  <a:pt x="8601682" y="1287791"/>
                </a:moveTo>
                <a:cubicBezTo>
                  <a:pt x="8637396" y="1287791"/>
                  <a:pt x="8666348" y="1316743"/>
                  <a:pt x="8666348" y="1352456"/>
                </a:cubicBezTo>
                <a:cubicBezTo>
                  <a:pt x="8666348" y="1388171"/>
                  <a:pt x="8637396" y="1417123"/>
                  <a:pt x="8601682" y="1417123"/>
                </a:cubicBezTo>
                <a:cubicBezTo>
                  <a:pt x="8565968" y="1417123"/>
                  <a:pt x="8537016" y="1388171"/>
                  <a:pt x="8537016" y="1352456"/>
                </a:cubicBezTo>
                <a:cubicBezTo>
                  <a:pt x="8537016" y="1316743"/>
                  <a:pt x="8565968" y="1287791"/>
                  <a:pt x="8601682" y="1287791"/>
                </a:cubicBezTo>
                <a:close/>
                <a:moveTo>
                  <a:pt x="8449023" y="1287791"/>
                </a:moveTo>
                <a:cubicBezTo>
                  <a:pt x="8484737" y="1287791"/>
                  <a:pt x="8513689" y="1316743"/>
                  <a:pt x="8513689" y="1352456"/>
                </a:cubicBezTo>
                <a:cubicBezTo>
                  <a:pt x="8513689" y="1388171"/>
                  <a:pt x="8484737" y="1417123"/>
                  <a:pt x="8449023" y="1417123"/>
                </a:cubicBezTo>
                <a:cubicBezTo>
                  <a:pt x="8413309" y="1417123"/>
                  <a:pt x="8384357" y="1388171"/>
                  <a:pt x="8384357" y="1352456"/>
                </a:cubicBezTo>
                <a:cubicBezTo>
                  <a:pt x="8384357" y="1316743"/>
                  <a:pt x="8413309" y="1287791"/>
                  <a:pt x="8449023" y="1287791"/>
                </a:cubicBezTo>
                <a:close/>
                <a:moveTo>
                  <a:pt x="8296365" y="1287791"/>
                </a:moveTo>
                <a:cubicBezTo>
                  <a:pt x="8332079" y="1287791"/>
                  <a:pt x="8361031" y="1316743"/>
                  <a:pt x="8361031" y="1352456"/>
                </a:cubicBezTo>
                <a:cubicBezTo>
                  <a:pt x="8361031" y="1388171"/>
                  <a:pt x="8332079" y="1417123"/>
                  <a:pt x="8296365" y="1417123"/>
                </a:cubicBezTo>
                <a:cubicBezTo>
                  <a:pt x="8260651" y="1417123"/>
                  <a:pt x="8231699" y="1388171"/>
                  <a:pt x="8231699" y="1352456"/>
                </a:cubicBezTo>
                <a:cubicBezTo>
                  <a:pt x="8231699" y="1316743"/>
                  <a:pt x="8260651" y="1287791"/>
                  <a:pt x="8296365" y="1287791"/>
                </a:cubicBezTo>
                <a:close/>
                <a:moveTo>
                  <a:pt x="8139790" y="1287791"/>
                </a:moveTo>
                <a:cubicBezTo>
                  <a:pt x="8175504" y="1287791"/>
                  <a:pt x="8204456" y="1316743"/>
                  <a:pt x="8204456" y="1352456"/>
                </a:cubicBezTo>
                <a:cubicBezTo>
                  <a:pt x="8204456" y="1388171"/>
                  <a:pt x="8175504" y="1417123"/>
                  <a:pt x="8139790" y="1417123"/>
                </a:cubicBezTo>
                <a:cubicBezTo>
                  <a:pt x="8104076" y="1417123"/>
                  <a:pt x="8075124" y="1388171"/>
                  <a:pt x="8075124" y="1352456"/>
                </a:cubicBezTo>
                <a:cubicBezTo>
                  <a:pt x="8075124" y="1316743"/>
                  <a:pt x="8104076" y="1287791"/>
                  <a:pt x="8139790" y="1287791"/>
                </a:cubicBezTo>
                <a:close/>
                <a:moveTo>
                  <a:pt x="7987132" y="1287791"/>
                </a:moveTo>
                <a:cubicBezTo>
                  <a:pt x="8022846" y="1287791"/>
                  <a:pt x="8051798" y="1316743"/>
                  <a:pt x="8051798" y="1352456"/>
                </a:cubicBezTo>
                <a:cubicBezTo>
                  <a:pt x="8051798" y="1388171"/>
                  <a:pt x="8022846" y="1417123"/>
                  <a:pt x="7987132" y="1417123"/>
                </a:cubicBezTo>
                <a:cubicBezTo>
                  <a:pt x="7951418" y="1417123"/>
                  <a:pt x="7922466" y="1388171"/>
                  <a:pt x="7922466" y="1352456"/>
                </a:cubicBezTo>
                <a:cubicBezTo>
                  <a:pt x="7922466" y="1316743"/>
                  <a:pt x="7951418" y="1287791"/>
                  <a:pt x="7987132" y="1287791"/>
                </a:cubicBezTo>
                <a:close/>
                <a:moveTo>
                  <a:pt x="7830560" y="1287791"/>
                </a:moveTo>
                <a:cubicBezTo>
                  <a:pt x="7866274" y="1287791"/>
                  <a:pt x="7895226" y="1316743"/>
                  <a:pt x="7895226" y="1352456"/>
                </a:cubicBezTo>
                <a:cubicBezTo>
                  <a:pt x="7895226" y="1388171"/>
                  <a:pt x="7866274" y="1417123"/>
                  <a:pt x="7830560" y="1417123"/>
                </a:cubicBezTo>
                <a:cubicBezTo>
                  <a:pt x="7794846" y="1417123"/>
                  <a:pt x="7765894" y="1388171"/>
                  <a:pt x="7765894" y="1352456"/>
                </a:cubicBezTo>
                <a:cubicBezTo>
                  <a:pt x="7765894" y="1316743"/>
                  <a:pt x="7794846" y="1287791"/>
                  <a:pt x="7830560" y="1287791"/>
                </a:cubicBezTo>
                <a:close/>
                <a:moveTo>
                  <a:pt x="7677900" y="1287791"/>
                </a:moveTo>
                <a:cubicBezTo>
                  <a:pt x="7713614" y="1287791"/>
                  <a:pt x="7742566" y="1316743"/>
                  <a:pt x="7742566" y="1352456"/>
                </a:cubicBezTo>
                <a:cubicBezTo>
                  <a:pt x="7742566" y="1388171"/>
                  <a:pt x="7713614" y="1417123"/>
                  <a:pt x="7677900" y="1417123"/>
                </a:cubicBezTo>
                <a:cubicBezTo>
                  <a:pt x="7642186" y="1417123"/>
                  <a:pt x="7613234" y="1388171"/>
                  <a:pt x="7613234" y="1352456"/>
                </a:cubicBezTo>
                <a:cubicBezTo>
                  <a:pt x="7613234" y="1316743"/>
                  <a:pt x="7642186" y="1287791"/>
                  <a:pt x="7677900" y="1287791"/>
                </a:cubicBezTo>
                <a:close/>
                <a:moveTo>
                  <a:pt x="7521327" y="1287791"/>
                </a:moveTo>
                <a:cubicBezTo>
                  <a:pt x="7557041" y="1287791"/>
                  <a:pt x="7585993" y="1316743"/>
                  <a:pt x="7585993" y="1352456"/>
                </a:cubicBezTo>
                <a:cubicBezTo>
                  <a:pt x="7585993" y="1388171"/>
                  <a:pt x="7557041" y="1417123"/>
                  <a:pt x="7521327" y="1417123"/>
                </a:cubicBezTo>
                <a:cubicBezTo>
                  <a:pt x="7485613" y="1417123"/>
                  <a:pt x="7456661" y="1388171"/>
                  <a:pt x="7456661" y="1352456"/>
                </a:cubicBezTo>
                <a:cubicBezTo>
                  <a:pt x="7456661" y="1316743"/>
                  <a:pt x="7485613" y="1287791"/>
                  <a:pt x="7521327" y="1287791"/>
                </a:cubicBezTo>
                <a:close/>
                <a:moveTo>
                  <a:pt x="7368667" y="1287791"/>
                </a:moveTo>
                <a:cubicBezTo>
                  <a:pt x="7404381" y="1287791"/>
                  <a:pt x="7433333" y="1316743"/>
                  <a:pt x="7433333" y="1352456"/>
                </a:cubicBezTo>
                <a:cubicBezTo>
                  <a:pt x="7433333" y="1388171"/>
                  <a:pt x="7404381" y="1417123"/>
                  <a:pt x="7368667" y="1417123"/>
                </a:cubicBezTo>
                <a:cubicBezTo>
                  <a:pt x="7332953" y="1417123"/>
                  <a:pt x="7304001" y="1388171"/>
                  <a:pt x="7304001" y="1352456"/>
                </a:cubicBezTo>
                <a:cubicBezTo>
                  <a:pt x="7304001" y="1316743"/>
                  <a:pt x="7332953" y="1287791"/>
                  <a:pt x="7368667" y="1287791"/>
                </a:cubicBezTo>
                <a:close/>
                <a:moveTo>
                  <a:pt x="7212094" y="1287791"/>
                </a:moveTo>
                <a:cubicBezTo>
                  <a:pt x="7247808" y="1287791"/>
                  <a:pt x="7276760" y="1316743"/>
                  <a:pt x="7276760" y="1352456"/>
                </a:cubicBezTo>
                <a:cubicBezTo>
                  <a:pt x="7276760" y="1388171"/>
                  <a:pt x="7247808" y="1417123"/>
                  <a:pt x="7212094" y="1417123"/>
                </a:cubicBezTo>
                <a:cubicBezTo>
                  <a:pt x="7176380" y="1417123"/>
                  <a:pt x="7147428" y="1388171"/>
                  <a:pt x="7147428" y="1352456"/>
                </a:cubicBezTo>
                <a:cubicBezTo>
                  <a:pt x="7147428" y="1316743"/>
                  <a:pt x="7176380" y="1287791"/>
                  <a:pt x="7212094" y="1287791"/>
                </a:cubicBezTo>
                <a:close/>
                <a:moveTo>
                  <a:pt x="7055521" y="1287791"/>
                </a:moveTo>
                <a:cubicBezTo>
                  <a:pt x="7091235" y="1287791"/>
                  <a:pt x="7120187" y="1316743"/>
                  <a:pt x="7120187" y="1352456"/>
                </a:cubicBezTo>
                <a:cubicBezTo>
                  <a:pt x="7120187" y="1388171"/>
                  <a:pt x="7091235" y="1417123"/>
                  <a:pt x="7055521" y="1417123"/>
                </a:cubicBezTo>
                <a:cubicBezTo>
                  <a:pt x="7019807" y="1417123"/>
                  <a:pt x="6990855" y="1388171"/>
                  <a:pt x="6990855" y="1352456"/>
                </a:cubicBezTo>
                <a:cubicBezTo>
                  <a:pt x="6990855" y="1316743"/>
                  <a:pt x="7019807" y="1287791"/>
                  <a:pt x="7055521" y="1287791"/>
                </a:cubicBezTo>
                <a:close/>
                <a:moveTo>
                  <a:pt x="6895035" y="1287791"/>
                </a:moveTo>
                <a:cubicBezTo>
                  <a:pt x="6930749" y="1287791"/>
                  <a:pt x="6959701" y="1316743"/>
                  <a:pt x="6959701" y="1352456"/>
                </a:cubicBezTo>
                <a:cubicBezTo>
                  <a:pt x="6959701" y="1388171"/>
                  <a:pt x="6930749" y="1417123"/>
                  <a:pt x="6895035" y="1417123"/>
                </a:cubicBezTo>
                <a:cubicBezTo>
                  <a:pt x="6859321" y="1417123"/>
                  <a:pt x="6830369" y="1388171"/>
                  <a:pt x="6830369" y="1352456"/>
                </a:cubicBezTo>
                <a:cubicBezTo>
                  <a:pt x="6830369" y="1316743"/>
                  <a:pt x="6859321" y="1287791"/>
                  <a:pt x="6895035" y="1287791"/>
                </a:cubicBezTo>
                <a:close/>
                <a:moveTo>
                  <a:pt x="6742375" y="1287791"/>
                </a:moveTo>
                <a:cubicBezTo>
                  <a:pt x="6778089" y="1287791"/>
                  <a:pt x="6807041" y="1316743"/>
                  <a:pt x="6807041" y="1352456"/>
                </a:cubicBezTo>
                <a:cubicBezTo>
                  <a:pt x="6807041" y="1388171"/>
                  <a:pt x="6778089" y="1417123"/>
                  <a:pt x="6742375" y="1417123"/>
                </a:cubicBezTo>
                <a:cubicBezTo>
                  <a:pt x="6706661" y="1417123"/>
                  <a:pt x="6677709" y="1388171"/>
                  <a:pt x="6677709" y="1352456"/>
                </a:cubicBezTo>
                <a:cubicBezTo>
                  <a:pt x="6677709" y="1316743"/>
                  <a:pt x="6706661" y="1287791"/>
                  <a:pt x="6742375" y="1287791"/>
                </a:cubicBezTo>
                <a:close/>
                <a:moveTo>
                  <a:pt x="6585801" y="1287791"/>
                </a:moveTo>
                <a:cubicBezTo>
                  <a:pt x="6621515" y="1287791"/>
                  <a:pt x="6650467" y="1316743"/>
                  <a:pt x="6650467" y="1352456"/>
                </a:cubicBezTo>
                <a:cubicBezTo>
                  <a:pt x="6650467" y="1388171"/>
                  <a:pt x="6621515" y="1417123"/>
                  <a:pt x="6585801" y="1417123"/>
                </a:cubicBezTo>
                <a:cubicBezTo>
                  <a:pt x="6550087" y="1417123"/>
                  <a:pt x="6521135" y="1388171"/>
                  <a:pt x="6521135" y="1352456"/>
                </a:cubicBezTo>
                <a:cubicBezTo>
                  <a:pt x="6521135" y="1316743"/>
                  <a:pt x="6550087" y="1287791"/>
                  <a:pt x="6585801" y="1287791"/>
                </a:cubicBezTo>
                <a:close/>
                <a:moveTo>
                  <a:pt x="6429228" y="1287791"/>
                </a:moveTo>
                <a:cubicBezTo>
                  <a:pt x="6464942" y="1287791"/>
                  <a:pt x="6493894" y="1316743"/>
                  <a:pt x="6493894" y="1352456"/>
                </a:cubicBezTo>
                <a:cubicBezTo>
                  <a:pt x="6493894" y="1388171"/>
                  <a:pt x="6464942" y="1417123"/>
                  <a:pt x="6429228" y="1417123"/>
                </a:cubicBezTo>
                <a:cubicBezTo>
                  <a:pt x="6393514" y="1417123"/>
                  <a:pt x="6364562" y="1388171"/>
                  <a:pt x="6364562" y="1352456"/>
                </a:cubicBezTo>
                <a:cubicBezTo>
                  <a:pt x="6364562" y="1316743"/>
                  <a:pt x="6393514" y="1287791"/>
                  <a:pt x="6429228" y="1287791"/>
                </a:cubicBezTo>
                <a:close/>
                <a:moveTo>
                  <a:pt x="6276569" y="1287791"/>
                </a:moveTo>
                <a:cubicBezTo>
                  <a:pt x="6312283" y="1287791"/>
                  <a:pt x="6341235" y="1316743"/>
                  <a:pt x="6341235" y="1352456"/>
                </a:cubicBezTo>
                <a:cubicBezTo>
                  <a:pt x="6341235" y="1388171"/>
                  <a:pt x="6312283" y="1417123"/>
                  <a:pt x="6276569" y="1417123"/>
                </a:cubicBezTo>
                <a:cubicBezTo>
                  <a:pt x="6240855" y="1417123"/>
                  <a:pt x="6211903" y="1388171"/>
                  <a:pt x="6211903" y="1352456"/>
                </a:cubicBezTo>
                <a:cubicBezTo>
                  <a:pt x="6211903" y="1316743"/>
                  <a:pt x="6240855" y="1287791"/>
                  <a:pt x="6276569" y="1287791"/>
                </a:cubicBezTo>
                <a:close/>
                <a:moveTo>
                  <a:pt x="5967336" y="1287791"/>
                </a:moveTo>
                <a:cubicBezTo>
                  <a:pt x="6003050" y="1287791"/>
                  <a:pt x="6032002" y="1316743"/>
                  <a:pt x="6032002" y="1352456"/>
                </a:cubicBezTo>
                <a:cubicBezTo>
                  <a:pt x="6032002" y="1388171"/>
                  <a:pt x="6003050" y="1417123"/>
                  <a:pt x="5967336" y="1417123"/>
                </a:cubicBezTo>
                <a:cubicBezTo>
                  <a:pt x="5931622" y="1417123"/>
                  <a:pt x="5902670" y="1388171"/>
                  <a:pt x="5902670" y="1352456"/>
                </a:cubicBezTo>
                <a:cubicBezTo>
                  <a:pt x="5902670" y="1316743"/>
                  <a:pt x="5931622" y="1287791"/>
                  <a:pt x="5967336" y="1287791"/>
                </a:cubicBezTo>
                <a:close/>
                <a:moveTo>
                  <a:pt x="5810805" y="1287791"/>
                </a:moveTo>
                <a:cubicBezTo>
                  <a:pt x="5846477" y="1287791"/>
                  <a:pt x="5875429" y="1316743"/>
                  <a:pt x="5875429" y="1352456"/>
                </a:cubicBezTo>
                <a:cubicBezTo>
                  <a:pt x="5875429" y="1388171"/>
                  <a:pt x="5846477" y="1417123"/>
                  <a:pt x="5810805" y="1417123"/>
                </a:cubicBezTo>
                <a:cubicBezTo>
                  <a:pt x="5775079" y="1417123"/>
                  <a:pt x="5746117" y="1388171"/>
                  <a:pt x="5746117" y="1352456"/>
                </a:cubicBezTo>
                <a:cubicBezTo>
                  <a:pt x="5746117" y="1316743"/>
                  <a:pt x="5775079" y="1287791"/>
                  <a:pt x="5810805" y="1287791"/>
                </a:cubicBezTo>
                <a:close/>
                <a:moveTo>
                  <a:pt x="5658107" y="1287791"/>
                </a:moveTo>
                <a:cubicBezTo>
                  <a:pt x="5693823" y="1287791"/>
                  <a:pt x="5722783" y="1316743"/>
                  <a:pt x="5722783" y="1352456"/>
                </a:cubicBezTo>
                <a:cubicBezTo>
                  <a:pt x="5722783" y="1388171"/>
                  <a:pt x="5693823" y="1417123"/>
                  <a:pt x="5658107" y="1417123"/>
                </a:cubicBezTo>
                <a:cubicBezTo>
                  <a:pt x="5622397" y="1417123"/>
                  <a:pt x="5593441" y="1388171"/>
                  <a:pt x="5593441" y="1352456"/>
                </a:cubicBezTo>
                <a:cubicBezTo>
                  <a:pt x="5593441" y="1316743"/>
                  <a:pt x="5622397" y="1287791"/>
                  <a:pt x="5658107" y="1287791"/>
                </a:cubicBezTo>
                <a:close/>
                <a:moveTo>
                  <a:pt x="4100247" y="1287791"/>
                </a:moveTo>
                <a:cubicBezTo>
                  <a:pt x="4135947" y="1287791"/>
                  <a:pt x="4164920" y="1316743"/>
                  <a:pt x="4164920" y="1352456"/>
                </a:cubicBezTo>
                <a:cubicBezTo>
                  <a:pt x="4164920" y="1388171"/>
                  <a:pt x="4135947" y="1417123"/>
                  <a:pt x="4100247" y="1417123"/>
                </a:cubicBezTo>
                <a:cubicBezTo>
                  <a:pt x="4064521" y="1417123"/>
                  <a:pt x="4035590" y="1388171"/>
                  <a:pt x="4035590" y="1352456"/>
                </a:cubicBezTo>
                <a:cubicBezTo>
                  <a:pt x="4035590" y="1316743"/>
                  <a:pt x="4064521" y="1287791"/>
                  <a:pt x="4100247" y="1287791"/>
                </a:cubicBezTo>
                <a:close/>
                <a:moveTo>
                  <a:pt x="3012132" y="1287791"/>
                </a:moveTo>
                <a:cubicBezTo>
                  <a:pt x="3047840" y="1287791"/>
                  <a:pt x="3076802" y="1316743"/>
                  <a:pt x="3076802" y="1352456"/>
                </a:cubicBezTo>
                <a:cubicBezTo>
                  <a:pt x="3076802" y="1388171"/>
                  <a:pt x="3047840" y="1417123"/>
                  <a:pt x="3012132" y="1417123"/>
                </a:cubicBezTo>
                <a:cubicBezTo>
                  <a:pt x="2976423" y="1417123"/>
                  <a:pt x="2947475" y="1388171"/>
                  <a:pt x="2947475" y="1352456"/>
                </a:cubicBezTo>
                <a:cubicBezTo>
                  <a:pt x="2947475" y="1316743"/>
                  <a:pt x="2976423" y="1287791"/>
                  <a:pt x="3012132" y="1287791"/>
                </a:cubicBezTo>
                <a:close/>
                <a:moveTo>
                  <a:pt x="2389823" y="1287791"/>
                </a:moveTo>
                <a:cubicBezTo>
                  <a:pt x="2425559" y="1287791"/>
                  <a:pt x="2454505" y="1316743"/>
                  <a:pt x="2454505" y="1352456"/>
                </a:cubicBezTo>
                <a:cubicBezTo>
                  <a:pt x="2454505" y="1388171"/>
                  <a:pt x="2425559" y="1417123"/>
                  <a:pt x="2389823" y="1417123"/>
                </a:cubicBezTo>
                <a:cubicBezTo>
                  <a:pt x="2354127" y="1417123"/>
                  <a:pt x="2325168" y="1388171"/>
                  <a:pt x="2325168" y="1352456"/>
                </a:cubicBezTo>
                <a:cubicBezTo>
                  <a:pt x="2325168" y="1316743"/>
                  <a:pt x="2354127" y="1287791"/>
                  <a:pt x="2389823" y="1287791"/>
                </a:cubicBezTo>
                <a:close/>
                <a:moveTo>
                  <a:pt x="2237146" y="1287791"/>
                </a:moveTo>
                <a:cubicBezTo>
                  <a:pt x="2272871" y="1287791"/>
                  <a:pt x="2301833" y="1316743"/>
                  <a:pt x="2301833" y="1352456"/>
                </a:cubicBezTo>
                <a:cubicBezTo>
                  <a:pt x="2301833" y="1388171"/>
                  <a:pt x="2272871" y="1417123"/>
                  <a:pt x="2237146" y="1417123"/>
                </a:cubicBezTo>
                <a:cubicBezTo>
                  <a:pt x="2201421" y="1417123"/>
                  <a:pt x="2172460" y="1388171"/>
                  <a:pt x="2172460" y="1352456"/>
                </a:cubicBezTo>
                <a:cubicBezTo>
                  <a:pt x="2172460" y="1316743"/>
                  <a:pt x="2201421" y="1287791"/>
                  <a:pt x="2237146" y="1287791"/>
                </a:cubicBezTo>
                <a:close/>
                <a:moveTo>
                  <a:pt x="2084466" y="1287791"/>
                </a:moveTo>
                <a:cubicBezTo>
                  <a:pt x="2120178" y="1287791"/>
                  <a:pt x="2149126" y="1316743"/>
                  <a:pt x="2149126" y="1352456"/>
                </a:cubicBezTo>
                <a:cubicBezTo>
                  <a:pt x="2149126" y="1388171"/>
                  <a:pt x="2120178" y="1417123"/>
                  <a:pt x="2084466" y="1417123"/>
                </a:cubicBezTo>
                <a:cubicBezTo>
                  <a:pt x="2048735" y="1417123"/>
                  <a:pt x="2019823" y="1388171"/>
                  <a:pt x="2019823" y="1352456"/>
                </a:cubicBezTo>
                <a:cubicBezTo>
                  <a:pt x="2019823" y="1316743"/>
                  <a:pt x="2048735" y="1287791"/>
                  <a:pt x="2084466" y="1287791"/>
                </a:cubicBezTo>
                <a:close/>
                <a:moveTo>
                  <a:pt x="1927872" y="1287791"/>
                </a:moveTo>
                <a:cubicBezTo>
                  <a:pt x="1963586" y="1287791"/>
                  <a:pt x="1992567" y="1316743"/>
                  <a:pt x="1992567" y="1352456"/>
                </a:cubicBezTo>
                <a:cubicBezTo>
                  <a:pt x="1992567" y="1388171"/>
                  <a:pt x="1963586" y="1417123"/>
                  <a:pt x="1927872" y="1417123"/>
                </a:cubicBezTo>
                <a:cubicBezTo>
                  <a:pt x="1892197" y="1417123"/>
                  <a:pt x="1863242" y="1388171"/>
                  <a:pt x="1863242" y="1352456"/>
                </a:cubicBezTo>
                <a:cubicBezTo>
                  <a:pt x="1863242" y="1316743"/>
                  <a:pt x="1892197" y="1287791"/>
                  <a:pt x="1927872" y="1287791"/>
                </a:cubicBezTo>
                <a:close/>
                <a:moveTo>
                  <a:pt x="1775228" y="1287791"/>
                </a:moveTo>
                <a:cubicBezTo>
                  <a:pt x="1810931" y="1287791"/>
                  <a:pt x="1839912" y="1316743"/>
                  <a:pt x="1839912" y="1352456"/>
                </a:cubicBezTo>
                <a:cubicBezTo>
                  <a:pt x="1839912" y="1388171"/>
                  <a:pt x="1810931" y="1417123"/>
                  <a:pt x="1775228" y="1417123"/>
                </a:cubicBezTo>
                <a:cubicBezTo>
                  <a:pt x="1739504" y="1417123"/>
                  <a:pt x="1710556" y="1388171"/>
                  <a:pt x="1710556" y="1352456"/>
                </a:cubicBezTo>
                <a:cubicBezTo>
                  <a:pt x="1710556" y="1316743"/>
                  <a:pt x="1739504" y="1287791"/>
                  <a:pt x="1775228" y="1287791"/>
                </a:cubicBezTo>
                <a:close/>
                <a:moveTo>
                  <a:pt x="1618644" y="1287791"/>
                </a:moveTo>
                <a:cubicBezTo>
                  <a:pt x="1654363" y="1287791"/>
                  <a:pt x="1683314" y="1316743"/>
                  <a:pt x="1683314" y="1352456"/>
                </a:cubicBezTo>
                <a:cubicBezTo>
                  <a:pt x="1683314" y="1388171"/>
                  <a:pt x="1654363" y="1417123"/>
                  <a:pt x="1618644" y="1417123"/>
                </a:cubicBezTo>
                <a:cubicBezTo>
                  <a:pt x="1582933" y="1417123"/>
                  <a:pt x="1553981" y="1388171"/>
                  <a:pt x="1553981" y="1352456"/>
                </a:cubicBezTo>
                <a:cubicBezTo>
                  <a:pt x="1553981" y="1316743"/>
                  <a:pt x="1582933" y="1287791"/>
                  <a:pt x="1618644" y="1287791"/>
                </a:cubicBezTo>
                <a:close/>
                <a:moveTo>
                  <a:pt x="1465988" y="1287791"/>
                </a:moveTo>
                <a:cubicBezTo>
                  <a:pt x="1501702" y="1287791"/>
                  <a:pt x="1530654" y="1316743"/>
                  <a:pt x="1530654" y="1352456"/>
                </a:cubicBezTo>
                <a:cubicBezTo>
                  <a:pt x="1530654" y="1388171"/>
                  <a:pt x="1501702" y="1417123"/>
                  <a:pt x="1465988" y="1417123"/>
                </a:cubicBezTo>
                <a:cubicBezTo>
                  <a:pt x="1430275" y="1417123"/>
                  <a:pt x="1401325" y="1388171"/>
                  <a:pt x="1401325" y="1352456"/>
                </a:cubicBezTo>
                <a:cubicBezTo>
                  <a:pt x="1401325" y="1316743"/>
                  <a:pt x="1430275" y="1287791"/>
                  <a:pt x="1465988" y="1287791"/>
                </a:cubicBezTo>
                <a:close/>
                <a:moveTo>
                  <a:pt x="1309415" y="1287791"/>
                </a:moveTo>
                <a:cubicBezTo>
                  <a:pt x="1345129" y="1287791"/>
                  <a:pt x="1374081" y="1316743"/>
                  <a:pt x="1374081" y="1352456"/>
                </a:cubicBezTo>
                <a:cubicBezTo>
                  <a:pt x="1374081" y="1388171"/>
                  <a:pt x="1345129" y="1417123"/>
                  <a:pt x="1309415" y="1417123"/>
                </a:cubicBezTo>
                <a:cubicBezTo>
                  <a:pt x="1273702" y="1417123"/>
                  <a:pt x="1244749" y="1388171"/>
                  <a:pt x="1244749" y="1352456"/>
                </a:cubicBezTo>
                <a:cubicBezTo>
                  <a:pt x="1244749" y="1316743"/>
                  <a:pt x="1273702" y="1287791"/>
                  <a:pt x="1309415" y="1287791"/>
                </a:cubicBezTo>
                <a:close/>
                <a:moveTo>
                  <a:pt x="1148931" y="1287791"/>
                </a:moveTo>
                <a:cubicBezTo>
                  <a:pt x="1184644" y="1287791"/>
                  <a:pt x="1213596" y="1316743"/>
                  <a:pt x="1213596" y="1352456"/>
                </a:cubicBezTo>
                <a:cubicBezTo>
                  <a:pt x="1213596" y="1388171"/>
                  <a:pt x="1184644" y="1417123"/>
                  <a:pt x="1148931" y="1417123"/>
                </a:cubicBezTo>
                <a:cubicBezTo>
                  <a:pt x="1113217" y="1417123"/>
                  <a:pt x="1084266" y="1388171"/>
                  <a:pt x="1084266" y="1352456"/>
                </a:cubicBezTo>
                <a:cubicBezTo>
                  <a:pt x="1084266" y="1316743"/>
                  <a:pt x="1113217" y="1287791"/>
                  <a:pt x="1148931" y="1287791"/>
                </a:cubicBezTo>
                <a:close/>
                <a:moveTo>
                  <a:pt x="992358" y="1287791"/>
                </a:moveTo>
                <a:cubicBezTo>
                  <a:pt x="1028072" y="1287791"/>
                  <a:pt x="1057023" y="1316743"/>
                  <a:pt x="1057023" y="1352456"/>
                </a:cubicBezTo>
                <a:cubicBezTo>
                  <a:pt x="1057023" y="1388171"/>
                  <a:pt x="1028072" y="1417123"/>
                  <a:pt x="992358" y="1417123"/>
                </a:cubicBezTo>
                <a:cubicBezTo>
                  <a:pt x="956644" y="1417123"/>
                  <a:pt x="927693" y="1388171"/>
                  <a:pt x="927693" y="1352456"/>
                </a:cubicBezTo>
                <a:cubicBezTo>
                  <a:pt x="927693" y="1316743"/>
                  <a:pt x="956644" y="1287791"/>
                  <a:pt x="992358" y="1287791"/>
                </a:cubicBezTo>
                <a:close/>
                <a:moveTo>
                  <a:pt x="839701" y="1287791"/>
                </a:moveTo>
                <a:cubicBezTo>
                  <a:pt x="875415" y="1287791"/>
                  <a:pt x="904366" y="1316743"/>
                  <a:pt x="904366" y="1352456"/>
                </a:cubicBezTo>
                <a:cubicBezTo>
                  <a:pt x="904366" y="1388171"/>
                  <a:pt x="875415" y="1417123"/>
                  <a:pt x="839701" y="1417123"/>
                </a:cubicBezTo>
                <a:cubicBezTo>
                  <a:pt x="803988" y="1417123"/>
                  <a:pt x="775036" y="1388171"/>
                  <a:pt x="775036" y="1352456"/>
                </a:cubicBezTo>
                <a:cubicBezTo>
                  <a:pt x="775036" y="1316743"/>
                  <a:pt x="803988" y="1287791"/>
                  <a:pt x="839701" y="1287791"/>
                </a:cubicBezTo>
                <a:close/>
                <a:moveTo>
                  <a:pt x="683129" y="1287791"/>
                </a:moveTo>
                <a:cubicBezTo>
                  <a:pt x="718843" y="1287791"/>
                  <a:pt x="747795" y="1316743"/>
                  <a:pt x="747795" y="1352456"/>
                </a:cubicBezTo>
                <a:cubicBezTo>
                  <a:pt x="747795" y="1388171"/>
                  <a:pt x="718843" y="1417123"/>
                  <a:pt x="683129" y="1417123"/>
                </a:cubicBezTo>
                <a:cubicBezTo>
                  <a:pt x="647416" y="1417123"/>
                  <a:pt x="618464" y="1388171"/>
                  <a:pt x="618464" y="1352456"/>
                </a:cubicBezTo>
                <a:cubicBezTo>
                  <a:pt x="618464" y="1316743"/>
                  <a:pt x="647416" y="1287791"/>
                  <a:pt x="683129" y="1287791"/>
                </a:cubicBezTo>
                <a:close/>
                <a:moveTo>
                  <a:pt x="526550" y="1287791"/>
                </a:moveTo>
                <a:cubicBezTo>
                  <a:pt x="562263" y="1287791"/>
                  <a:pt x="591215" y="1316743"/>
                  <a:pt x="591215" y="1352456"/>
                </a:cubicBezTo>
                <a:cubicBezTo>
                  <a:pt x="591215" y="1388171"/>
                  <a:pt x="562263" y="1417123"/>
                  <a:pt x="526550" y="1417123"/>
                </a:cubicBezTo>
                <a:cubicBezTo>
                  <a:pt x="490836" y="1417123"/>
                  <a:pt x="461884" y="1388171"/>
                  <a:pt x="461884" y="1352456"/>
                </a:cubicBezTo>
                <a:cubicBezTo>
                  <a:pt x="461884" y="1316743"/>
                  <a:pt x="490836" y="1287791"/>
                  <a:pt x="526550" y="1287791"/>
                </a:cubicBezTo>
                <a:close/>
                <a:moveTo>
                  <a:pt x="373894" y="1287791"/>
                </a:moveTo>
                <a:cubicBezTo>
                  <a:pt x="409607" y="1287791"/>
                  <a:pt x="438559" y="1316743"/>
                  <a:pt x="438559" y="1352456"/>
                </a:cubicBezTo>
                <a:cubicBezTo>
                  <a:pt x="438559" y="1388171"/>
                  <a:pt x="409607" y="1417123"/>
                  <a:pt x="373894" y="1417123"/>
                </a:cubicBezTo>
                <a:cubicBezTo>
                  <a:pt x="338180" y="1417123"/>
                  <a:pt x="309228" y="1388171"/>
                  <a:pt x="309228" y="1352456"/>
                </a:cubicBezTo>
                <a:cubicBezTo>
                  <a:pt x="309228" y="1316743"/>
                  <a:pt x="338180" y="1287791"/>
                  <a:pt x="373894" y="1287791"/>
                </a:cubicBezTo>
                <a:close/>
                <a:moveTo>
                  <a:pt x="217323" y="1287791"/>
                </a:moveTo>
                <a:cubicBezTo>
                  <a:pt x="253036" y="1287791"/>
                  <a:pt x="281988" y="1316743"/>
                  <a:pt x="281988" y="1352456"/>
                </a:cubicBezTo>
                <a:cubicBezTo>
                  <a:pt x="281988" y="1388171"/>
                  <a:pt x="253036" y="1417123"/>
                  <a:pt x="217323" y="1417123"/>
                </a:cubicBezTo>
                <a:cubicBezTo>
                  <a:pt x="181609" y="1417123"/>
                  <a:pt x="152658" y="1388171"/>
                  <a:pt x="152658" y="1352456"/>
                </a:cubicBezTo>
                <a:cubicBezTo>
                  <a:pt x="152658" y="1316743"/>
                  <a:pt x="181609" y="1287791"/>
                  <a:pt x="217323" y="1287791"/>
                </a:cubicBezTo>
                <a:close/>
                <a:moveTo>
                  <a:pt x="64665" y="1287791"/>
                </a:moveTo>
                <a:cubicBezTo>
                  <a:pt x="100378" y="1287791"/>
                  <a:pt x="129330" y="1316743"/>
                  <a:pt x="129330" y="1352456"/>
                </a:cubicBezTo>
                <a:cubicBezTo>
                  <a:pt x="129330" y="1388171"/>
                  <a:pt x="100378" y="1417123"/>
                  <a:pt x="64665" y="1417123"/>
                </a:cubicBezTo>
                <a:cubicBezTo>
                  <a:pt x="28951" y="1417123"/>
                  <a:pt x="0" y="1388171"/>
                  <a:pt x="0" y="1352456"/>
                </a:cubicBezTo>
                <a:cubicBezTo>
                  <a:pt x="0" y="1316743"/>
                  <a:pt x="28951" y="1287791"/>
                  <a:pt x="64665" y="1287791"/>
                </a:cubicBezTo>
                <a:close/>
                <a:moveTo>
                  <a:pt x="11251683" y="1142959"/>
                </a:moveTo>
                <a:cubicBezTo>
                  <a:pt x="11287397" y="1142959"/>
                  <a:pt x="11316349" y="1171911"/>
                  <a:pt x="11316349" y="1207625"/>
                </a:cubicBezTo>
                <a:cubicBezTo>
                  <a:pt x="11316349" y="1243340"/>
                  <a:pt x="11287397" y="1272290"/>
                  <a:pt x="11251683" y="1272290"/>
                </a:cubicBezTo>
                <a:cubicBezTo>
                  <a:pt x="11215969" y="1272290"/>
                  <a:pt x="11187017" y="1243340"/>
                  <a:pt x="11187017" y="1207625"/>
                </a:cubicBezTo>
                <a:cubicBezTo>
                  <a:pt x="11187017" y="1171911"/>
                  <a:pt x="11215969" y="1142959"/>
                  <a:pt x="11251683" y="1142959"/>
                </a:cubicBezTo>
                <a:close/>
                <a:moveTo>
                  <a:pt x="11095110" y="1142959"/>
                </a:moveTo>
                <a:cubicBezTo>
                  <a:pt x="11130824" y="1142959"/>
                  <a:pt x="11159776" y="1171911"/>
                  <a:pt x="11159776" y="1207625"/>
                </a:cubicBezTo>
                <a:cubicBezTo>
                  <a:pt x="11159776" y="1243340"/>
                  <a:pt x="11130824" y="1272290"/>
                  <a:pt x="11095110" y="1272290"/>
                </a:cubicBezTo>
                <a:cubicBezTo>
                  <a:pt x="11059396" y="1272290"/>
                  <a:pt x="11030444" y="1243340"/>
                  <a:pt x="11030444" y="1207625"/>
                </a:cubicBezTo>
                <a:cubicBezTo>
                  <a:pt x="11030444" y="1171911"/>
                  <a:pt x="11059396" y="1142959"/>
                  <a:pt x="11095110" y="1142959"/>
                </a:cubicBezTo>
                <a:close/>
                <a:moveTo>
                  <a:pt x="10938537" y="1142959"/>
                </a:moveTo>
                <a:cubicBezTo>
                  <a:pt x="10974251" y="1142959"/>
                  <a:pt x="11003203" y="1171910"/>
                  <a:pt x="11003203" y="1207623"/>
                </a:cubicBezTo>
                <a:cubicBezTo>
                  <a:pt x="11003203" y="1243338"/>
                  <a:pt x="10974251" y="1272290"/>
                  <a:pt x="10938537" y="1272290"/>
                </a:cubicBezTo>
                <a:cubicBezTo>
                  <a:pt x="10902823" y="1272290"/>
                  <a:pt x="10873871" y="1243338"/>
                  <a:pt x="10873871" y="1207623"/>
                </a:cubicBezTo>
                <a:cubicBezTo>
                  <a:pt x="10873871" y="1171910"/>
                  <a:pt x="10902823" y="1142959"/>
                  <a:pt x="10938537" y="1142959"/>
                </a:cubicBezTo>
                <a:close/>
                <a:moveTo>
                  <a:pt x="10778049" y="1142959"/>
                </a:moveTo>
                <a:cubicBezTo>
                  <a:pt x="10813763" y="1142959"/>
                  <a:pt x="10842715" y="1171910"/>
                  <a:pt x="10842715" y="1207623"/>
                </a:cubicBezTo>
                <a:cubicBezTo>
                  <a:pt x="10842715" y="1243338"/>
                  <a:pt x="10813763" y="1272290"/>
                  <a:pt x="10778049" y="1272290"/>
                </a:cubicBezTo>
                <a:cubicBezTo>
                  <a:pt x="10742335" y="1272290"/>
                  <a:pt x="10713383" y="1243338"/>
                  <a:pt x="10713383" y="1207623"/>
                </a:cubicBezTo>
                <a:cubicBezTo>
                  <a:pt x="10713383" y="1171910"/>
                  <a:pt x="10742335" y="1142959"/>
                  <a:pt x="10778049" y="1142959"/>
                </a:cubicBezTo>
                <a:close/>
                <a:moveTo>
                  <a:pt x="10625391" y="1142959"/>
                </a:moveTo>
                <a:cubicBezTo>
                  <a:pt x="10661105" y="1142959"/>
                  <a:pt x="10690057" y="1171910"/>
                  <a:pt x="10690057" y="1207623"/>
                </a:cubicBezTo>
                <a:cubicBezTo>
                  <a:pt x="10690057" y="1243338"/>
                  <a:pt x="10661105" y="1272290"/>
                  <a:pt x="10625391" y="1272290"/>
                </a:cubicBezTo>
                <a:cubicBezTo>
                  <a:pt x="10589677" y="1272290"/>
                  <a:pt x="10560725" y="1243338"/>
                  <a:pt x="10560725" y="1207623"/>
                </a:cubicBezTo>
                <a:cubicBezTo>
                  <a:pt x="10560725" y="1171910"/>
                  <a:pt x="10589677" y="1142959"/>
                  <a:pt x="10625391" y="1142959"/>
                </a:cubicBezTo>
                <a:close/>
                <a:moveTo>
                  <a:pt x="10468818" y="1142959"/>
                </a:moveTo>
                <a:cubicBezTo>
                  <a:pt x="10504532" y="1142959"/>
                  <a:pt x="10533484" y="1171911"/>
                  <a:pt x="10533484" y="1207625"/>
                </a:cubicBezTo>
                <a:cubicBezTo>
                  <a:pt x="10533484" y="1243340"/>
                  <a:pt x="10504532" y="1272290"/>
                  <a:pt x="10468818" y="1272290"/>
                </a:cubicBezTo>
                <a:cubicBezTo>
                  <a:pt x="10433104" y="1272290"/>
                  <a:pt x="10404152" y="1243340"/>
                  <a:pt x="10404152" y="1207625"/>
                </a:cubicBezTo>
                <a:cubicBezTo>
                  <a:pt x="10404152" y="1171911"/>
                  <a:pt x="10433104" y="1142959"/>
                  <a:pt x="10468818" y="1142959"/>
                </a:cubicBezTo>
                <a:close/>
                <a:moveTo>
                  <a:pt x="10312244" y="1142959"/>
                </a:moveTo>
                <a:cubicBezTo>
                  <a:pt x="10347958" y="1142959"/>
                  <a:pt x="10376910" y="1171910"/>
                  <a:pt x="10376910" y="1207623"/>
                </a:cubicBezTo>
                <a:cubicBezTo>
                  <a:pt x="10376910" y="1243338"/>
                  <a:pt x="10347958" y="1272290"/>
                  <a:pt x="10312244" y="1272290"/>
                </a:cubicBezTo>
                <a:cubicBezTo>
                  <a:pt x="10276530" y="1272290"/>
                  <a:pt x="10247578" y="1243338"/>
                  <a:pt x="10247578" y="1207623"/>
                </a:cubicBezTo>
                <a:cubicBezTo>
                  <a:pt x="10247578" y="1171910"/>
                  <a:pt x="10276530" y="1142959"/>
                  <a:pt x="10312244" y="1142959"/>
                </a:cubicBezTo>
                <a:close/>
                <a:moveTo>
                  <a:pt x="10159585" y="1142959"/>
                </a:moveTo>
                <a:cubicBezTo>
                  <a:pt x="10195299" y="1142959"/>
                  <a:pt x="10224251" y="1171910"/>
                  <a:pt x="10224251" y="1207623"/>
                </a:cubicBezTo>
                <a:cubicBezTo>
                  <a:pt x="10224251" y="1243338"/>
                  <a:pt x="10195299" y="1272290"/>
                  <a:pt x="10159585" y="1272290"/>
                </a:cubicBezTo>
                <a:cubicBezTo>
                  <a:pt x="10123871" y="1272290"/>
                  <a:pt x="10094919" y="1243338"/>
                  <a:pt x="10094919" y="1207623"/>
                </a:cubicBezTo>
                <a:cubicBezTo>
                  <a:pt x="10094919" y="1171910"/>
                  <a:pt x="10123871" y="1142959"/>
                  <a:pt x="10159585" y="1142959"/>
                </a:cubicBezTo>
                <a:close/>
                <a:moveTo>
                  <a:pt x="10003013" y="1142959"/>
                </a:moveTo>
                <a:cubicBezTo>
                  <a:pt x="10038727" y="1142959"/>
                  <a:pt x="10067679" y="1171910"/>
                  <a:pt x="10067679" y="1207623"/>
                </a:cubicBezTo>
                <a:cubicBezTo>
                  <a:pt x="10067679" y="1243338"/>
                  <a:pt x="10038727" y="1272290"/>
                  <a:pt x="10003013" y="1272290"/>
                </a:cubicBezTo>
                <a:cubicBezTo>
                  <a:pt x="9967299" y="1272290"/>
                  <a:pt x="9938347" y="1243338"/>
                  <a:pt x="9938347" y="1207623"/>
                </a:cubicBezTo>
                <a:cubicBezTo>
                  <a:pt x="9938347" y="1171910"/>
                  <a:pt x="9967299" y="1142959"/>
                  <a:pt x="10003013" y="1142959"/>
                </a:cubicBezTo>
                <a:close/>
                <a:moveTo>
                  <a:pt x="9850355" y="1142959"/>
                </a:moveTo>
                <a:cubicBezTo>
                  <a:pt x="9886069" y="1142959"/>
                  <a:pt x="9915021" y="1171911"/>
                  <a:pt x="9915021" y="1207625"/>
                </a:cubicBezTo>
                <a:cubicBezTo>
                  <a:pt x="9915021" y="1243340"/>
                  <a:pt x="9886069" y="1272290"/>
                  <a:pt x="9850355" y="1272290"/>
                </a:cubicBezTo>
                <a:cubicBezTo>
                  <a:pt x="9814641" y="1272290"/>
                  <a:pt x="9785689" y="1243340"/>
                  <a:pt x="9785689" y="1207625"/>
                </a:cubicBezTo>
                <a:cubicBezTo>
                  <a:pt x="9785689" y="1171911"/>
                  <a:pt x="9814641" y="1142959"/>
                  <a:pt x="9850355" y="1142959"/>
                </a:cubicBezTo>
                <a:close/>
                <a:moveTo>
                  <a:pt x="9693780" y="1142959"/>
                </a:moveTo>
                <a:cubicBezTo>
                  <a:pt x="9729494" y="1142959"/>
                  <a:pt x="9758446" y="1171910"/>
                  <a:pt x="9758446" y="1207623"/>
                </a:cubicBezTo>
                <a:cubicBezTo>
                  <a:pt x="9758446" y="1243338"/>
                  <a:pt x="9729494" y="1272290"/>
                  <a:pt x="9693780" y="1272290"/>
                </a:cubicBezTo>
                <a:cubicBezTo>
                  <a:pt x="9658066" y="1272290"/>
                  <a:pt x="9629114" y="1243338"/>
                  <a:pt x="9629114" y="1207623"/>
                </a:cubicBezTo>
                <a:cubicBezTo>
                  <a:pt x="9629114" y="1171910"/>
                  <a:pt x="9658066" y="1142959"/>
                  <a:pt x="9693780" y="1142959"/>
                </a:cubicBezTo>
                <a:close/>
                <a:moveTo>
                  <a:pt x="9541120" y="1142959"/>
                </a:moveTo>
                <a:cubicBezTo>
                  <a:pt x="9576834" y="1142959"/>
                  <a:pt x="9605786" y="1171910"/>
                  <a:pt x="9605786" y="1207623"/>
                </a:cubicBezTo>
                <a:cubicBezTo>
                  <a:pt x="9605786" y="1243338"/>
                  <a:pt x="9576834" y="1272290"/>
                  <a:pt x="9541120" y="1272290"/>
                </a:cubicBezTo>
                <a:cubicBezTo>
                  <a:pt x="9505406" y="1272290"/>
                  <a:pt x="9476454" y="1243338"/>
                  <a:pt x="9476454" y="1207623"/>
                </a:cubicBezTo>
                <a:cubicBezTo>
                  <a:pt x="9476454" y="1171910"/>
                  <a:pt x="9505406" y="1142959"/>
                  <a:pt x="9541120" y="1142959"/>
                </a:cubicBezTo>
                <a:close/>
                <a:moveTo>
                  <a:pt x="9384547" y="1142959"/>
                </a:moveTo>
                <a:cubicBezTo>
                  <a:pt x="9420261" y="1142959"/>
                  <a:pt x="9449213" y="1171910"/>
                  <a:pt x="9449213" y="1207623"/>
                </a:cubicBezTo>
                <a:cubicBezTo>
                  <a:pt x="9449213" y="1243338"/>
                  <a:pt x="9420261" y="1272290"/>
                  <a:pt x="9384547" y="1272290"/>
                </a:cubicBezTo>
                <a:cubicBezTo>
                  <a:pt x="9348833" y="1272290"/>
                  <a:pt x="9319881" y="1243338"/>
                  <a:pt x="9319881" y="1207623"/>
                </a:cubicBezTo>
                <a:cubicBezTo>
                  <a:pt x="9319881" y="1171910"/>
                  <a:pt x="9348833" y="1142959"/>
                  <a:pt x="9384547" y="1142959"/>
                </a:cubicBezTo>
                <a:close/>
                <a:moveTo>
                  <a:pt x="9227974" y="1142959"/>
                </a:moveTo>
                <a:cubicBezTo>
                  <a:pt x="9263688" y="1142959"/>
                  <a:pt x="9292640" y="1171911"/>
                  <a:pt x="9292640" y="1207625"/>
                </a:cubicBezTo>
                <a:cubicBezTo>
                  <a:pt x="9292640" y="1243340"/>
                  <a:pt x="9263688" y="1272290"/>
                  <a:pt x="9227974" y="1272290"/>
                </a:cubicBezTo>
                <a:cubicBezTo>
                  <a:pt x="9192260" y="1272290"/>
                  <a:pt x="9163308" y="1243340"/>
                  <a:pt x="9163308" y="1207625"/>
                </a:cubicBezTo>
                <a:cubicBezTo>
                  <a:pt x="9163308" y="1171911"/>
                  <a:pt x="9192260" y="1142959"/>
                  <a:pt x="9227974" y="1142959"/>
                </a:cubicBezTo>
                <a:close/>
                <a:moveTo>
                  <a:pt x="9075316" y="1142959"/>
                </a:moveTo>
                <a:cubicBezTo>
                  <a:pt x="9111030" y="1142959"/>
                  <a:pt x="9139982" y="1171911"/>
                  <a:pt x="9139982" y="1207625"/>
                </a:cubicBezTo>
                <a:cubicBezTo>
                  <a:pt x="9139982" y="1243340"/>
                  <a:pt x="9111030" y="1272290"/>
                  <a:pt x="9075316" y="1272290"/>
                </a:cubicBezTo>
                <a:cubicBezTo>
                  <a:pt x="9039602" y="1272290"/>
                  <a:pt x="9010650" y="1243340"/>
                  <a:pt x="9010650" y="1207625"/>
                </a:cubicBezTo>
                <a:cubicBezTo>
                  <a:pt x="9010650" y="1171911"/>
                  <a:pt x="9039602" y="1142959"/>
                  <a:pt x="9075316" y="1142959"/>
                </a:cubicBezTo>
                <a:close/>
                <a:moveTo>
                  <a:pt x="8914828" y="1142959"/>
                </a:moveTo>
                <a:cubicBezTo>
                  <a:pt x="8950542" y="1142959"/>
                  <a:pt x="8979494" y="1171910"/>
                  <a:pt x="8979494" y="1207623"/>
                </a:cubicBezTo>
                <a:cubicBezTo>
                  <a:pt x="8979494" y="1243338"/>
                  <a:pt x="8950542" y="1272290"/>
                  <a:pt x="8914828" y="1272290"/>
                </a:cubicBezTo>
                <a:cubicBezTo>
                  <a:pt x="8879114" y="1272290"/>
                  <a:pt x="8850162" y="1243338"/>
                  <a:pt x="8850162" y="1207623"/>
                </a:cubicBezTo>
                <a:cubicBezTo>
                  <a:pt x="8850162" y="1171910"/>
                  <a:pt x="8879114" y="1142959"/>
                  <a:pt x="8914828" y="1142959"/>
                </a:cubicBezTo>
                <a:close/>
                <a:moveTo>
                  <a:pt x="8766083" y="1142959"/>
                </a:moveTo>
                <a:cubicBezTo>
                  <a:pt x="8801797" y="1142959"/>
                  <a:pt x="8830749" y="1171911"/>
                  <a:pt x="8830749" y="1207625"/>
                </a:cubicBezTo>
                <a:cubicBezTo>
                  <a:pt x="8830749" y="1243340"/>
                  <a:pt x="8801797" y="1272290"/>
                  <a:pt x="8766083" y="1272290"/>
                </a:cubicBezTo>
                <a:cubicBezTo>
                  <a:pt x="8730369" y="1272290"/>
                  <a:pt x="8701417" y="1243340"/>
                  <a:pt x="8701417" y="1207625"/>
                </a:cubicBezTo>
                <a:cubicBezTo>
                  <a:pt x="8701417" y="1171911"/>
                  <a:pt x="8730369" y="1142959"/>
                  <a:pt x="8766083" y="1142959"/>
                </a:cubicBezTo>
                <a:close/>
                <a:moveTo>
                  <a:pt x="8601682" y="1142959"/>
                </a:moveTo>
                <a:cubicBezTo>
                  <a:pt x="8637396" y="1142959"/>
                  <a:pt x="8666348" y="1171911"/>
                  <a:pt x="8666348" y="1207625"/>
                </a:cubicBezTo>
                <a:cubicBezTo>
                  <a:pt x="8666348" y="1243340"/>
                  <a:pt x="8637396" y="1272290"/>
                  <a:pt x="8601682" y="1272290"/>
                </a:cubicBezTo>
                <a:cubicBezTo>
                  <a:pt x="8565968" y="1272290"/>
                  <a:pt x="8537016" y="1243340"/>
                  <a:pt x="8537016" y="1207625"/>
                </a:cubicBezTo>
                <a:cubicBezTo>
                  <a:pt x="8537016" y="1171911"/>
                  <a:pt x="8565968" y="1142959"/>
                  <a:pt x="8601682" y="1142959"/>
                </a:cubicBezTo>
                <a:close/>
                <a:moveTo>
                  <a:pt x="8449022" y="1142959"/>
                </a:moveTo>
                <a:cubicBezTo>
                  <a:pt x="8484736" y="1142959"/>
                  <a:pt x="8513688" y="1171911"/>
                  <a:pt x="8513688" y="1207625"/>
                </a:cubicBezTo>
                <a:cubicBezTo>
                  <a:pt x="8513688" y="1243340"/>
                  <a:pt x="8484736" y="1272290"/>
                  <a:pt x="8449022" y="1272290"/>
                </a:cubicBezTo>
                <a:cubicBezTo>
                  <a:pt x="8413308" y="1272290"/>
                  <a:pt x="8384356" y="1243340"/>
                  <a:pt x="8384356" y="1207625"/>
                </a:cubicBezTo>
                <a:cubicBezTo>
                  <a:pt x="8384356" y="1171911"/>
                  <a:pt x="8413308" y="1142959"/>
                  <a:pt x="8449022" y="1142959"/>
                </a:cubicBezTo>
                <a:close/>
                <a:moveTo>
                  <a:pt x="8296365" y="1142959"/>
                </a:moveTo>
                <a:cubicBezTo>
                  <a:pt x="8332079" y="1142959"/>
                  <a:pt x="8361031" y="1171910"/>
                  <a:pt x="8361031" y="1207623"/>
                </a:cubicBezTo>
                <a:cubicBezTo>
                  <a:pt x="8361031" y="1243338"/>
                  <a:pt x="8332079" y="1272290"/>
                  <a:pt x="8296365" y="1272290"/>
                </a:cubicBezTo>
                <a:cubicBezTo>
                  <a:pt x="8260651" y="1272290"/>
                  <a:pt x="8231699" y="1243338"/>
                  <a:pt x="8231699" y="1207623"/>
                </a:cubicBezTo>
                <a:cubicBezTo>
                  <a:pt x="8231699" y="1171910"/>
                  <a:pt x="8260651" y="1142959"/>
                  <a:pt x="8296365" y="1142959"/>
                </a:cubicBezTo>
                <a:close/>
                <a:moveTo>
                  <a:pt x="8139790" y="1142959"/>
                </a:moveTo>
                <a:cubicBezTo>
                  <a:pt x="8175504" y="1142959"/>
                  <a:pt x="8204456" y="1171911"/>
                  <a:pt x="8204456" y="1207625"/>
                </a:cubicBezTo>
                <a:cubicBezTo>
                  <a:pt x="8204456" y="1243340"/>
                  <a:pt x="8175504" y="1272290"/>
                  <a:pt x="8139790" y="1272290"/>
                </a:cubicBezTo>
                <a:cubicBezTo>
                  <a:pt x="8104076" y="1272290"/>
                  <a:pt x="8075124" y="1243340"/>
                  <a:pt x="8075124" y="1207625"/>
                </a:cubicBezTo>
                <a:cubicBezTo>
                  <a:pt x="8075124" y="1171911"/>
                  <a:pt x="8104076" y="1142959"/>
                  <a:pt x="8139790" y="1142959"/>
                </a:cubicBezTo>
                <a:close/>
                <a:moveTo>
                  <a:pt x="7987132" y="1142959"/>
                </a:moveTo>
                <a:cubicBezTo>
                  <a:pt x="8022846" y="1142959"/>
                  <a:pt x="8051798" y="1171911"/>
                  <a:pt x="8051798" y="1207625"/>
                </a:cubicBezTo>
                <a:cubicBezTo>
                  <a:pt x="8051798" y="1243340"/>
                  <a:pt x="8022846" y="1272290"/>
                  <a:pt x="7987132" y="1272290"/>
                </a:cubicBezTo>
                <a:cubicBezTo>
                  <a:pt x="7951418" y="1272290"/>
                  <a:pt x="7922466" y="1243340"/>
                  <a:pt x="7922466" y="1207625"/>
                </a:cubicBezTo>
                <a:cubicBezTo>
                  <a:pt x="7922466" y="1171911"/>
                  <a:pt x="7951418" y="1142959"/>
                  <a:pt x="7987132" y="1142959"/>
                </a:cubicBezTo>
                <a:close/>
                <a:moveTo>
                  <a:pt x="7830560" y="1142959"/>
                </a:moveTo>
                <a:cubicBezTo>
                  <a:pt x="7866274" y="1142959"/>
                  <a:pt x="7895226" y="1171911"/>
                  <a:pt x="7895226" y="1207625"/>
                </a:cubicBezTo>
                <a:cubicBezTo>
                  <a:pt x="7895226" y="1243340"/>
                  <a:pt x="7866274" y="1272290"/>
                  <a:pt x="7830560" y="1272290"/>
                </a:cubicBezTo>
                <a:cubicBezTo>
                  <a:pt x="7794846" y="1272290"/>
                  <a:pt x="7765894" y="1243340"/>
                  <a:pt x="7765894" y="1207625"/>
                </a:cubicBezTo>
                <a:cubicBezTo>
                  <a:pt x="7765894" y="1171911"/>
                  <a:pt x="7794846" y="1142959"/>
                  <a:pt x="7830560" y="1142959"/>
                </a:cubicBezTo>
                <a:close/>
                <a:moveTo>
                  <a:pt x="7677900" y="1142959"/>
                </a:moveTo>
                <a:cubicBezTo>
                  <a:pt x="7713614" y="1142959"/>
                  <a:pt x="7742566" y="1171910"/>
                  <a:pt x="7742566" y="1207623"/>
                </a:cubicBezTo>
                <a:cubicBezTo>
                  <a:pt x="7742566" y="1243338"/>
                  <a:pt x="7713614" y="1272290"/>
                  <a:pt x="7677900" y="1272290"/>
                </a:cubicBezTo>
                <a:cubicBezTo>
                  <a:pt x="7642186" y="1272290"/>
                  <a:pt x="7613234" y="1243338"/>
                  <a:pt x="7613234" y="1207623"/>
                </a:cubicBezTo>
                <a:cubicBezTo>
                  <a:pt x="7613234" y="1171910"/>
                  <a:pt x="7642186" y="1142959"/>
                  <a:pt x="7677900" y="1142959"/>
                </a:cubicBezTo>
                <a:close/>
                <a:moveTo>
                  <a:pt x="7521327" y="1142959"/>
                </a:moveTo>
                <a:cubicBezTo>
                  <a:pt x="7557041" y="1142959"/>
                  <a:pt x="7585993" y="1171910"/>
                  <a:pt x="7585993" y="1207623"/>
                </a:cubicBezTo>
                <a:cubicBezTo>
                  <a:pt x="7585993" y="1243338"/>
                  <a:pt x="7557041" y="1272290"/>
                  <a:pt x="7521327" y="1272290"/>
                </a:cubicBezTo>
                <a:cubicBezTo>
                  <a:pt x="7485613" y="1272290"/>
                  <a:pt x="7456661" y="1243338"/>
                  <a:pt x="7456661" y="1207623"/>
                </a:cubicBezTo>
                <a:cubicBezTo>
                  <a:pt x="7456661" y="1171910"/>
                  <a:pt x="7485613" y="1142959"/>
                  <a:pt x="7521327" y="1142959"/>
                </a:cubicBezTo>
                <a:close/>
                <a:moveTo>
                  <a:pt x="7368667" y="1142959"/>
                </a:moveTo>
                <a:cubicBezTo>
                  <a:pt x="7404381" y="1142959"/>
                  <a:pt x="7433333" y="1171911"/>
                  <a:pt x="7433333" y="1207625"/>
                </a:cubicBezTo>
                <a:cubicBezTo>
                  <a:pt x="7433333" y="1243340"/>
                  <a:pt x="7404381" y="1272290"/>
                  <a:pt x="7368667" y="1272290"/>
                </a:cubicBezTo>
                <a:cubicBezTo>
                  <a:pt x="7332953" y="1272290"/>
                  <a:pt x="7304001" y="1243340"/>
                  <a:pt x="7304001" y="1207625"/>
                </a:cubicBezTo>
                <a:cubicBezTo>
                  <a:pt x="7304001" y="1171911"/>
                  <a:pt x="7332953" y="1142959"/>
                  <a:pt x="7368667" y="1142959"/>
                </a:cubicBezTo>
                <a:close/>
                <a:moveTo>
                  <a:pt x="7212094" y="1142959"/>
                </a:moveTo>
                <a:cubicBezTo>
                  <a:pt x="7247808" y="1142959"/>
                  <a:pt x="7276760" y="1171910"/>
                  <a:pt x="7276760" y="1207623"/>
                </a:cubicBezTo>
                <a:cubicBezTo>
                  <a:pt x="7276760" y="1243338"/>
                  <a:pt x="7247808" y="1272290"/>
                  <a:pt x="7212094" y="1272290"/>
                </a:cubicBezTo>
                <a:cubicBezTo>
                  <a:pt x="7176380" y="1272290"/>
                  <a:pt x="7147428" y="1243338"/>
                  <a:pt x="7147428" y="1207623"/>
                </a:cubicBezTo>
                <a:cubicBezTo>
                  <a:pt x="7147428" y="1171910"/>
                  <a:pt x="7176380" y="1142959"/>
                  <a:pt x="7212094" y="1142959"/>
                </a:cubicBezTo>
                <a:close/>
                <a:moveTo>
                  <a:pt x="7055520" y="1142959"/>
                </a:moveTo>
                <a:cubicBezTo>
                  <a:pt x="7091234" y="1142959"/>
                  <a:pt x="7120186" y="1171910"/>
                  <a:pt x="7120186" y="1207623"/>
                </a:cubicBezTo>
                <a:cubicBezTo>
                  <a:pt x="7120186" y="1243338"/>
                  <a:pt x="7091234" y="1272290"/>
                  <a:pt x="7055520" y="1272290"/>
                </a:cubicBezTo>
                <a:cubicBezTo>
                  <a:pt x="7019806" y="1272290"/>
                  <a:pt x="6990854" y="1243338"/>
                  <a:pt x="6990854" y="1207623"/>
                </a:cubicBezTo>
                <a:cubicBezTo>
                  <a:pt x="6990854" y="1171910"/>
                  <a:pt x="7019806" y="1142959"/>
                  <a:pt x="7055520" y="1142959"/>
                </a:cubicBezTo>
                <a:close/>
                <a:moveTo>
                  <a:pt x="6895035" y="1142959"/>
                </a:moveTo>
                <a:cubicBezTo>
                  <a:pt x="6930749" y="1142959"/>
                  <a:pt x="6959701" y="1171910"/>
                  <a:pt x="6959701" y="1207623"/>
                </a:cubicBezTo>
                <a:cubicBezTo>
                  <a:pt x="6959701" y="1243338"/>
                  <a:pt x="6930749" y="1272290"/>
                  <a:pt x="6895035" y="1272290"/>
                </a:cubicBezTo>
                <a:cubicBezTo>
                  <a:pt x="6859321" y="1272290"/>
                  <a:pt x="6830369" y="1243338"/>
                  <a:pt x="6830369" y="1207623"/>
                </a:cubicBezTo>
                <a:cubicBezTo>
                  <a:pt x="6830369" y="1171910"/>
                  <a:pt x="6859321" y="1142959"/>
                  <a:pt x="6895035" y="1142959"/>
                </a:cubicBezTo>
                <a:close/>
                <a:moveTo>
                  <a:pt x="6742374" y="1142959"/>
                </a:moveTo>
                <a:cubicBezTo>
                  <a:pt x="6778088" y="1142959"/>
                  <a:pt x="6807040" y="1171911"/>
                  <a:pt x="6807040" y="1207625"/>
                </a:cubicBezTo>
                <a:cubicBezTo>
                  <a:pt x="6807040" y="1243340"/>
                  <a:pt x="6778088" y="1272290"/>
                  <a:pt x="6742374" y="1272290"/>
                </a:cubicBezTo>
                <a:cubicBezTo>
                  <a:pt x="6706660" y="1272290"/>
                  <a:pt x="6677708" y="1243340"/>
                  <a:pt x="6677708" y="1207625"/>
                </a:cubicBezTo>
                <a:cubicBezTo>
                  <a:pt x="6677708" y="1171911"/>
                  <a:pt x="6706660" y="1142959"/>
                  <a:pt x="6742374" y="1142959"/>
                </a:cubicBezTo>
                <a:close/>
                <a:moveTo>
                  <a:pt x="6585801" y="1142959"/>
                </a:moveTo>
                <a:cubicBezTo>
                  <a:pt x="6621515" y="1142959"/>
                  <a:pt x="6650467" y="1171910"/>
                  <a:pt x="6650467" y="1207623"/>
                </a:cubicBezTo>
                <a:cubicBezTo>
                  <a:pt x="6650467" y="1243338"/>
                  <a:pt x="6621515" y="1272290"/>
                  <a:pt x="6585801" y="1272290"/>
                </a:cubicBezTo>
                <a:cubicBezTo>
                  <a:pt x="6550087" y="1272290"/>
                  <a:pt x="6521135" y="1243338"/>
                  <a:pt x="6521135" y="1207623"/>
                </a:cubicBezTo>
                <a:cubicBezTo>
                  <a:pt x="6521135" y="1171910"/>
                  <a:pt x="6550087" y="1142959"/>
                  <a:pt x="6585801" y="1142959"/>
                </a:cubicBezTo>
                <a:close/>
                <a:moveTo>
                  <a:pt x="6429228" y="1142959"/>
                </a:moveTo>
                <a:cubicBezTo>
                  <a:pt x="6464942" y="1142959"/>
                  <a:pt x="6493894" y="1171911"/>
                  <a:pt x="6493894" y="1207625"/>
                </a:cubicBezTo>
                <a:cubicBezTo>
                  <a:pt x="6493894" y="1243340"/>
                  <a:pt x="6464942" y="1272290"/>
                  <a:pt x="6429228" y="1272290"/>
                </a:cubicBezTo>
                <a:cubicBezTo>
                  <a:pt x="6393514" y="1272290"/>
                  <a:pt x="6364562" y="1243340"/>
                  <a:pt x="6364562" y="1207625"/>
                </a:cubicBezTo>
                <a:cubicBezTo>
                  <a:pt x="6364562" y="1171911"/>
                  <a:pt x="6393514" y="1142959"/>
                  <a:pt x="6429228" y="1142959"/>
                </a:cubicBezTo>
                <a:close/>
                <a:moveTo>
                  <a:pt x="6276569" y="1142959"/>
                </a:moveTo>
                <a:cubicBezTo>
                  <a:pt x="6312283" y="1142959"/>
                  <a:pt x="6341235" y="1171911"/>
                  <a:pt x="6341235" y="1207625"/>
                </a:cubicBezTo>
                <a:cubicBezTo>
                  <a:pt x="6341235" y="1243340"/>
                  <a:pt x="6312283" y="1272290"/>
                  <a:pt x="6276569" y="1272290"/>
                </a:cubicBezTo>
                <a:cubicBezTo>
                  <a:pt x="6240855" y="1272290"/>
                  <a:pt x="6211903" y="1243340"/>
                  <a:pt x="6211903" y="1207625"/>
                </a:cubicBezTo>
                <a:cubicBezTo>
                  <a:pt x="6211903" y="1171911"/>
                  <a:pt x="6240855" y="1142959"/>
                  <a:pt x="6276569" y="1142959"/>
                </a:cubicBezTo>
                <a:close/>
                <a:moveTo>
                  <a:pt x="6119998" y="1142959"/>
                </a:moveTo>
                <a:cubicBezTo>
                  <a:pt x="6155712" y="1142959"/>
                  <a:pt x="6184664" y="1171910"/>
                  <a:pt x="6184664" y="1207623"/>
                </a:cubicBezTo>
                <a:cubicBezTo>
                  <a:pt x="6184664" y="1243338"/>
                  <a:pt x="6155712" y="1272290"/>
                  <a:pt x="6119998" y="1272290"/>
                </a:cubicBezTo>
                <a:cubicBezTo>
                  <a:pt x="6084284" y="1272290"/>
                  <a:pt x="6055332" y="1243338"/>
                  <a:pt x="6055332" y="1207623"/>
                </a:cubicBezTo>
                <a:cubicBezTo>
                  <a:pt x="6055332" y="1171910"/>
                  <a:pt x="6084284" y="1142959"/>
                  <a:pt x="6119998" y="1142959"/>
                </a:cubicBezTo>
                <a:close/>
                <a:moveTo>
                  <a:pt x="5967336" y="1142959"/>
                </a:moveTo>
                <a:cubicBezTo>
                  <a:pt x="6003050" y="1142959"/>
                  <a:pt x="6032002" y="1171911"/>
                  <a:pt x="6032002" y="1207625"/>
                </a:cubicBezTo>
                <a:cubicBezTo>
                  <a:pt x="6032002" y="1243340"/>
                  <a:pt x="6003050" y="1272290"/>
                  <a:pt x="5967336" y="1272290"/>
                </a:cubicBezTo>
                <a:cubicBezTo>
                  <a:pt x="5931622" y="1272290"/>
                  <a:pt x="5902670" y="1243340"/>
                  <a:pt x="5902670" y="1207625"/>
                </a:cubicBezTo>
                <a:cubicBezTo>
                  <a:pt x="5902670" y="1171911"/>
                  <a:pt x="5931622" y="1142959"/>
                  <a:pt x="5967336" y="1142959"/>
                </a:cubicBezTo>
                <a:close/>
                <a:moveTo>
                  <a:pt x="5810807" y="1142959"/>
                </a:moveTo>
                <a:cubicBezTo>
                  <a:pt x="5846478" y="1142959"/>
                  <a:pt x="5875431" y="1171911"/>
                  <a:pt x="5875431" y="1207625"/>
                </a:cubicBezTo>
                <a:cubicBezTo>
                  <a:pt x="5875431" y="1243340"/>
                  <a:pt x="5846478" y="1272290"/>
                  <a:pt x="5810807" y="1272290"/>
                </a:cubicBezTo>
                <a:cubicBezTo>
                  <a:pt x="5775081" y="1272290"/>
                  <a:pt x="5746117" y="1243340"/>
                  <a:pt x="5746117" y="1207625"/>
                </a:cubicBezTo>
                <a:cubicBezTo>
                  <a:pt x="5746117" y="1171911"/>
                  <a:pt x="5775081" y="1142959"/>
                  <a:pt x="5810807" y="1142959"/>
                </a:cubicBezTo>
                <a:close/>
                <a:moveTo>
                  <a:pt x="5031849" y="1142959"/>
                </a:moveTo>
                <a:cubicBezTo>
                  <a:pt x="5067551" y="1142959"/>
                  <a:pt x="5096509" y="1171910"/>
                  <a:pt x="5096509" y="1207623"/>
                </a:cubicBezTo>
                <a:cubicBezTo>
                  <a:pt x="5096509" y="1243338"/>
                  <a:pt x="5067551" y="1272290"/>
                  <a:pt x="5031849" y="1272290"/>
                </a:cubicBezTo>
                <a:cubicBezTo>
                  <a:pt x="4996113" y="1272290"/>
                  <a:pt x="4967172" y="1243338"/>
                  <a:pt x="4967172" y="1207623"/>
                </a:cubicBezTo>
                <a:cubicBezTo>
                  <a:pt x="4967172" y="1171910"/>
                  <a:pt x="4996113" y="1142959"/>
                  <a:pt x="5031849" y="1142959"/>
                </a:cubicBezTo>
                <a:close/>
                <a:moveTo>
                  <a:pt x="4875262" y="1142959"/>
                </a:moveTo>
                <a:cubicBezTo>
                  <a:pt x="4910981" y="1142959"/>
                  <a:pt x="4939938" y="1171911"/>
                  <a:pt x="4939938" y="1207625"/>
                </a:cubicBezTo>
                <a:cubicBezTo>
                  <a:pt x="4939938" y="1243340"/>
                  <a:pt x="4910981" y="1272290"/>
                  <a:pt x="4875262" y="1272290"/>
                </a:cubicBezTo>
                <a:cubicBezTo>
                  <a:pt x="4839541" y="1272290"/>
                  <a:pt x="4810599" y="1243340"/>
                  <a:pt x="4810599" y="1207625"/>
                </a:cubicBezTo>
                <a:cubicBezTo>
                  <a:pt x="4810599" y="1171911"/>
                  <a:pt x="4839541" y="1142959"/>
                  <a:pt x="4875262" y="1142959"/>
                </a:cubicBezTo>
                <a:close/>
                <a:moveTo>
                  <a:pt x="4722604" y="1142959"/>
                </a:moveTo>
                <a:cubicBezTo>
                  <a:pt x="4758338" y="1142959"/>
                  <a:pt x="4787268" y="1171911"/>
                  <a:pt x="4787268" y="1207625"/>
                </a:cubicBezTo>
                <a:cubicBezTo>
                  <a:pt x="4787268" y="1243340"/>
                  <a:pt x="4758338" y="1272290"/>
                  <a:pt x="4722604" y="1272290"/>
                </a:cubicBezTo>
                <a:cubicBezTo>
                  <a:pt x="4686897" y="1272290"/>
                  <a:pt x="4657945" y="1243340"/>
                  <a:pt x="4657945" y="1207625"/>
                </a:cubicBezTo>
                <a:cubicBezTo>
                  <a:pt x="4657945" y="1171911"/>
                  <a:pt x="4686897" y="1142959"/>
                  <a:pt x="4722604" y="1142959"/>
                </a:cubicBezTo>
                <a:close/>
                <a:moveTo>
                  <a:pt x="4100249" y="1142959"/>
                </a:moveTo>
                <a:cubicBezTo>
                  <a:pt x="4135947" y="1142959"/>
                  <a:pt x="4164920" y="1171910"/>
                  <a:pt x="4164920" y="1207623"/>
                </a:cubicBezTo>
                <a:cubicBezTo>
                  <a:pt x="4164920" y="1243338"/>
                  <a:pt x="4135947" y="1272290"/>
                  <a:pt x="4100249" y="1272290"/>
                </a:cubicBezTo>
                <a:cubicBezTo>
                  <a:pt x="4064526" y="1272290"/>
                  <a:pt x="4035594" y="1243338"/>
                  <a:pt x="4035594" y="1207623"/>
                </a:cubicBezTo>
                <a:cubicBezTo>
                  <a:pt x="4035594" y="1171910"/>
                  <a:pt x="4064526" y="1142959"/>
                  <a:pt x="4100249" y="1142959"/>
                </a:cubicBezTo>
                <a:close/>
                <a:moveTo>
                  <a:pt x="3947573" y="1142959"/>
                </a:moveTo>
                <a:cubicBezTo>
                  <a:pt x="3983297" y="1142959"/>
                  <a:pt x="4012257" y="1171911"/>
                  <a:pt x="4012257" y="1207625"/>
                </a:cubicBezTo>
                <a:cubicBezTo>
                  <a:pt x="4012257" y="1243340"/>
                  <a:pt x="3983297" y="1272290"/>
                  <a:pt x="3947573" y="1272290"/>
                </a:cubicBezTo>
                <a:cubicBezTo>
                  <a:pt x="3911977" y="1272290"/>
                  <a:pt x="3883028" y="1243340"/>
                  <a:pt x="3883028" y="1207625"/>
                </a:cubicBezTo>
                <a:cubicBezTo>
                  <a:pt x="3883028" y="1171911"/>
                  <a:pt x="3911977" y="1142959"/>
                  <a:pt x="3947573" y="1142959"/>
                </a:cubicBezTo>
                <a:close/>
                <a:moveTo>
                  <a:pt x="3321416" y="1142959"/>
                </a:moveTo>
                <a:cubicBezTo>
                  <a:pt x="3357123" y="1142959"/>
                  <a:pt x="3386056" y="1171910"/>
                  <a:pt x="3386056" y="1207623"/>
                </a:cubicBezTo>
                <a:cubicBezTo>
                  <a:pt x="3386056" y="1243338"/>
                  <a:pt x="3357123" y="1272290"/>
                  <a:pt x="3321416" y="1272290"/>
                </a:cubicBezTo>
                <a:cubicBezTo>
                  <a:pt x="3285691" y="1272290"/>
                  <a:pt x="3256751" y="1243338"/>
                  <a:pt x="3256751" y="1207623"/>
                </a:cubicBezTo>
                <a:cubicBezTo>
                  <a:pt x="3256751" y="1171910"/>
                  <a:pt x="3285691" y="1142959"/>
                  <a:pt x="3321416" y="1142959"/>
                </a:cubicBezTo>
                <a:close/>
                <a:moveTo>
                  <a:pt x="3172663" y="1142959"/>
                </a:moveTo>
                <a:cubicBezTo>
                  <a:pt x="3208387" y="1142959"/>
                  <a:pt x="3237336" y="1171911"/>
                  <a:pt x="3237336" y="1207625"/>
                </a:cubicBezTo>
                <a:cubicBezTo>
                  <a:pt x="3237336" y="1243340"/>
                  <a:pt x="3208387" y="1272290"/>
                  <a:pt x="3172663" y="1272290"/>
                </a:cubicBezTo>
                <a:cubicBezTo>
                  <a:pt x="3136936" y="1272290"/>
                  <a:pt x="3107975" y="1243340"/>
                  <a:pt x="3107975" y="1207625"/>
                </a:cubicBezTo>
                <a:cubicBezTo>
                  <a:pt x="3107975" y="1171911"/>
                  <a:pt x="3136936" y="1142959"/>
                  <a:pt x="3172663" y="1142959"/>
                </a:cubicBezTo>
                <a:close/>
                <a:moveTo>
                  <a:pt x="2699047" y="1142959"/>
                </a:moveTo>
                <a:cubicBezTo>
                  <a:pt x="2734754" y="1142959"/>
                  <a:pt x="2763701" y="1171910"/>
                  <a:pt x="2763701" y="1207623"/>
                </a:cubicBezTo>
                <a:cubicBezTo>
                  <a:pt x="2763701" y="1243338"/>
                  <a:pt x="2734754" y="1272290"/>
                  <a:pt x="2699047" y="1272290"/>
                </a:cubicBezTo>
                <a:cubicBezTo>
                  <a:pt x="2663339" y="1272290"/>
                  <a:pt x="2634393" y="1243338"/>
                  <a:pt x="2634393" y="1207623"/>
                </a:cubicBezTo>
                <a:cubicBezTo>
                  <a:pt x="2634393" y="1171910"/>
                  <a:pt x="2663339" y="1142959"/>
                  <a:pt x="2699047" y="1142959"/>
                </a:cubicBezTo>
                <a:close/>
                <a:moveTo>
                  <a:pt x="2546410" y="1142959"/>
                </a:moveTo>
                <a:cubicBezTo>
                  <a:pt x="2582122" y="1142959"/>
                  <a:pt x="2611069" y="1171911"/>
                  <a:pt x="2611069" y="1207625"/>
                </a:cubicBezTo>
                <a:cubicBezTo>
                  <a:pt x="2611069" y="1243340"/>
                  <a:pt x="2582122" y="1272290"/>
                  <a:pt x="2546410" y="1272290"/>
                </a:cubicBezTo>
                <a:cubicBezTo>
                  <a:pt x="2510687" y="1272290"/>
                  <a:pt x="2481752" y="1243340"/>
                  <a:pt x="2481752" y="1207625"/>
                </a:cubicBezTo>
                <a:cubicBezTo>
                  <a:pt x="2481752" y="1171911"/>
                  <a:pt x="2510687" y="1142959"/>
                  <a:pt x="2546410" y="1142959"/>
                </a:cubicBezTo>
                <a:close/>
                <a:moveTo>
                  <a:pt x="2389823" y="1142959"/>
                </a:moveTo>
                <a:cubicBezTo>
                  <a:pt x="2425571" y="1142959"/>
                  <a:pt x="2454516" y="1171910"/>
                  <a:pt x="2454516" y="1207623"/>
                </a:cubicBezTo>
                <a:cubicBezTo>
                  <a:pt x="2454516" y="1243338"/>
                  <a:pt x="2425571" y="1272290"/>
                  <a:pt x="2389823" y="1272290"/>
                </a:cubicBezTo>
                <a:cubicBezTo>
                  <a:pt x="2354139" y="1272290"/>
                  <a:pt x="2325179" y="1243338"/>
                  <a:pt x="2325179" y="1207623"/>
                </a:cubicBezTo>
                <a:cubicBezTo>
                  <a:pt x="2325179" y="1171910"/>
                  <a:pt x="2354139" y="1142959"/>
                  <a:pt x="2389823" y="1142959"/>
                </a:cubicBezTo>
                <a:close/>
                <a:moveTo>
                  <a:pt x="2237158" y="1142959"/>
                </a:moveTo>
                <a:cubicBezTo>
                  <a:pt x="2272883" y="1142959"/>
                  <a:pt x="2301845" y="1171910"/>
                  <a:pt x="2301845" y="1207623"/>
                </a:cubicBezTo>
                <a:cubicBezTo>
                  <a:pt x="2301845" y="1243338"/>
                  <a:pt x="2272883" y="1272290"/>
                  <a:pt x="2237158" y="1272290"/>
                </a:cubicBezTo>
                <a:cubicBezTo>
                  <a:pt x="2201433" y="1272290"/>
                  <a:pt x="2172473" y="1243338"/>
                  <a:pt x="2172473" y="1207623"/>
                </a:cubicBezTo>
                <a:cubicBezTo>
                  <a:pt x="2172473" y="1171910"/>
                  <a:pt x="2201433" y="1142959"/>
                  <a:pt x="2237158" y="1142959"/>
                </a:cubicBezTo>
                <a:close/>
                <a:moveTo>
                  <a:pt x="2084472" y="1142959"/>
                </a:moveTo>
                <a:cubicBezTo>
                  <a:pt x="2120189" y="1142959"/>
                  <a:pt x="2149139" y="1171910"/>
                  <a:pt x="2149139" y="1207623"/>
                </a:cubicBezTo>
                <a:cubicBezTo>
                  <a:pt x="2149139" y="1243338"/>
                  <a:pt x="2120189" y="1272290"/>
                  <a:pt x="2084472" y="1272290"/>
                </a:cubicBezTo>
                <a:cubicBezTo>
                  <a:pt x="2048742" y="1272290"/>
                  <a:pt x="2019837" y="1243338"/>
                  <a:pt x="2019837" y="1207623"/>
                </a:cubicBezTo>
                <a:cubicBezTo>
                  <a:pt x="2019837" y="1171910"/>
                  <a:pt x="2048742" y="1142959"/>
                  <a:pt x="2084472" y="1142959"/>
                </a:cubicBezTo>
                <a:close/>
                <a:moveTo>
                  <a:pt x="1927885" y="1142959"/>
                </a:moveTo>
                <a:cubicBezTo>
                  <a:pt x="1963608" y="1142959"/>
                  <a:pt x="1992577" y="1171910"/>
                  <a:pt x="1992577" y="1207623"/>
                </a:cubicBezTo>
                <a:cubicBezTo>
                  <a:pt x="1992577" y="1243338"/>
                  <a:pt x="1963608" y="1272290"/>
                  <a:pt x="1927885" y="1272290"/>
                </a:cubicBezTo>
                <a:cubicBezTo>
                  <a:pt x="1892208" y="1272290"/>
                  <a:pt x="1863252" y="1243338"/>
                  <a:pt x="1863252" y="1207623"/>
                </a:cubicBezTo>
                <a:cubicBezTo>
                  <a:pt x="1863252" y="1171910"/>
                  <a:pt x="1892208" y="1142959"/>
                  <a:pt x="1927885" y="1142959"/>
                </a:cubicBezTo>
                <a:close/>
                <a:moveTo>
                  <a:pt x="1775237" y="1142959"/>
                </a:moveTo>
                <a:cubicBezTo>
                  <a:pt x="1810940" y="1142959"/>
                  <a:pt x="1839926" y="1171910"/>
                  <a:pt x="1839926" y="1207623"/>
                </a:cubicBezTo>
                <a:cubicBezTo>
                  <a:pt x="1839926" y="1243338"/>
                  <a:pt x="1810940" y="1272290"/>
                  <a:pt x="1775237" y="1272290"/>
                </a:cubicBezTo>
                <a:cubicBezTo>
                  <a:pt x="1739514" y="1272290"/>
                  <a:pt x="1710566" y="1243338"/>
                  <a:pt x="1710566" y="1207623"/>
                </a:cubicBezTo>
                <a:cubicBezTo>
                  <a:pt x="1710566" y="1171910"/>
                  <a:pt x="1739514" y="1142959"/>
                  <a:pt x="1775237" y="1142959"/>
                </a:cubicBezTo>
                <a:close/>
                <a:moveTo>
                  <a:pt x="1618652" y="1142959"/>
                </a:moveTo>
                <a:cubicBezTo>
                  <a:pt x="1654374" y="1142959"/>
                  <a:pt x="1683323" y="1171910"/>
                  <a:pt x="1683323" y="1207623"/>
                </a:cubicBezTo>
                <a:cubicBezTo>
                  <a:pt x="1683323" y="1243338"/>
                  <a:pt x="1654374" y="1272290"/>
                  <a:pt x="1618652" y="1272290"/>
                </a:cubicBezTo>
                <a:cubicBezTo>
                  <a:pt x="1582943" y="1272290"/>
                  <a:pt x="1553991" y="1243338"/>
                  <a:pt x="1553991" y="1207623"/>
                </a:cubicBezTo>
                <a:cubicBezTo>
                  <a:pt x="1553991" y="1171910"/>
                  <a:pt x="1582943" y="1142959"/>
                  <a:pt x="1618652" y="1142959"/>
                </a:cubicBezTo>
                <a:close/>
                <a:moveTo>
                  <a:pt x="1465997" y="1142959"/>
                </a:moveTo>
                <a:cubicBezTo>
                  <a:pt x="1501712" y="1142959"/>
                  <a:pt x="1530664" y="1171911"/>
                  <a:pt x="1530664" y="1207625"/>
                </a:cubicBezTo>
                <a:cubicBezTo>
                  <a:pt x="1530664" y="1243340"/>
                  <a:pt x="1501712" y="1272290"/>
                  <a:pt x="1465997" y="1272290"/>
                </a:cubicBezTo>
                <a:cubicBezTo>
                  <a:pt x="1430284" y="1272290"/>
                  <a:pt x="1401335" y="1243340"/>
                  <a:pt x="1401335" y="1207625"/>
                </a:cubicBezTo>
                <a:cubicBezTo>
                  <a:pt x="1401335" y="1171911"/>
                  <a:pt x="1430284" y="1142959"/>
                  <a:pt x="1465997" y="1142959"/>
                </a:cubicBezTo>
                <a:close/>
                <a:moveTo>
                  <a:pt x="1309424" y="1142959"/>
                </a:moveTo>
                <a:cubicBezTo>
                  <a:pt x="1345137" y="1142959"/>
                  <a:pt x="1374089" y="1171910"/>
                  <a:pt x="1374089" y="1207623"/>
                </a:cubicBezTo>
                <a:cubicBezTo>
                  <a:pt x="1374089" y="1243338"/>
                  <a:pt x="1345137" y="1272290"/>
                  <a:pt x="1309424" y="1272290"/>
                </a:cubicBezTo>
                <a:cubicBezTo>
                  <a:pt x="1273709" y="1272290"/>
                  <a:pt x="1244757" y="1243338"/>
                  <a:pt x="1244757" y="1207623"/>
                </a:cubicBezTo>
                <a:cubicBezTo>
                  <a:pt x="1244757" y="1171910"/>
                  <a:pt x="1273709" y="1142959"/>
                  <a:pt x="1309424" y="1142959"/>
                </a:cubicBezTo>
                <a:close/>
                <a:moveTo>
                  <a:pt x="1148940" y="1142959"/>
                </a:moveTo>
                <a:cubicBezTo>
                  <a:pt x="1184653" y="1142959"/>
                  <a:pt x="1213605" y="1171910"/>
                  <a:pt x="1213605" y="1207623"/>
                </a:cubicBezTo>
                <a:cubicBezTo>
                  <a:pt x="1213605" y="1243338"/>
                  <a:pt x="1184653" y="1272290"/>
                  <a:pt x="1148940" y="1272290"/>
                </a:cubicBezTo>
                <a:cubicBezTo>
                  <a:pt x="1113226" y="1272290"/>
                  <a:pt x="1084275" y="1243338"/>
                  <a:pt x="1084275" y="1207623"/>
                </a:cubicBezTo>
                <a:cubicBezTo>
                  <a:pt x="1084275" y="1171910"/>
                  <a:pt x="1113226" y="1142959"/>
                  <a:pt x="1148940" y="1142959"/>
                </a:cubicBezTo>
                <a:close/>
                <a:moveTo>
                  <a:pt x="992366" y="1142959"/>
                </a:moveTo>
                <a:cubicBezTo>
                  <a:pt x="1028080" y="1142959"/>
                  <a:pt x="1057031" y="1171911"/>
                  <a:pt x="1057031" y="1207625"/>
                </a:cubicBezTo>
                <a:cubicBezTo>
                  <a:pt x="1057031" y="1243340"/>
                  <a:pt x="1028080" y="1272290"/>
                  <a:pt x="992366" y="1272290"/>
                </a:cubicBezTo>
                <a:cubicBezTo>
                  <a:pt x="956653" y="1272290"/>
                  <a:pt x="927701" y="1243340"/>
                  <a:pt x="927701" y="1207625"/>
                </a:cubicBezTo>
                <a:cubicBezTo>
                  <a:pt x="927701" y="1171911"/>
                  <a:pt x="956653" y="1142959"/>
                  <a:pt x="992366" y="1142959"/>
                </a:cubicBezTo>
                <a:close/>
                <a:moveTo>
                  <a:pt x="839710" y="1142959"/>
                </a:moveTo>
                <a:cubicBezTo>
                  <a:pt x="875424" y="1142959"/>
                  <a:pt x="904376" y="1171910"/>
                  <a:pt x="904376" y="1207623"/>
                </a:cubicBezTo>
                <a:cubicBezTo>
                  <a:pt x="904376" y="1243338"/>
                  <a:pt x="875424" y="1272290"/>
                  <a:pt x="839710" y="1272290"/>
                </a:cubicBezTo>
                <a:cubicBezTo>
                  <a:pt x="803997" y="1272290"/>
                  <a:pt x="775045" y="1243338"/>
                  <a:pt x="775045" y="1207623"/>
                </a:cubicBezTo>
                <a:cubicBezTo>
                  <a:pt x="775045" y="1171910"/>
                  <a:pt x="803997" y="1142959"/>
                  <a:pt x="839710" y="1142959"/>
                </a:cubicBezTo>
                <a:close/>
                <a:moveTo>
                  <a:pt x="683139" y="1142959"/>
                </a:moveTo>
                <a:cubicBezTo>
                  <a:pt x="718852" y="1142959"/>
                  <a:pt x="747804" y="1171910"/>
                  <a:pt x="747804" y="1207623"/>
                </a:cubicBezTo>
                <a:cubicBezTo>
                  <a:pt x="747804" y="1243338"/>
                  <a:pt x="718852" y="1272290"/>
                  <a:pt x="683139" y="1272290"/>
                </a:cubicBezTo>
                <a:cubicBezTo>
                  <a:pt x="647425" y="1272290"/>
                  <a:pt x="618474" y="1243338"/>
                  <a:pt x="618474" y="1207623"/>
                </a:cubicBezTo>
                <a:cubicBezTo>
                  <a:pt x="618474" y="1171910"/>
                  <a:pt x="647425" y="1142959"/>
                  <a:pt x="683139" y="1142959"/>
                </a:cubicBezTo>
                <a:close/>
                <a:moveTo>
                  <a:pt x="526558" y="1142959"/>
                </a:moveTo>
                <a:cubicBezTo>
                  <a:pt x="562272" y="1142959"/>
                  <a:pt x="591224" y="1171910"/>
                  <a:pt x="591224" y="1207623"/>
                </a:cubicBezTo>
                <a:cubicBezTo>
                  <a:pt x="591224" y="1243338"/>
                  <a:pt x="562272" y="1272290"/>
                  <a:pt x="526558" y="1272290"/>
                </a:cubicBezTo>
                <a:cubicBezTo>
                  <a:pt x="490845" y="1272290"/>
                  <a:pt x="461893" y="1243338"/>
                  <a:pt x="461893" y="1207623"/>
                </a:cubicBezTo>
                <a:cubicBezTo>
                  <a:pt x="461893" y="1171910"/>
                  <a:pt x="490845" y="1142959"/>
                  <a:pt x="526558" y="1142959"/>
                </a:cubicBezTo>
                <a:close/>
                <a:moveTo>
                  <a:pt x="373903" y="1142959"/>
                </a:moveTo>
                <a:cubicBezTo>
                  <a:pt x="409616" y="1142959"/>
                  <a:pt x="438568" y="1171910"/>
                  <a:pt x="438568" y="1207623"/>
                </a:cubicBezTo>
                <a:cubicBezTo>
                  <a:pt x="438568" y="1243338"/>
                  <a:pt x="409616" y="1272290"/>
                  <a:pt x="373903" y="1272290"/>
                </a:cubicBezTo>
                <a:cubicBezTo>
                  <a:pt x="338189" y="1272290"/>
                  <a:pt x="309237" y="1243338"/>
                  <a:pt x="309237" y="1207623"/>
                </a:cubicBezTo>
                <a:cubicBezTo>
                  <a:pt x="309237" y="1171910"/>
                  <a:pt x="338189" y="1142959"/>
                  <a:pt x="373903" y="1142959"/>
                </a:cubicBezTo>
                <a:close/>
                <a:moveTo>
                  <a:pt x="217332" y="1142959"/>
                </a:moveTo>
                <a:cubicBezTo>
                  <a:pt x="253045" y="1142959"/>
                  <a:pt x="281997" y="1171910"/>
                  <a:pt x="281997" y="1207623"/>
                </a:cubicBezTo>
                <a:cubicBezTo>
                  <a:pt x="281997" y="1243338"/>
                  <a:pt x="253045" y="1272290"/>
                  <a:pt x="217332" y="1272290"/>
                </a:cubicBezTo>
                <a:cubicBezTo>
                  <a:pt x="181618" y="1272290"/>
                  <a:pt x="152667" y="1243338"/>
                  <a:pt x="152667" y="1207623"/>
                </a:cubicBezTo>
                <a:cubicBezTo>
                  <a:pt x="152667" y="1171910"/>
                  <a:pt x="181618" y="1142959"/>
                  <a:pt x="217332" y="1142959"/>
                </a:cubicBezTo>
                <a:close/>
                <a:moveTo>
                  <a:pt x="64674" y="1142959"/>
                </a:moveTo>
                <a:cubicBezTo>
                  <a:pt x="100387" y="1142959"/>
                  <a:pt x="129339" y="1171910"/>
                  <a:pt x="129339" y="1207623"/>
                </a:cubicBezTo>
                <a:cubicBezTo>
                  <a:pt x="129339" y="1243338"/>
                  <a:pt x="100387" y="1272290"/>
                  <a:pt x="64674" y="1272290"/>
                </a:cubicBezTo>
                <a:cubicBezTo>
                  <a:pt x="28960" y="1272290"/>
                  <a:pt x="9" y="1243338"/>
                  <a:pt x="9" y="1207623"/>
                </a:cubicBezTo>
                <a:cubicBezTo>
                  <a:pt x="9" y="1171910"/>
                  <a:pt x="28960" y="1142959"/>
                  <a:pt x="64674" y="1142959"/>
                </a:cubicBezTo>
                <a:close/>
                <a:moveTo>
                  <a:pt x="11095111" y="1002044"/>
                </a:moveTo>
                <a:cubicBezTo>
                  <a:pt x="11130825" y="1002044"/>
                  <a:pt x="11159777" y="1030995"/>
                  <a:pt x="11159777" y="1066709"/>
                </a:cubicBezTo>
                <a:cubicBezTo>
                  <a:pt x="11159777" y="1102424"/>
                  <a:pt x="11130825" y="1131375"/>
                  <a:pt x="11095111" y="1131375"/>
                </a:cubicBezTo>
                <a:cubicBezTo>
                  <a:pt x="11059397" y="1131375"/>
                  <a:pt x="11030445" y="1102424"/>
                  <a:pt x="11030445" y="1066709"/>
                </a:cubicBezTo>
                <a:cubicBezTo>
                  <a:pt x="11030445" y="1030995"/>
                  <a:pt x="11059397" y="1002044"/>
                  <a:pt x="11095111" y="1002044"/>
                </a:cubicBezTo>
                <a:close/>
                <a:moveTo>
                  <a:pt x="10938538" y="1002044"/>
                </a:moveTo>
                <a:cubicBezTo>
                  <a:pt x="10974252" y="1002044"/>
                  <a:pt x="11003204" y="1030995"/>
                  <a:pt x="11003204" y="1066709"/>
                </a:cubicBezTo>
                <a:cubicBezTo>
                  <a:pt x="11003204" y="1102424"/>
                  <a:pt x="10974252" y="1131375"/>
                  <a:pt x="10938538" y="1131375"/>
                </a:cubicBezTo>
                <a:cubicBezTo>
                  <a:pt x="10902824" y="1131375"/>
                  <a:pt x="10873872" y="1102424"/>
                  <a:pt x="10873872" y="1066709"/>
                </a:cubicBezTo>
                <a:cubicBezTo>
                  <a:pt x="10873872" y="1030995"/>
                  <a:pt x="10902824" y="1002044"/>
                  <a:pt x="10938538" y="1002044"/>
                </a:cubicBezTo>
                <a:close/>
                <a:moveTo>
                  <a:pt x="10778051" y="1002044"/>
                </a:moveTo>
                <a:cubicBezTo>
                  <a:pt x="10813765" y="1002044"/>
                  <a:pt x="10842717" y="1030995"/>
                  <a:pt x="10842717" y="1066709"/>
                </a:cubicBezTo>
                <a:cubicBezTo>
                  <a:pt x="10842717" y="1102424"/>
                  <a:pt x="10813765" y="1131375"/>
                  <a:pt x="10778051" y="1131375"/>
                </a:cubicBezTo>
                <a:cubicBezTo>
                  <a:pt x="10742337" y="1131375"/>
                  <a:pt x="10713385" y="1102424"/>
                  <a:pt x="10713385" y="1066709"/>
                </a:cubicBezTo>
                <a:cubicBezTo>
                  <a:pt x="10713385" y="1030995"/>
                  <a:pt x="10742337" y="1002044"/>
                  <a:pt x="10778051" y="1002044"/>
                </a:cubicBezTo>
                <a:close/>
                <a:moveTo>
                  <a:pt x="10625392" y="1002044"/>
                </a:moveTo>
                <a:cubicBezTo>
                  <a:pt x="10661106" y="1002044"/>
                  <a:pt x="10690058" y="1030995"/>
                  <a:pt x="10690058" y="1066709"/>
                </a:cubicBezTo>
                <a:cubicBezTo>
                  <a:pt x="10690058" y="1102424"/>
                  <a:pt x="10661106" y="1131375"/>
                  <a:pt x="10625392" y="1131375"/>
                </a:cubicBezTo>
                <a:cubicBezTo>
                  <a:pt x="10589678" y="1131375"/>
                  <a:pt x="10560726" y="1102424"/>
                  <a:pt x="10560726" y="1066709"/>
                </a:cubicBezTo>
                <a:cubicBezTo>
                  <a:pt x="10560726" y="1030995"/>
                  <a:pt x="10589678" y="1002044"/>
                  <a:pt x="10625392" y="1002044"/>
                </a:cubicBezTo>
                <a:close/>
                <a:moveTo>
                  <a:pt x="10468818" y="1002044"/>
                </a:moveTo>
                <a:cubicBezTo>
                  <a:pt x="10504532" y="1002044"/>
                  <a:pt x="10533484" y="1030995"/>
                  <a:pt x="10533484" y="1066709"/>
                </a:cubicBezTo>
                <a:cubicBezTo>
                  <a:pt x="10533484" y="1102424"/>
                  <a:pt x="10504532" y="1131375"/>
                  <a:pt x="10468818" y="1131375"/>
                </a:cubicBezTo>
                <a:cubicBezTo>
                  <a:pt x="10433104" y="1131375"/>
                  <a:pt x="10404152" y="1102424"/>
                  <a:pt x="10404152" y="1066709"/>
                </a:cubicBezTo>
                <a:cubicBezTo>
                  <a:pt x="10404152" y="1030995"/>
                  <a:pt x="10433104" y="1002044"/>
                  <a:pt x="10468818" y="1002044"/>
                </a:cubicBezTo>
                <a:close/>
                <a:moveTo>
                  <a:pt x="10312244" y="1002044"/>
                </a:moveTo>
                <a:cubicBezTo>
                  <a:pt x="10347958" y="1002044"/>
                  <a:pt x="10376910" y="1030995"/>
                  <a:pt x="10376910" y="1066709"/>
                </a:cubicBezTo>
                <a:cubicBezTo>
                  <a:pt x="10376910" y="1102424"/>
                  <a:pt x="10347958" y="1131375"/>
                  <a:pt x="10312244" y="1131375"/>
                </a:cubicBezTo>
                <a:cubicBezTo>
                  <a:pt x="10276530" y="1131375"/>
                  <a:pt x="10247578" y="1102424"/>
                  <a:pt x="10247578" y="1066709"/>
                </a:cubicBezTo>
                <a:cubicBezTo>
                  <a:pt x="10247578" y="1030995"/>
                  <a:pt x="10276530" y="1002044"/>
                  <a:pt x="10312244" y="1002044"/>
                </a:cubicBezTo>
                <a:close/>
                <a:moveTo>
                  <a:pt x="10159586" y="1002044"/>
                </a:moveTo>
                <a:cubicBezTo>
                  <a:pt x="10195300" y="1002044"/>
                  <a:pt x="10224252" y="1030995"/>
                  <a:pt x="10224252" y="1066709"/>
                </a:cubicBezTo>
                <a:cubicBezTo>
                  <a:pt x="10224252" y="1102424"/>
                  <a:pt x="10195300" y="1131375"/>
                  <a:pt x="10159586" y="1131375"/>
                </a:cubicBezTo>
                <a:cubicBezTo>
                  <a:pt x="10123872" y="1131375"/>
                  <a:pt x="10094920" y="1102424"/>
                  <a:pt x="10094920" y="1066709"/>
                </a:cubicBezTo>
                <a:cubicBezTo>
                  <a:pt x="10094920" y="1030995"/>
                  <a:pt x="10123872" y="1002044"/>
                  <a:pt x="10159586" y="1002044"/>
                </a:cubicBezTo>
                <a:close/>
                <a:moveTo>
                  <a:pt x="10003015" y="1002044"/>
                </a:moveTo>
                <a:cubicBezTo>
                  <a:pt x="10038729" y="1002044"/>
                  <a:pt x="10067681" y="1030995"/>
                  <a:pt x="10067681" y="1066709"/>
                </a:cubicBezTo>
                <a:cubicBezTo>
                  <a:pt x="10067681" y="1102424"/>
                  <a:pt x="10038729" y="1131375"/>
                  <a:pt x="10003015" y="1131375"/>
                </a:cubicBezTo>
                <a:cubicBezTo>
                  <a:pt x="9967301" y="1131375"/>
                  <a:pt x="9938349" y="1102424"/>
                  <a:pt x="9938349" y="1066709"/>
                </a:cubicBezTo>
                <a:cubicBezTo>
                  <a:pt x="9938349" y="1030995"/>
                  <a:pt x="9967301" y="1002044"/>
                  <a:pt x="10003015" y="1002044"/>
                </a:cubicBezTo>
                <a:close/>
                <a:moveTo>
                  <a:pt x="9850355" y="1002044"/>
                </a:moveTo>
                <a:cubicBezTo>
                  <a:pt x="9886069" y="1002044"/>
                  <a:pt x="9915021" y="1030995"/>
                  <a:pt x="9915021" y="1066709"/>
                </a:cubicBezTo>
                <a:cubicBezTo>
                  <a:pt x="9915021" y="1102424"/>
                  <a:pt x="9886069" y="1131375"/>
                  <a:pt x="9850355" y="1131375"/>
                </a:cubicBezTo>
                <a:cubicBezTo>
                  <a:pt x="9814641" y="1131375"/>
                  <a:pt x="9785689" y="1102424"/>
                  <a:pt x="9785689" y="1066709"/>
                </a:cubicBezTo>
                <a:cubicBezTo>
                  <a:pt x="9785689" y="1030995"/>
                  <a:pt x="9814641" y="1002044"/>
                  <a:pt x="9850355" y="1002044"/>
                </a:cubicBezTo>
                <a:close/>
                <a:moveTo>
                  <a:pt x="9693780" y="1002044"/>
                </a:moveTo>
                <a:cubicBezTo>
                  <a:pt x="9729494" y="1002044"/>
                  <a:pt x="9758446" y="1030995"/>
                  <a:pt x="9758446" y="1066709"/>
                </a:cubicBezTo>
                <a:cubicBezTo>
                  <a:pt x="9758446" y="1102424"/>
                  <a:pt x="9729494" y="1131375"/>
                  <a:pt x="9693780" y="1131375"/>
                </a:cubicBezTo>
                <a:cubicBezTo>
                  <a:pt x="9658066" y="1131375"/>
                  <a:pt x="9629114" y="1102424"/>
                  <a:pt x="9629114" y="1066709"/>
                </a:cubicBezTo>
                <a:cubicBezTo>
                  <a:pt x="9629114" y="1030995"/>
                  <a:pt x="9658066" y="1002044"/>
                  <a:pt x="9693780" y="1002044"/>
                </a:cubicBezTo>
                <a:close/>
                <a:moveTo>
                  <a:pt x="9541122" y="1002044"/>
                </a:moveTo>
                <a:cubicBezTo>
                  <a:pt x="9576836" y="1002044"/>
                  <a:pt x="9605788" y="1030995"/>
                  <a:pt x="9605788" y="1066709"/>
                </a:cubicBezTo>
                <a:cubicBezTo>
                  <a:pt x="9605788" y="1102424"/>
                  <a:pt x="9576836" y="1131375"/>
                  <a:pt x="9541122" y="1131375"/>
                </a:cubicBezTo>
                <a:cubicBezTo>
                  <a:pt x="9505408" y="1131375"/>
                  <a:pt x="9476456" y="1102424"/>
                  <a:pt x="9476456" y="1066709"/>
                </a:cubicBezTo>
                <a:cubicBezTo>
                  <a:pt x="9476456" y="1030995"/>
                  <a:pt x="9505408" y="1002044"/>
                  <a:pt x="9541122" y="1002044"/>
                </a:cubicBezTo>
                <a:close/>
                <a:moveTo>
                  <a:pt x="9384549" y="1002044"/>
                </a:moveTo>
                <a:cubicBezTo>
                  <a:pt x="9420263" y="1002044"/>
                  <a:pt x="9449215" y="1030995"/>
                  <a:pt x="9449215" y="1066709"/>
                </a:cubicBezTo>
                <a:cubicBezTo>
                  <a:pt x="9449215" y="1102424"/>
                  <a:pt x="9420263" y="1131375"/>
                  <a:pt x="9384549" y="1131375"/>
                </a:cubicBezTo>
                <a:cubicBezTo>
                  <a:pt x="9348835" y="1131375"/>
                  <a:pt x="9319883" y="1102424"/>
                  <a:pt x="9319883" y="1066709"/>
                </a:cubicBezTo>
                <a:cubicBezTo>
                  <a:pt x="9319883" y="1030995"/>
                  <a:pt x="9348835" y="1002044"/>
                  <a:pt x="9384549" y="1002044"/>
                </a:cubicBezTo>
                <a:close/>
                <a:moveTo>
                  <a:pt x="9227976" y="1002044"/>
                </a:moveTo>
                <a:cubicBezTo>
                  <a:pt x="9263690" y="1002044"/>
                  <a:pt x="9292642" y="1030995"/>
                  <a:pt x="9292642" y="1066709"/>
                </a:cubicBezTo>
                <a:cubicBezTo>
                  <a:pt x="9292642" y="1102424"/>
                  <a:pt x="9263690" y="1131375"/>
                  <a:pt x="9227976" y="1131375"/>
                </a:cubicBezTo>
                <a:cubicBezTo>
                  <a:pt x="9192262" y="1131375"/>
                  <a:pt x="9163310" y="1102424"/>
                  <a:pt x="9163310" y="1066709"/>
                </a:cubicBezTo>
                <a:cubicBezTo>
                  <a:pt x="9163310" y="1030995"/>
                  <a:pt x="9192262" y="1002044"/>
                  <a:pt x="9227976" y="1002044"/>
                </a:cubicBezTo>
                <a:close/>
                <a:moveTo>
                  <a:pt x="9075316" y="1002044"/>
                </a:moveTo>
                <a:cubicBezTo>
                  <a:pt x="9111030" y="1002044"/>
                  <a:pt x="9139982" y="1030995"/>
                  <a:pt x="9139982" y="1066709"/>
                </a:cubicBezTo>
                <a:cubicBezTo>
                  <a:pt x="9139982" y="1102424"/>
                  <a:pt x="9111030" y="1131375"/>
                  <a:pt x="9075316" y="1131375"/>
                </a:cubicBezTo>
                <a:cubicBezTo>
                  <a:pt x="9039602" y="1131375"/>
                  <a:pt x="9010650" y="1102424"/>
                  <a:pt x="9010650" y="1066709"/>
                </a:cubicBezTo>
                <a:cubicBezTo>
                  <a:pt x="9010650" y="1030995"/>
                  <a:pt x="9039602" y="1002044"/>
                  <a:pt x="9075316" y="1002044"/>
                </a:cubicBezTo>
                <a:close/>
                <a:moveTo>
                  <a:pt x="8914829" y="1002044"/>
                </a:moveTo>
                <a:cubicBezTo>
                  <a:pt x="8950543" y="1002044"/>
                  <a:pt x="8979495" y="1030995"/>
                  <a:pt x="8979495" y="1066709"/>
                </a:cubicBezTo>
                <a:cubicBezTo>
                  <a:pt x="8979495" y="1102424"/>
                  <a:pt x="8950543" y="1131375"/>
                  <a:pt x="8914829" y="1131375"/>
                </a:cubicBezTo>
                <a:cubicBezTo>
                  <a:pt x="8879115" y="1131375"/>
                  <a:pt x="8850163" y="1102424"/>
                  <a:pt x="8850163" y="1066709"/>
                </a:cubicBezTo>
                <a:cubicBezTo>
                  <a:pt x="8850163" y="1030995"/>
                  <a:pt x="8879115" y="1002044"/>
                  <a:pt x="8914829" y="1002044"/>
                </a:cubicBezTo>
                <a:close/>
                <a:moveTo>
                  <a:pt x="8766084" y="1002044"/>
                </a:moveTo>
                <a:cubicBezTo>
                  <a:pt x="8801798" y="1002044"/>
                  <a:pt x="8830750" y="1030995"/>
                  <a:pt x="8830750" y="1066709"/>
                </a:cubicBezTo>
                <a:cubicBezTo>
                  <a:pt x="8830750" y="1102424"/>
                  <a:pt x="8801798" y="1131375"/>
                  <a:pt x="8766084" y="1131375"/>
                </a:cubicBezTo>
                <a:cubicBezTo>
                  <a:pt x="8730370" y="1131375"/>
                  <a:pt x="8701418" y="1102424"/>
                  <a:pt x="8701418" y="1066709"/>
                </a:cubicBezTo>
                <a:cubicBezTo>
                  <a:pt x="8701418" y="1030995"/>
                  <a:pt x="8730370" y="1002044"/>
                  <a:pt x="8766084" y="1002044"/>
                </a:cubicBezTo>
                <a:close/>
                <a:moveTo>
                  <a:pt x="8601682" y="1002044"/>
                </a:moveTo>
                <a:cubicBezTo>
                  <a:pt x="8637396" y="1002044"/>
                  <a:pt x="8666348" y="1030995"/>
                  <a:pt x="8666348" y="1066709"/>
                </a:cubicBezTo>
                <a:cubicBezTo>
                  <a:pt x="8666348" y="1102424"/>
                  <a:pt x="8637396" y="1131375"/>
                  <a:pt x="8601682" y="1131375"/>
                </a:cubicBezTo>
                <a:cubicBezTo>
                  <a:pt x="8565968" y="1131375"/>
                  <a:pt x="8537016" y="1102424"/>
                  <a:pt x="8537016" y="1066709"/>
                </a:cubicBezTo>
                <a:cubicBezTo>
                  <a:pt x="8537016" y="1030995"/>
                  <a:pt x="8565968" y="1002044"/>
                  <a:pt x="8601682" y="1002044"/>
                </a:cubicBezTo>
                <a:close/>
                <a:moveTo>
                  <a:pt x="8449023" y="1002044"/>
                </a:moveTo>
                <a:cubicBezTo>
                  <a:pt x="8484737" y="1002044"/>
                  <a:pt x="8513689" y="1030995"/>
                  <a:pt x="8513689" y="1066709"/>
                </a:cubicBezTo>
                <a:cubicBezTo>
                  <a:pt x="8513689" y="1102424"/>
                  <a:pt x="8484737" y="1131375"/>
                  <a:pt x="8449023" y="1131375"/>
                </a:cubicBezTo>
                <a:cubicBezTo>
                  <a:pt x="8413309" y="1131375"/>
                  <a:pt x="8384357" y="1102424"/>
                  <a:pt x="8384357" y="1066709"/>
                </a:cubicBezTo>
                <a:cubicBezTo>
                  <a:pt x="8384357" y="1030995"/>
                  <a:pt x="8413309" y="1002044"/>
                  <a:pt x="8449023" y="1002044"/>
                </a:cubicBezTo>
                <a:close/>
                <a:moveTo>
                  <a:pt x="8296367" y="1002044"/>
                </a:moveTo>
                <a:cubicBezTo>
                  <a:pt x="8332081" y="1002044"/>
                  <a:pt x="8361033" y="1030995"/>
                  <a:pt x="8361033" y="1066709"/>
                </a:cubicBezTo>
                <a:cubicBezTo>
                  <a:pt x="8361033" y="1102424"/>
                  <a:pt x="8332081" y="1131375"/>
                  <a:pt x="8296367" y="1131375"/>
                </a:cubicBezTo>
                <a:cubicBezTo>
                  <a:pt x="8260653" y="1131375"/>
                  <a:pt x="8231701" y="1102424"/>
                  <a:pt x="8231701" y="1066709"/>
                </a:cubicBezTo>
                <a:cubicBezTo>
                  <a:pt x="8231701" y="1030995"/>
                  <a:pt x="8260653" y="1002044"/>
                  <a:pt x="8296367" y="1002044"/>
                </a:cubicBezTo>
                <a:close/>
                <a:moveTo>
                  <a:pt x="8139792" y="1002044"/>
                </a:moveTo>
                <a:cubicBezTo>
                  <a:pt x="8175506" y="1002044"/>
                  <a:pt x="8204458" y="1030995"/>
                  <a:pt x="8204458" y="1066709"/>
                </a:cubicBezTo>
                <a:cubicBezTo>
                  <a:pt x="8204458" y="1102424"/>
                  <a:pt x="8175506" y="1131375"/>
                  <a:pt x="8139792" y="1131375"/>
                </a:cubicBezTo>
                <a:cubicBezTo>
                  <a:pt x="8104078" y="1131375"/>
                  <a:pt x="8075126" y="1102424"/>
                  <a:pt x="8075126" y="1066709"/>
                </a:cubicBezTo>
                <a:cubicBezTo>
                  <a:pt x="8075126" y="1030995"/>
                  <a:pt x="8104078" y="1002044"/>
                  <a:pt x="8139792" y="1002044"/>
                </a:cubicBezTo>
                <a:close/>
                <a:moveTo>
                  <a:pt x="7987132" y="1002044"/>
                </a:moveTo>
                <a:cubicBezTo>
                  <a:pt x="8022846" y="1002044"/>
                  <a:pt x="8051798" y="1030995"/>
                  <a:pt x="8051798" y="1066709"/>
                </a:cubicBezTo>
                <a:cubicBezTo>
                  <a:pt x="8051798" y="1102424"/>
                  <a:pt x="8022846" y="1131375"/>
                  <a:pt x="7987132" y="1131375"/>
                </a:cubicBezTo>
                <a:cubicBezTo>
                  <a:pt x="7951418" y="1131375"/>
                  <a:pt x="7922466" y="1102424"/>
                  <a:pt x="7922466" y="1066709"/>
                </a:cubicBezTo>
                <a:cubicBezTo>
                  <a:pt x="7922466" y="1030995"/>
                  <a:pt x="7951418" y="1002044"/>
                  <a:pt x="7987132" y="1002044"/>
                </a:cubicBezTo>
                <a:close/>
                <a:moveTo>
                  <a:pt x="7830560" y="1002044"/>
                </a:moveTo>
                <a:cubicBezTo>
                  <a:pt x="7866274" y="1002044"/>
                  <a:pt x="7895226" y="1030995"/>
                  <a:pt x="7895226" y="1066709"/>
                </a:cubicBezTo>
                <a:cubicBezTo>
                  <a:pt x="7895226" y="1102424"/>
                  <a:pt x="7866274" y="1131375"/>
                  <a:pt x="7830560" y="1131375"/>
                </a:cubicBezTo>
                <a:cubicBezTo>
                  <a:pt x="7794846" y="1131375"/>
                  <a:pt x="7765894" y="1102424"/>
                  <a:pt x="7765894" y="1066709"/>
                </a:cubicBezTo>
                <a:cubicBezTo>
                  <a:pt x="7765894" y="1030995"/>
                  <a:pt x="7794846" y="1002044"/>
                  <a:pt x="7830560" y="1002044"/>
                </a:cubicBezTo>
                <a:close/>
                <a:moveTo>
                  <a:pt x="7677902" y="1002044"/>
                </a:moveTo>
                <a:cubicBezTo>
                  <a:pt x="7713616" y="1002044"/>
                  <a:pt x="7742568" y="1030995"/>
                  <a:pt x="7742568" y="1066709"/>
                </a:cubicBezTo>
                <a:cubicBezTo>
                  <a:pt x="7742568" y="1102424"/>
                  <a:pt x="7713616" y="1131375"/>
                  <a:pt x="7677902" y="1131375"/>
                </a:cubicBezTo>
                <a:cubicBezTo>
                  <a:pt x="7642188" y="1131375"/>
                  <a:pt x="7613236" y="1102424"/>
                  <a:pt x="7613236" y="1066709"/>
                </a:cubicBezTo>
                <a:cubicBezTo>
                  <a:pt x="7613236" y="1030995"/>
                  <a:pt x="7642188" y="1002044"/>
                  <a:pt x="7677902" y="1002044"/>
                </a:cubicBezTo>
                <a:close/>
                <a:moveTo>
                  <a:pt x="7521329" y="1002044"/>
                </a:moveTo>
                <a:cubicBezTo>
                  <a:pt x="7557043" y="1002044"/>
                  <a:pt x="7585995" y="1030995"/>
                  <a:pt x="7585995" y="1066709"/>
                </a:cubicBezTo>
                <a:cubicBezTo>
                  <a:pt x="7585995" y="1102424"/>
                  <a:pt x="7557043" y="1131375"/>
                  <a:pt x="7521329" y="1131375"/>
                </a:cubicBezTo>
                <a:cubicBezTo>
                  <a:pt x="7485615" y="1131375"/>
                  <a:pt x="7456663" y="1102424"/>
                  <a:pt x="7456663" y="1066709"/>
                </a:cubicBezTo>
                <a:cubicBezTo>
                  <a:pt x="7456663" y="1030995"/>
                  <a:pt x="7485615" y="1002044"/>
                  <a:pt x="7521329" y="1002044"/>
                </a:cubicBezTo>
                <a:close/>
                <a:moveTo>
                  <a:pt x="7368667" y="1002044"/>
                </a:moveTo>
                <a:cubicBezTo>
                  <a:pt x="7404381" y="1002044"/>
                  <a:pt x="7433333" y="1030995"/>
                  <a:pt x="7433333" y="1066709"/>
                </a:cubicBezTo>
                <a:cubicBezTo>
                  <a:pt x="7433333" y="1102424"/>
                  <a:pt x="7404381" y="1131375"/>
                  <a:pt x="7368667" y="1131375"/>
                </a:cubicBezTo>
                <a:cubicBezTo>
                  <a:pt x="7332953" y="1131375"/>
                  <a:pt x="7304001" y="1102424"/>
                  <a:pt x="7304001" y="1066709"/>
                </a:cubicBezTo>
                <a:cubicBezTo>
                  <a:pt x="7304001" y="1030995"/>
                  <a:pt x="7332953" y="1002044"/>
                  <a:pt x="7368667" y="1002044"/>
                </a:cubicBezTo>
                <a:close/>
                <a:moveTo>
                  <a:pt x="7212094" y="1002044"/>
                </a:moveTo>
                <a:cubicBezTo>
                  <a:pt x="7247808" y="1002044"/>
                  <a:pt x="7276760" y="1030995"/>
                  <a:pt x="7276760" y="1066709"/>
                </a:cubicBezTo>
                <a:cubicBezTo>
                  <a:pt x="7276760" y="1102424"/>
                  <a:pt x="7247808" y="1131375"/>
                  <a:pt x="7212094" y="1131375"/>
                </a:cubicBezTo>
                <a:cubicBezTo>
                  <a:pt x="7176380" y="1131375"/>
                  <a:pt x="7147428" y="1102424"/>
                  <a:pt x="7147428" y="1066709"/>
                </a:cubicBezTo>
                <a:cubicBezTo>
                  <a:pt x="7147428" y="1030995"/>
                  <a:pt x="7176380" y="1002044"/>
                  <a:pt x="7212094" y="1002044"/>
                </a:cubicBezTo>
                <a:close/>
                <a:moveTo>
                  <a:pt x="7055521" y="1002044"/>
                </a:moveTo>
                <a:cubicBezTo>
                  <a:pt x="7091235" y="1002044"/>
                  <a:pt x="7120187" y="1030995"/>
                  <a:pt x="7120187" y="1066709"/>
                </a:cubicBezTo>
                <a:cubicBezTo>
                  <a:pt x="7120187" y="1102424"/>
                  <a:pt x="7091235" y="1131375"/>
                  <a:pt x="7055521" y="1131375"/>
                </a:cubicBezTo>
                <a:cubicBezTo>
                  <a:pt x="7019807" y="1131375"/>
                  <a:pt x="6990855" y="1102424"/>
                  <a:pt x="6990855" y="1066709"/>
                </a:cubicBezTo>
                <a:cubicBezTo>
                  <a:pt x="6990855" y="1030995"/>
                  <a:pt x="7019807" y="1002044"/>
                  <a:pt x="7055521" y="1002044"/>
                </a:cubicBezTo>
                <a:close/>
                <a:moveTo>
                  <a:pt x="6895035" y="1002044"/>
                </a:moveTo>
                <a:cubicBezTo>
                  <a:pt x="6930749" y="1002044"/>
                  <a:pt x="6959701" y="1030995"/>
                  <a:pt x="6959701" y="1066709"/>
                </a:cubicBezTo>
                <a:cubicBezTo>
                  <a:pt x="6959701" y="1102424"/>
                  <a:pt x="6930749" y="1131375"/>
                  <a:pt x="6895035" y="1131375"/>
                </a:cubicBezTo>
                <a:cubicBezTo>
                  <a:pt x="6859321" y="1131375"/>
                  <a:pt x="6830369" y="1102424"/>
                  <a:pt x="6830369" y="1066709"/>
                </a:cubicBezTo>
                <a:cubicBezTo>
                  <a:pt x="6830369" y="1030995"/>
                  <a:pt x="6859321" y="1002044"/>
                  <a:pt x="6895035" y="1002044"/>
                </a:cubicBezTo>
                <a:close/>
                <a:moveTo>
                  <a:pt x="6742375" y="1002044"/>
                </a:moveTo>
                <a:cubicBezTo>
                  <a:pt x="6778089" y="1002044"/>
                  <a:pt x="6807041" y="1030995"/>
                  <a:pt x="6807041" y="1066709"/>
                </a:cubicBezTo>
                <a:cubicBezTo>
                  <a:pt x="6807041" y="1102424"/>
                  <a:pt x="6778089" y="1131375"/>
                  <a:pt x="6742375" y="1131375"/>
                </a:cubicBezTo>
                <a:cubicBezTo>
                  <a:pt x="6706661" y="1131375"/>
                  <a:pt x="6677709" y="1102424"/>
                  <a:pt x="6677709" y="1066709"/>
                </a:cubicBezTo>
                <a:cubicBezTo>
                  <a:pt x="6677709" y="1030995"/>
                  <a:pt x="6706661" y="1002044"/>
                  <a:pt x="6742375" y="1002044"/>
                </a:cubicBezTo>
                <a:close/>
                <a:moveTo>
                  <a:pt x="6585802" y="1002044"/>
                </a:moveTo>
                <a:cubicBezTo>
                  <a:pt x="6621516" y="1002044"/>
                  <a:pt x="6650468" y="1030995"/>
                  <a:pt x="6650468" y="1066709"/>
                </a:cubicBezTo>
                <a:cubicBezTo>
                  <a:pt x="6650468" y="1102424"/>
                  <a:pt x="6621516" y="1131375"/>
                  <a:pt x="6585802" y="1131375"/>
                </a:cubicBezTo>
                <a:cubicBezTo>
                  <a:pt x="6550088" y="1131375"/>
                  <a:pt x="6521136" y="1102424"/>
                  <a:pt x="6521136" y="1066709"/>
                </a:cubicBezTo>
                <a:cubicBezTo>
                  <a:pt x="6521136" y="1030995"/>
                  <a:pt x="6550088" y="1002044"/>
                  <a:pt x="6585802" y="1002044"/>
                </a:cubicBezTo>
                <a:close/>
                <a:moveTo>
                  <a:pt x="6429229" y="1002044"/>
                </a:moveTo>
                <a:cubicBezTo>
                  <a:pt x="6464943" y="1002044"/>
                  <a:pt x="6493895" y="1030995"/>
                  <a:pt x="6493895" y="1066709"/>
                </a:cubicBezTo>
                <a:cubicBezTo>
                  <a:pt x="6493895" y="1102424"/>
                  <a:pt x="6464943" y="1131375"/>
                  <a:pt x="6429229" y="1131375"/>
                </a:cubicBezTo>
                <a:cubicBezTo>
                  <a:pt x="6393515" y="1131375"/>
                  <a:pt x="6364563" y="1102424"/>
                  <a:pt x="6364563" y="1066709"/>
                </a:cubicBezTo>
                <a:cubicBezTo>
                  <a:pt x="6364563" y="1030995"/>
                  <a:pt x="6393515" y="1002044"/>
                  <a:pt x="6429229" y="1002044"/>
                </a:cubicBezTo>
                <a:close/>
                <a:moveTo>
                  <a:pt x="6276569" y="1002044"/>
                </a:moveTo>
                <a:cubicBezTo>
                  <a:pt x="6312283" y="1002044"/>
                  <a:pt x="6341235" y="1030995"/>
                  <a:pt x="6341235" y="1066709"/>
                </a:cubicBezTo>
                <a:cubicBezTo>
                  <a:pt x="6341235" y="1102424"/>
                  <a:pt x="6312283" y="1131375"/>
                  <a:pt x="6276569" y="1131375"/>
                </a:cubicBezTo>
                <a:cubicBezTo>
                  <a:pt x="6240855" y="1131375"/>
                  <a:pt x="6211903" y="1102424"/>
                  <a:pt x="6211903" y="1066709"/>
                </a:cubicBezTo>
                <a:cubicBezTo>
                  <a:pt x="6211903" y="1030995"/>
                  <a:pt x="6240855" y="1002044"/>
                  <a:pt x="6276569" y="1002044"/>
                </a:cubicBezTo>
                <a:close/>
                <a:moveTo>
                  <a:pt x="6119998" y="1002044"/>
                </a:moveTo>
                <a:cubicBezTo>
                  <a:pt x="6155712" y="1002044"/>
                  <a:pt x="6184664" y="1030995"/>
                  <a:pt x="6184664" y="1066709"/>
                </a:cubicBezTo>
                <a:cubicBezTo>
                  <a:pt x="6184664" y="1102424"/>
                  <a:pt x="6155712" y="1131375"/>
                  <a:pt x="6119998" y="1131375"/>
                </a:cubicBezTo>
                <a:cubicBezTo>
                  <a:pt x="6084284" y="1131375"/>
                  <a:pt x="6055332" y="1102424"/>
                  <a:pt x="6055332" y="1066709"/>
                </a:cubicBezTo>
                <a:cubicBezTo>
                  <a:pt x="6055332" y="1030995"/>
                  <a:pt x="6084284" y="1002044"/>
                  <a:pt x="6119998" y="1002044"/>
                </a:cubicBezTo>
                <a:close/>
                <a:moveTo>
                  <a:pt x="5967338" y="1002044"/>
                </a:moveTo>
                <a:cubicBezTo>
                  <a:pt x="6003052" y="1002044"/>
                  <a:pt x="6032004" y="1030995"/>
                  <a:pt x="6032004" y="1066709"/>
                </a:cubicBezTo>
                <a:cubicBezTo>
                  <a:pt x="6032004" y="1102424"/>
                  <a:pt x="6003052" y="1131375"/>
                  <a:pt x="5967338" y="1131375"/>
                </a:cubicBezTo>
                <a:cubicBezTo>
                  <a:pt x="5931624" y="1131375"/>
                  <a:pt x="5902672" y="1102424"/>
                  <a:pt x="5902672" y="1066709"/>
                </a:cubicBezTo>
                <a:cubicBezTo>
                  <a:pt x="5902672" y="1030995"/>
                  <a:pt x="5931624" y="1002044"/>
                  <a:pt x="5967338" y="1002044"/>
                </a:cubicBezTo>
                <a:close/>
                <a:moveTo>
                  <a:pt x="4875265" y="1002044"/>
                </a:moveTo>
                <a:cubicBezTo>
                  <a:pt x="4910983" y="1002044"/>
                  <a:pt x="4939939" y="1030995"/>
                  <a:pt x="4939939" y="1066709"/>
                </a:cubicBezTo>
                <a:cubicBezTo>
                  <a:pt x="4939939" y="1102424"/>
                  <a:pt x="4910983" y="1131375"/>
                  <a:pt x="4875265" y="1131375"/>
                </a:cubicBezTo>
                <a:cubicBezTo>
                  <a:pt x="4839542" y="1131375"/>
                  <a:pt x="4810599" y="1102424"/>
                  <a:pt x="4810599" y="1066709"/>
                </a:cubicBezTo>
                <a:cubicBezTo>
                  <a:pt x="4810599" y="1030995"/>
                  <a:pt x="4839542" y="1002044"/>
                  <a:pt x="4875265" y="1002044"/>
                </a:cubicBezTo>
                <a:close/>
                <a:moveTo>
                  <a:pt x="4256823" y="1002044"/>
                </a:moveTo>
                <a:cubicBezTo>
                  <a:pt x="4292539" y="1002044"/>
                  <a:pt x="4321467" y="1030995"/>
                  <a:pt x="4321467" y="1066709"/>
                </a:cubicBezTo>
                <a:cubicBezTo>
                  <a:pt x="4321467" y="1102424"/>
                  <a:pt x="4292539" y="1131375"/>
                  <a:pt x="4256823" y="1131375"/>
                </a:cubicBezTo>
                <a:cubicBezTo>
                  <a:pt x="4221103" y="1131375"/>
                  <a:pt x="4192125" y="1102424"/>
                  <a:pt x="4192125" y="1066709"/>
                </a:cubicBezTo>
                <a:cubicBezTo>
                  <a:pt x="4192125" y="1030995"/>
                  <a:pt x="4221103" y="1002044"/>
                  <a:pt x="4256823" y="1002044"/>
                </a:cubicBezTo>
                <a:close/>
                <a:moveTo>
                  <a:pt x="4100249" y="1002044"/>
                </a:moveTo>
                <a:cubicBezTo>
                  <a:pt x="4135950" y="1002044"/>
                  <a:pt x="4164920" y="1030995"/>
                  <a:pt x="4164920" y="1066709"/>
                </a:cubicBezTo>
                <a:cubicBezTo>
                  <a:pt x="4164920" y="1102424"/>
                  <a:pt x="4135950" y="1131375"/>
                  <a:pt x="4100249" y="1131375"/>
                </a:cubicBezTo>
                <a:cubicBezTo>
                  <a:pt x="4064526" y="1131375"/>
                  <a:pt x="4035594" y="1102424"/>
                  <a:pt x="4035594" y="1066709"/>
                </a:cubicBezTo>
                <a:cubicBezTo>
                  <a:pt x="4035594" y="1030995"/>
                  <a:pt x="4064526" y="1002044"/>
                  <a:pt x="4100249" y="1002044"/>
                </a:cubicBezTo>
                <a:close/>
                <a:moveTo>
                  <a:pt x="3947573" y="1002044"/>
                </a:moveTo>
                <a:cubicBezTo>
                  <a:pt x="3983297" y="1002044"/>
                  <a:pt x="4012257" y="1030995"/>
                  <a:pt x="4012257" y="1066709"/>
                </a:cubicBezTo>
                <a:cubicBezTo>
                  <a:pt x="4012257" y="1102424"/>
                  <a:pt x="3983297" y="1131375"/>
                  <a:pt x="3947573" y="1131375"/>
                </a:cubicBezTo>
                <a:cubicBezTo>
                  <a:pt x="3911987" y="1131375"/>
                  <a:pt x="3883039" y="1102424"/>
                  <a:pt x="3883039" y="1066709"/>
                </a:cubicBezTo>
                <a:cubicBezTo>
                  <a:pt x="3883039" y="1030995"/>
                  <a:pt x="3911987" y="1002044"/>
                  <a:pt x="3947573" y="1002044"/>
                </a:cubicBezTo>
                <a:close/>
                <a:moveTo>
                  <a:pt x="3321427" y="1002044"/>
                </a:moveTo>
                <a:cubicBezTo>
                  <a:pt x="3357137" y="1002044"/>
                  <a:pt x="3386066" y="1030995"/>
                  <a:pt x="3386066" y="1066709"/>
                </a:cubicBezTo>
                <a:cubicBezTo>
                  <a:pt x="3386066" y="1102424"/>
                  <a:pt x="3357137" y="1131375"/>
                  <a:pt x="3321427" y="1131375"/>
                </a:cubicBezTo>
                <a:cubicBezTo>
                  <a:pt x="3285704" y="1131375"/>
                  <a:pt x="3256763" y="1102424"/>
                  <a:pt x="3256763" y="1066709"/>
                </a:cubicBezTo>
                <a:cubicBezTo>
                  <a:pt x="3256763" y="1030995"/>
                  <a:pt x="3285704" y="1002044"/>
                  <a:pt x="3321427" y="1002044"/>
                </a:cubicBezTo>
                <a:close/>
                <a:moveTo>
                  <a:pt x="3172672" y="1002044"/>
                </a:moveTo>
                <a:cubicBezTo>
                  <a:pt x="3208395" y="1002044"/>
                  <a:pt x="3237345" y="1030995"/>
                  <a:pt x="3237345" y="1066709"/>
                </a:cubicBezTo>
                <a:cubicBezTo>
                  <a:pt x="3237345" y="1102424"/>
                  <a:pt x="3208395" y="1131375"/>
                  <a:pt x="3172672" y="1131375"/>
                </a:cubicBezTo>
                <a:cubicBezTo>
                  <a:pt x="3136946" y="1131375"/>
                  <a:pt x="3107984" y="1102424"/>
                  <a:pt x="3107984" y="1066709"/>
                </a:cubicBezTo>
                <a:cubicBezTo>
                  <a:pt x="3107984" y="1030995"/>
                  <a:pt x="3136946" y="1002044"/>
                  <a:pt x="3172672" y="1002044"/>
                </a:cubicBezTo>
                <a:close/>
                <a:moveTo>
                  <a:pt x="3012149" y="1002044"/>
                </a:moveTo>
                <a:cubicBezTo>
                  <a:pt x="3047859" y="1002044"/>
                  <a:pt x="3076821" y="1030995"/>
                  <a:pt x="3076821" y="1066709"/>
                </a:cubicBezTo>
                <a:cubicBezTo>
                  <a:pt x="3076821" y="1102424"/>
                  <a:pt x="3047859" y="1131375"/>
                  <a:pt x="3012149" y="1131375"/>
                </a:cubicBezTo>
                <a:cubicBezTo>
                  <a:pt x="2976439" y="1131375"/>
                  <a:pt x="2947494" y="1102424"/>
                  <a:pt x="2947494" y="1066709"/>
                </a:cubicBezTo>
                <a:cubicBezTo>
                  <a:pt x="2947494" y="1030995"/>
                  <a:pt x="2976439" y="1002044"/>
                  <a:pt x="3012149" y="1002044"/>
                </a:cubicBezTo>
                <a:close/>
                <a:moveTo>
                  <a:pt x="2699057" y="1002044"/>
                </a:moveTo>
                <a:cubicBezTo>
                  <a:pt x="2734764" y="1002044"/>
                  <a:pt x="2763710" y="1030995"/>
                  <a:pt x="2763710" y="1066709"/>
                </a:cubicBezTo>
                <a:cubicBezTo>
                  <a:pt x="2763710" y="1102424"/>
                  <a:pt x="2734764" y="1131375"/>
                  <a:pt x="2699057" y="1131375"/>
                </a:cubicBezTo>
                <a:cubicBezTo>
                  <a:pt x="2663349" y="1131375"/>
                  <a:pt x="2634401" y="1102424"/>
                  <a:pt x="2634401" y="1066709"/>
                </a:cubicBezTo>
                <a:cubicBezTo>
                  <a:pt x="2634401" y="1030995"/>
                  <a:pt x="2663349" y="1002044"/>
                  <a:pt x="2699057" y="1002044"/>
                </a:cubicBezTo>
                <a:close/>
                <a:moveTo>
                  <a:pt x="2546420" y="1002044"/>
                </a:moveTo>
                <a:cubicBezTo>
                  <a:pt x="2582131" y="1002044"/>
                  <a:pt x="2611080" y="1030995"/>
                  <a:pt x="2611080" y="1066709"/>
                </a:cubicBezTo>
                <a:cubicBezTo>
                  <a:pt x="2611080" y="1102424"/>
                  <a:pt x="2582131" y="1131375"/>
                  <a:pt x="2546420" y="1131375"/>
                </a:cubicBezTo>
                <a:cubicBezTo>
                  <a:pt x="2510700" y="1131375"/>
                  <a:pt x="2481765" y="1102424"/>
                  <a:pt x="2481765" y="1066709"/>
                </a:cubicBezTo>
                <a:cubicBezTo>
                  <a:pt x="2481765" y="1030995"/>
                  <a:pt x="2510700" y="1002044"/>
                  <a:pt x="2546420" y="1002044"/>
                </a:cubicBezTo>
                <a:close/>
                <a:moveTo>
                  <a:pt x="2389845" y="1002044"/>
                </a:moveTo>
                <a:cubicBezTo>
                  <a:pt x="2425581" y="1002044"/>
                  <a:pt x="2454531" y="1030995"/>
                  <a:pt x="2454531" y="1066709"/>
                </a:cubicBezTo>
                <a:cubicBezTo>
                  <a:pt x="2454531" y="1102424"/>
                  <a:pt x="2425581" y="1131375"/>
                  <a:pt x="2389845" y="1131375"/>
                </a:cubicBezTo>
                <a:cubicBezTo>
                  <a:pt x="2354152" y="1131375"/>
                  <a:pt x="2325192" y="1102424"/>
                  <a:pt x="2325192" y="1066709"/>
                </a:cubicBezTo>
                <a:cubicBezTo>
                  <a:pt x="2325192" y="1030995"/>
                  <a:pt x="2354152" y="1002044"/>
                  <a:pt x="2389845" y="1002044"/>
                </a:cubicBezTo>
                <a:close/>
                <a:moveTo>
                  <a:pt x="2237166" y="1002044"/>
                </a:moveTo>
                <a:cubicBezTo>
                  <a:pt x="2272894" y="1002044"/>
                  <a:pt x="2301856" y="1030995"/>
                  <a:pt x="2301856" y="1066709"/>
                </a:cubicBezTo>
                <a:cubicBezTo>
                  <a:pt x="2301856" y="1102424"/>
                  <a:pt x="2272894" y="1131375"/>
                  <a:pt x="2237166" y="1131375"/>
                </a:cubicBezTo>
                <a:cubicBezTo>
                  <a:pt x="2201442" y="1131375"/>
                  <a:pt x="2172482" y="1102424"/>
                  <a:pt x="2172482" y="1066709"/>
                </a:cubicBezTo>
                <a:cubicBezTo>
                  <a:pt x="2172482" y="1030995"/>
                  <a:pt x="2201442" y="1002044"/>
                  <a:pt x="2237166" y="1002044"/>
                </a:cubicBezTo>
                <a:close/>
                <a:moveTo>
                  <a:pt x="2084488" y="1002044"/>
                </a:moveTo>
                <a:cubicBezTo>
                  <a:pt x="2120200" y="1002044"/>
                  <a:pt x="2149149" y="1030995"/>
                  <a:pt x="2149149" y="1066709"/>
                </a:cubicBezTo>
                <a:cubicBezTo>
                  <a:pt x="2149149" y="1102424"/>
                  <a:pt x="2120200" y="1131375"/>
                  <a:pt x="2084488" y="1131375"/>
                </a:cubicBezTo>
                <a:cubicBezTo>
                  <a:pt x="2048757" y="1131375"/>
                  <a:pt x="2019843" y="1102424"/>
                  <a:pt x="2019843" y="1066709"/>
                </a:cubicBezTo>
                <a:cubicBezTo>
                  <a:pt x="2019843" y="1030995"/>
                  <a:pt x="2048757" y="1002044"/>
                  <a:pt x="2084488" y="1002044"/>
                </a:cubicBezTo>
                <a:close/>
                <a:moveTo>
                  <a:pt x="1927899" y="1002044"/>
                </a:moveTo>
                <a:cubicBezTo>
                  <a:pt x="1963608" y="1002044"/>
                  <a:pt x="1992589" y="1030995"/>
                  <a:pt x="1992589" y="1066709"/>
                </a:cubicBezTo>
                <a:cubicBezTo>
                  <a:pt x="1992589" y="1102424"/>
                  <a:pt x="1963608" y="1131375"/>
                  <a:pt x="1927899" y="1131375"/>
                </a:cubicBezTo>
                <a:cubicBezTo>
                  <a:pt x="1892221" y="1131375"/>
                  <a:pt x="1863266" y="1102424"/>
                  <a:pt x="1863266" y="1066709"/>
                </a:cubicBezTo>
                <a:cubicBezTo>
                  <a:pt x="1863266" y="1030995"/>
                  <a:pt x="1892221" y="1002044"/>
                  <a:pt x="1927899" y="1002044"/>
                </a:cubicBezTo>
                <a:close/>
                <a:moveTo>
                  <a:pt x="1775247" y="1002044"/>
                </a:moveTo>
                <a:cubicBezTo>
                  <a:pt x="1810950" y="1002044"/>
                  <a:pt x="1839934" y="1030995"/>
                  <a:pt x="1839934" y="1066709"/>
                </a:cubicBezTo>
                <a:cubicBezTo>
                  <a:pt x="1839934" y="1102424"/>
                  <a:pt x="1810950" y="1131375"/>
                  <a:pt x="1775247" y="1131375"/>
                </a:cubicBezTo>
                <a:cubicBezTo>
                  <a:pt x="1739525" y="1131375"/>
                  <a:pt x="1710575" y="1102424"/>
                  <a:pt x="1710575" y="1066709"/>
                </a:cubicBezTo>
                <a:cubicBezTo>
                  <a:pt x="1710575" y="1030995"/>
                  <a:pt x="1739525" y="1002044"/>
                  <a:pt x="1775247" y="1002044"/>
                </a:cubicBezTo>
                <a:close/>
                <a:moveTo>
                  <a:pt x="1618661" y="1002044"/>
                </a:moveTo>
                <a:cubicBezTo>
                  <a:pt x="1654383" y="1002044"/>
                  <a:pt x="1683332" y="1030995"/>
                  <a:pt x="1683332" y="1066709"/>
                </a:cubicBezTo>
                <a:cubicBezTo>
                  <a:pt x="1683332" y="1102424"/>
                  <a:pt x="1654383" y="1131375"/>
                  <a:pt x="1618661" y="1131375"/>
                </a:cubicBezTo>
                <a:cubicBezTo>
                  <a:pt x="1582951" y="1131375"/>
                  <a:pt x="1554000" y="1102424"/>
                  <a:pt x="1554000" y="1066709"/>
                </a:cubicBezTo>
                <a:cubicBezTo>
                  <a:pt x="1554000" y="1030995"/>
                  <a:pt x="1582951" y="1002044"/>
                  <a:pt x="1618661" y="1002044"/>
                </a:cubicBezTo>
                <a:close/>
                <a:moveTo>
                  <a:pt x="1466007" y="1002044"/>
                </a:moveTo>
                <a:cubicBezTo>
                  <a:pt x="1501719" y="1002044"/>
                  <a:pt x="1530672" y="1030995"/>
                  <a:pt x="1530672" y="1066709"/>
                </a:cubicBezTo>
                <a:cubicBezTo>
                  <a:pt x="1530672" y="1102424"/>
                  <a:pt x="1501719" y="1131375"/>
                  <a:pt x="1466007" y="1131375"/>
                </a:cubicBezTo>
                <a:cubicBezTo>
                  <a:pt x="1430293" y="1131375"/>
                  <a:pt x="1401343" y="1102424"/>
                  <a:pt x="1401343" y="1066709"/>
                </a:cubicBezTo>
                <a:cubicBezTo>
                  <a:pt x="1401343" y="1030995"/>
                  <a:pt x="1430293" y="1002044"/>
                  <a:pt x="1466007" y="1002044"/>
                </a:cubicBezTo>
                <a:close/>
                <a:moveTo>
                  <a:pt x="1309433" y="1002044"/>
                </a:moveTo>
                <a:cubicBezTo>
                  <a:pt x="1345147" y="1002044"/>
                  <a:pt x="1374099" y="1030995"/>
                  <a:pt x="1374099" y="1066709"/>
                </a:cubicBezTo>
                <a:cubicBezTo>
                  <a:pt x="1374099" y="1102424"/>
                  <a:pt x="1345147" y="1131375"/>
                  <a:pt x="1309433" y="1131375"/>
                </a:cubicBezTo>
                <a:cubicBezTo>
                  <a:pt x="1273720" y="1131375"/>
                  <a:pt x="1244768" y="1102424"/>
                  <a:pt x="1244768" y="1066709"/>
                </a:cubicBezTo>
                <a:cubicBezTo>
                  <a:pt x="1244768" y="1030995"/>
                  <a:pt x="1273720" y="1002044"/>
                  <a:pt x="1309433" y="1002044"/>
                </a:cubicBezTo>
                <a:close/>
                <a:moveTo>
                  <a:pt x="1148949" y="1002044"/>
                </a:moveTo>
                <a:cubicBezTo>
                  <a:pt x="1184663" y="1002044"/>
                  <a:pt x="1213614" y="1030995"/>
                  <a:pt x="1213614" y="1066709"/>
                </a:cubicBezTo>
                <a:cubicBezTo>
                  <a:pt x="1213614" y="1102424"/>
                  <a:pt x="1184663" y="1131375"/>
                  <a:pt x="1148949" y="1131375"/>
                </a:cubicBezTo>
                <a:cubicBezTo>
                  <a:pt x="1113236" y="1131375"/>
                  <a:pt x="1084284" y="1102424"/>
                  <a:pt x="1084284" y="1066709"/>
                </a:cubicBezTo>
                <a:cubicBezTo>
                  <a:pt x="1084284" y="1030995"/>
                  <a:pt x="1113236" y="1002044"/>
                  <a:pt x="1148949" y="1002044"/>
                </a:cubicBezTo>
                <a:close/>
                <a:moveTo>
                  <a:pt x="992376" y="1002044"/>
                </a:moveTo>
                <a:cubicBezTo>
                  <a:pt x="1028090" y="1002044"/>
                  <a:pt x="1057041" y="1030995"/>
                  <a:pt x="1057041" y="1066709"/>
                </a:cubicBezTo>
                <a:cubicBezTo>
                  <a:pt x="1057041" y="1102424"/>
                  <a:pt x="1028090" y="1131375"/>
                  <a:pt x="992376" y="1131375"/>
                </a:cubicBezTo>
                <a:cubicBezTo>
                  <a:pt x="956663" y="1131375"/>
                  <a:pt x="927711" y="1102424"/>
                  <a:pt x="927711" y="1066709"/>
                </a:cubicBezTo>
                <a:cubicBezTo>
                  <a:pt x="927711" y="1030995"/>
                  <a:pt x="956663" y="1002044"/>
                  <a:pt x="992376" y="1002044"/>
                </a:cubicBezTo>
                <a:close/>
                <a:moveTo>
                  <a:pt x="839721" y="1002044"/>
                </a:moveTo>
                <a:cubicBezTo>
                  <a:pt x="875434" y="1002044"/>
                  <a:pt x="904386" y="1030995"/>
                  <a:pt x="904386" y="1066709"/>
                </a:cubicBezTo>
                <a:cubicBezTo>
                  <a:pt x="904386" y="1102424"/>
                  <a:pt x="875434" y="1131375"/>
                  <a:pt x="839721" y="1131375"/>
                </a:cubicBezTo>
                <a:cubicBezTo>
                  <a:pt x="804007" y="1131375"/>
                  <a:pt x="775056" y="1102424"/>
                  <a:pt x="775056" y="1066709"/>
                </a:cubicBezTo>
                <a:cubicBezTo>
                  <a:pt x="775056" y="1030995"/>
                  <a:pt x="804007" y="1002044"/>
                  <a:pt x="839721" y="1002044"/>
                </a:cubicBezTo>
                <a:close/>
                <a:moveTo>
                  <a:pt x="683148" y="1002044"/>
                </a:moveTo>
                <a:cubicBezTo>
                  <a:pt x="718862" y="1002044"/>
                  <a:pt x="747813" y="1030995"/>
                  <a:pt x="747813" y="1066709"/>
                </a:cubicBezTo>
                <a:cubicBezTo>
                  <a:pt x="747813" y="1102424"/>
                  <a:pt x="718862" y="1131375"/>
                  <a:pt x="683148" y="1131375"/>
                </a:cubicBezTo>
                <a:cubicBezTo>
                  <a:pt x="647435" y="1131375"/>
                  <a:pt x="618483" y="1102424"/>
                  <a:pt x="618483" y="1066709"/>
                </a:cubicBezTo>
                <a:cubicBezTo>
                  <a:pt x="618483" y="1030995"/>
                  <a:pt x="647435" y="1002044"/>
                  <a:pt x="683148" y="1002044"/>
                </a:cubicBezTo>
                <a:close/>
                <a:moveTo>
                  <a:pt x="11560917" y="1002040"/>
                </a:moveTo>
                <a:cubicBezTo>
                  <a:pt x="11596631" y="1002040"/>
                  <a:pt x="11625583" y="1030994"/>
                  <a:pt x="11625583" y="1066706"/>
                </a:cubicBezTo>
                <a:cubicBezTo>
                  <a:pt x="11625583" y="1102421"/>
                  <a:pt x="11596631" y="1131374"/>
                  <a:pt x="11560917" y="1131374"/>
                </a:cubicBezTo>
                <a:cubicBezTo>
                  <a:pt x="11525203" y="1131374"/>
                  <a:pt x="11496251" y="1102421"/>
                  <a:pt x="11496251" y="1066706"/>
                </a:cubicBezTo>
                <a:cubicBezTo>
                  <a:pt x="11496251" y="1030994"/>
                  <a:pt x="11525203" y="1002040"/>
                  <a:pt x="11560917" y="1002040"/>
                </a:cubicBezTo>
                <a:close/>
                <a:moveTo>
                  <a:pt x="11404343" y="1002040"/>
                </a:moveTo>
                <a:cubicBezTo>
                  <a:pt x="11440057" y="1002040"/>
                  <a:pt x="11469009" y="1030994"/>
                  <a:pt x="11469009" y="1066706"/>
                </a:cubicBezTo>
                <a:cubicBezTo>
                  <a:pt x="11469009" y="1102421"/>
                  <a:pt x="11440057" y="1131374"/>
                  <a:pt x="11404343" y="1131374"/>
                </a:cubicBezTo>
                <a:cubicBezTo>
                  <a:pt x="11368629" y="1131374"/>
                  <a:pt x="11339677" y="1102421"/>
                  <a:pt x="11339677" y="1066706"/>
                </a:cubicBezTo>
                <a:cubicBezTo>
                  <a:pt x="11339677" y="1030994"/>
                  <a:pt x="11368629" y="1002040"/>
                  <a:pt x="11404343" y="1002040"/>
                </a:cubicBezTo>
                <a:close/>
                <a:moveTo>
                  <a:pt x="11251683" y="1002040"/>
                </a:moveTo>
                <a:cubicBezTo>
                  <a:pt x="11287397" y="1002040"/>
                  <a:pt x="11316349" y="1030994"/>
                  <a:pt x="11316349" y="1066706"/>
                </a:cubicBezTo>
                <a:cubicBezTo>
                  <a:pt x="11316349" y="1102421"/>
                  <a:pt x="11287397" y="1131374"/>
                  <a:pt x="11251683" y="1131374"/>
                </a:cubicBezTo>
                <a:cubicBezTo>
                  <a:pt x="11215969" y="1131374"/>
                  <a:pt x="11187017" y="1102421"/>
                  <a:pt x="11187017" y="1066706"/>
                </a:cubicBezTo>
                <a:cubicBezTo>
                  <a:pt x="11187017" y="1030994"/>
                  <a:pt x="11215969" y="1002040"/>
                  <a:pt x="11251683" y="1002040"/>
                </a:cubicBezTo>
                <a:close/>
                <a:moveTo>
                  <a:pt x="526568" y="1002040"/>
                </a:moveTo>
                <a:cubicBezTo>
                  <a:pt x="562282" y="1002040"/>
                  <a:pt x="591233" y="1030994"/>
                  <a:pt x="591233" y="1066706"/>
                </a:cubicBezTo>
                <a:cubicBezTo>
                  <a:pt x="591233" y="1102421"/>
                  <a:pt x="562282" y="1131374"/>
                  <a:pt x="526568" y="1131374"/>
                </a:cubicBezTo>
                <a:cubicBezTo>
                  <a:pt x="490855" y="1131374"/>
                  <a:pt x="461903" y="1102421"/>
                  <a:pt x="461903" y="1066706"/>
                </a:cubicBezTo>
                <a:cubicBezTo>
                  <a:pt x="461903" y="1030994"/>
                  <a:pt x="490855" y="1002040"/>
                  <a:pt x="526568" y="1002040"/>
                </a:cubicBezTo>
                <a:close/>
                <a:moveTo>
                  <a:pt x="373912" y="1002040"/>
                </a:moveTo>
                <a:cubicBezTo>
                  <a:pt x="409626" y="1002040"/>
                  <a:pt x="438577" y="1030994"/>
                  <a:pt x="438577" y="1066706"/>
                </a:cubicBezTo>
                <a:cubicBezTo>
                  <a:pt x="438577" y="1102421"/>
                  <a:pt x="409626" y="1131374"/>
                  <a:pt x="373912" y="1131374"/>
                </a:cubicBezTo>
                <a:cubicBezTo>
                  <a:pt x="338199" y="1131374"/>
                  <a:pt x="309247" y="1102421"/>
                  <a:pt x="309247" y="1066706"/>
                </a:cubicBezTo>
                <a:cubicBezTo>
                  <a:pt x="309247" y="1030994"/>
                  <a:pt x="338199" y="1002040"/>
                  <a:pt x="373912" y="1002040"/>
                </a:cubicBezTo>
                <a:close/>
                <a:moveTo>
                  <a:pt x="217342" y="1002040"/>
                </a:moveTo>
                <a:cubicBezTo>
                  <a:pt x="253055" y="1002040"/>
                  <a:pt x="282007" y="1030994"/>
                  <a:pt x="282007" y="1066706"/>
                </a:cubicBezTo>
                <a:cubicBezTo>
                  <a:pt x="282007" y="1102421"/>
                  <a:pt x="253055" y="1131374"/>
                  <a:pt x="217342" y="1131374"/>
                </a:cubicBezTo>
                <a:cubicBezTo>
                  <a:pt x="181628" y="1131374"/>
                  <a:pt x="152676" y="1102421"/>
                  <a:pt x="152676" y="1066706"/>
                </a:cubicBezTo>
                <a:cubicBezTo>
                  <a:pt x="152676" y="1030994"/>
                  <a:pt x="181628" y="1002040"/>
                  <a:pt x="217342" y="1002040"/>
                </a:cubicBezTo>
                <a:close/>
                <a:moveTo>
                  <a:pt x="992384" y="849416"/>
                </a:moveTo>
                <a:cubicBezTo>
                  <a:pt x="1028098" y="849416"/>
                  <a:pt x="1057050" y="878368"/>
                  <a:pt x="1057050" y="914081"/>
                </a:cubicBezTo>
                <a:cubicBezTo>
                  <a:pt x="1057050" y="949766"/>
                  <a:pt x="1028098" y="978717"/>
                  <a:pt x="992384" y="978717"/>
                </a:cubicBezTo>
                <a:cubicBezTo>
                  <a:pt x="956671" y="978717"/>
                  <a:pt x="927719" y="949766"/>
                  <a:pt x="927719" y="914081"/>
                </a:cubicBezTo>
                <a:cubicBezTo>
                  <a:pt x="927719" y="878368"/>
                  <a:pt x="956671" y="849416"/>
                  <a:pt x="992384" y="849416"/>
                </a:cubicBezTo>
                <a:close/>
                <a:moveTo>
                  <a:pt x="839729" y="849416"/>
                </a:moveTo>
                <a:cubicBezTo>
                  <a:pt x="875442" y="849416"/>
                  <a:pt x="904394" y="878368"/>
                  <a:pt x="904394" y="914081"/>
                </a:cubicBezTo>
                <a:cubicBezTo>
                  <a:pt x="904394" y="949766"/>
                  <a:pt x="875442" y="978717"/>
                  <a:pt x="839729" y="978717"/>
                </a:cubicBezTo>
                <a:cubicBezTo>
                  <a:pt x="804016" y="978717"/>
                  <a:pt x="775064" y="949766"/>
                  <a:pt x="775064" y="914081"/>
                </a:cubicBezTo>
                <a:cubicBezTo>
                  <a:pt x="775064" y="878368"/>
                  <a:pt x="804016" y="849416"/>
                  <a:pt x="839729" y="849416"/>
                </a:cubicBezTo>
                <a:close/>
                <a:moveTo>
                  <a:pt x="683158" y="849416"/>
                </a:moveTo>
                <a:cubicBezTo>
                  <a:pt x="718872" y="849416"/>
                  <a:pt x="747824" y="878368"/>
                  <a:pt x="747824" y="914081"/>
                </a:cubicBezTo>
                <a:cubicBezTo>
                  <a:pt x="747824" y="949766"/>
                  <a:pt x="718872" y="978717"/>
                  <a:pt x="683158" y="978717"/>
                </a:cubicBezTo>
                <a:cubicBezTo>
                  <a:pt x="647445" y="978717"/>
                  <a:pt x="618493" y="949766"/>
                  <a:pt x="618493" y="914081"/>
                </a:cubicBezTo>
                <a:cubicBezTo>
                  <a:pt x="618493" y="878368"/>
                  <a:pt x="647445" y="849416"/>
                  <a:pt x="683158" y="849416"/>
                </a:cubicBezTo>
                <a:close/>
                <a:moveTo>
                  <a:pt x="7677904" y="849415"/>
                </a:moveTo>
                <a:cubicBezTo>
                  <a:pt x="7713618" y="849415"/>
                  <a:pt x="7742570" y="878366"/>
                  <a:pt x="7742570" y="914080"/>
                </a:cubicBezTo>
                <a:cubicBezTo>
                  <a:pt x="7742570" y="949766"/>
                  <a:pt x="7713618" y="978717"/>
                  <a:pt x="7677904" y="978717"/>
                </a:cubicBezTo>
                <a:cubicBezTo>
                  <a:pt x="7642190" y="978717"/>
                  <a:pt x="7613238" y="949766"/>
                  <a:pt x="7613238" y="914080"/>
                </a:cubicBezTo>
                <a:cubicBezTo>
                  <a:pt x="7613238" y="878366"/>
                  <a:pt x="7642190" y="849415"/>
                  <a:pt x="7677904" y="849415"/>
                </a:cubicBezTo>
                <a:close/>
                <a:moveTo>
                  <a:pt x="7521331" y="849415"/>
                </a:moveTo>
                <a:cubicBezTo>
                  <a:pt x="7557045" y="849415"/>
                  <a:pt x="7585997" y="878366"/>
                  <a:pt x="7585997" y="914080"/>
                </a:cubicBezTo>
                <a:cubicBezTo>
                  <a:pt x="7585997" y="949766"/>
                  <a:pt x="7557045" y="978717"/>
                  <a:pt x="7521331" y="978717"/>
                </a:cubicBezTo>
                <a:cubicBezTo>
                  <a:pt x="7485617" y="978717"/>
                  <a:pt x="7456665" y="949766"/>
                  <a:pt x="7456665" y="914080"/>
                </a:cubicBezTo>
                <a:cubicBezTo>
                  <a:pt x="7456665" y="878366"/>
                  <a:pt x="7485617" y="849415"/>
                  <a:pt x="7521331" y="849415"/>
                </a:cubicBezTo>
                <a:close/>
                <a:moveTo>
                  <a:pt x="7368669" y="849415"/>
                </a:moveTo>
                <a:cubicBezTo>
                  <a:pt x="7404383" y="849415"/>
                  <a:pt x="7433335" y="878366"/>
                  <a:pt x="7433335" y="914080"/>
                </a:cubicBezTo>
                <a:cubicBezTo>
                  <a:pt x="7433335" y="949766"/>
                  <a:pt x="7404383" y="978717"/>
                  <a:pt x="7368669" y="978717"/>
                </a:cubicBezTo>
                <a:cubicBezTo>
                  <a:pt x="7332955" y="978717"/>
                  <a:pt x="7304003" y="949766"/>
                  <a:pt x="7304003" y="914080"/>
                </a:cubicBezTo>
                <a:cubicBezTo>
                  <a:pt x="7304003" y="878366"/>
                  <a:pt x="7332955" y="849415"/>
                  <a:pt x="7368669" y="849415"/>
                </a:cubicBezTo>
                <a:close/>
                <a:moveTo>
                  <a:pt x="7212096" y="849415"/>
                </a:moveTo>
                <a:cubicBezTo>
                  <a:pt x="7247810" y="849415"/>
                  <a:pt x="7276762" y="878366"/>
                  <a:pt x="7276762" y="914080"/>
                </a:cubicBezTo>
                <a:cubicBezTo>
                  <a:pt x="7276762" y="949766"/>
                  <a:pt x="7247810" y="978717"/>
                  <a:pt x="7212096" y="978717"/>
                </a:cubicBezTo>
                <a:cubicBezTo>
                  <a:pt x="7176382" y="978717"/>
                  <a:pt x="7147430" y="949766"/>
                  <a:pt x="7147430" y="914080"/>
                </a:cubicBezTo>
                <a:cubicBezTo>
                  <a:pt x="7147430" y="878366"/>
                  <a:pt x="7176382" y="849415"/>
                  <a:pt x="7212096" y="849415"/>
                </a:cubicBezTo>
                <a:close/>
                <a:moveTo>
                  <a:pt x="6585804" y="849415"/>
                </a:moveTo>
                <a:cubicBezTo>
                  <a:pt x="6621518" y="849415"/>
                  <a:pt x="6650470" y="878366"/>
                  <a:pt x="6650470" y="914080"/>
                </a:cubicBezTo>
                <a:cubicBezTo>
                  <a:pt x="6650470" y="949766"/>
                  <a:pt x="6621518" y="978717"/>
                  <a:pt x="6585804" y="978717"/>
                </a:cubicBezTo>
                <a:cubicBezTo>
                  <a:pt x="6550090" y="978717"/>
                  <a:pt x="6521138" y="949766"/>
                  <a:pt x="6521138" y="914080"/>
                </a:cubicBezTo>
                <a:cubicBezTo>
                  <a:pt x="6521138" y="878366"/>
                  <a:pt x="6550090" y="849415"/>
                  <a:pt x="6585804" y="849415"/>
                </a:cubicBezTo>
                <a:close/>
                <a:moveTo>
                  <a:pt x="6429229" y="849415"/>
                </a:moveTo>
                <a:cubicBezTo>
                  <a:pt x="6464943" y="849415"/>
                  <a:pt x="6493895" y="878366"/>
                  <a:pt x="6493895" y="914080"/>
                </a:cubicBezTo>
                <a:cubicBezTo>
                  <a:pt x="6493895" y="949766"/>
                  <a:pt x="6464943" y="978717"/>
                  <a:pt x="6429229" y="978717"/>
                </a:cubicBezTo>
                <a:cubicBezTo>
                  <a:pt x="6393515" y="978717"/>
                  <a:pt x="6364563" y="949766"/>
                  <a:pt x="6364563" y="914080"/>
                </a:cubicBezTo>
                <a:cubicBezTo>
                  <a:pt x="6364563" y="878366"/>
                  <a:pt x="6393515" y="849415"/>
                  <a:pt x="6429229" y="849415"/>
                </a:cubicBezTo>
                <a:close/>
                <a:moveTo>
                  <a:pt x="6276571" y="849415"/>
                </a:moveTo>
                <a:cubicBezTo>
                  <a:pt x="6312285" y="849415"/>
                  <a:pt x="6341237" y="878366"/>
                  <a:pt x="6341237" y="914080"/>
                </a:cubicBezTo>
                <a:cubicBezTo>
                  <a:pt x="6341237" y="949766"/>
                  <a:pt x="6312285" y="978717"/>
                  <a:pt x="6276571" y="978717"/>
                </a:cubicBezTo>
                <a:cubicBezTo>
                  <a:pt x="6240857" y="978717"/>
                  <a:pt x="6211905" y="949766"/>
                  <a:pt x="6211905" y="914080"/>
                </a:cubicBezTo>
                <a:cubicBezTo>
                  <a:pt x="6211905" y="878366"/>
                  <a:pt x="6240857" y="849415"/>
                  <a:pt x="6276571" y="849415"/>
                </a:cubicBezTo>
                <a:close/>
                <a:moveTo>
                  <a:pt x="6119999" y="849415"/>
                </a:moveTo>
                <a:cubicBezTo>
                  <a:pt x="6155713" y="849415"/>
                  <a:pt x="6184665" y="878366"/>
                  <a:pt x="6184665" y="914080"/>
                </a:cubicBezTo>
                <a:cubicBezTo>
                  <a:pt x="6184665" y="949766"/>
                  <a:pt x="6155713" y="978717"/>
                  <a:pt x="6119999" y="978717"/>
                </a:cubicBezTo>
                <a:cubicBezTo>
                  <a:pt x="6084285" y="978717"/>
                  <a:pt x="6055333" y="949766"/>
                  <a:pt x="6055333" y="914080"/>
                </a:cubicBezTo>
                <a:cubicBezTo>
                  <a:pt x="6055333" y="878366"/>
                  <a:pt x="6084285" y="849415"/>
                  <a:pt x="6119999" y="849415"/>
                </a:cubicBezTo>
                <a:close/>
                <a:moveTo>
                  <a:pt x="5967339" y="849415"/>
                </a:moveTo>
                <a:cubicBezTo>
                  <a:pt x="6003053" y="849415"/>
                  <a:pt x="6032005" y="878366"/>
                  <a:pt x="6032005" y="914080"/>
                </a:cubicBezTo>
                <a:cubicBezTo>
                  <a:pt x="6032005" y="949766"/>
                  <a:pt x="6003053" y="978717"/>
                  <a:pt x="5967339" y="978717"/>
                </a:cubicBezTo>
                <a:cubicBezTo>
                  <a:pt x="5931625" y="978717"/>
                  <a:pt x="5902673" y="949766"/>
                  <a:pt x="5902673" y="914080"/>
                </a:cubicBezTo>
                <a:cubicBezTo>
                  <a:pt x="5902673" y="878366"/>
                  <a:pt x="5931625" y="849415"/>
                  <a:pt x="5967339" y="849415"/>
                </a:cubicBezTo>
                <a:close/>
                <a:moveTo>
                  <a:pt x="4566030" y="849415"/>
                </a:moveTo>
                <a:cubicBezTo>
                  <a:pt x="4601751" y="849415"/>
                  <a:pt x="4630712" y="878366"/>
                  <a:pt x="4630712" y="914081"/>
                </a:cubicBezTo>
                <a:cubicBezTo>
                  <a:pt x="4630712" y="949766"/>
                  <a:pt x="4601751" y="978717"/>
                  <a:pt x="4566030" y="978717"/>
                </a:cubicBezTo>
                <a:cubicBezTo>
                  <a:pt x="4530304" y="978717"/>
                  <a:pt x="4501345" y="949766"/>
                  <a:pt x="4501345" y="914081"/>
                </a:cubicBezTo>
                <a:cubicBezTo>
                  <a:pt x="4501345" y="878366"/>
                  <a:pt x="4530304" y="849415"/>
                  <a:pt x="4566030" y="849415"/>
                </a:cubicBezTo>
                <a:close/>
                <a:moveTo>
                  <a:pt x="4409471" y="849415"/>
                </a:moveTo>
                <a:cubicBezTo>
                  <a:pt x="4445169" y="849415"/>
                  <a:pt x="4474113" y="878366"/>
                  <a:pt x="4474113" y="914081"/>
                </a:cubicBezTo>
                <a:cubicBezTo>
                  <a:pt x="4474113" y="949766"/>
                  <a:pt x="4445169" y="978717"/>
                  <a:pt x="4409471" y="978717"/>
                </a:cubicBezTo>
                <a:cubicBezTo>
                  <a:pt x="4373772" y="978717"/>
                  <a:pt x="4344809" y="949766"/>
                  <a:pt x="4344809" y="914081"/>
                </a:cubicBezTo>
                <a:cubicBezTo>
                  <a:pt x="4344809" y="878366"/>
                  <a:pt x="4373772" y="849415"/>
                  <a:pt x="4409471" y="849415"/>
                </a:cubicBezTo>
                <a:close/>
                <a:moveTo>
                  <a:pt x="4256823" y="849415"/>
                </a:moveTo>
                <a:cubicBezTo>
                  <a:pt x="4292543" y="849415"/>
                  <a:pt x="4321471" y="878366"/>
                  <a:pt x="4321471" y="914081"/>
                </a:cubicBezTo>
                <a:cubicBezTo>
                  <a:pt x="4321471" y="949766"/>
                  <a:pt x="4292543" y="978717"/>
                  <a:pt x="4256823" y="978717"/>
                </a:cubicBezTo>
                <a:cubicBezTo>
                  <a:pt x="4221105" y="978717"/>
                  <a:pt x="4192125" y="949766"/>
                  <a:pt x="4192125" y="914081"/>
                </a:cubicBezTo>
                <a:cubicBezTo>
                  <a:pt x="4192125" y="878366"/>
                  <a:pt x="4221105" y="849415"/>
                  <a:pt x="4256823" y="849415"/>
                </a:cubicBezTo>
                <a:close/>
                <a:moveTo>
                  <a:pt x="4100249" y="849415"/>
                </a:moveTo>
                <a:cubicBezTo>
                  <a:pt x="4135950" y="849415"/>
                  <a:pt x="4164920" y="878366"/>
                  <a:pt x="4164920" y="914081"/>
                </a:cubicBezTo>
                <a:cubicBezTo>
                  <a:pt x="4164920" y="949766"/>
                  <a:pt x="4135950" y="978717"/>
                  <a:pt x="4100249" y="978717"/>
                </a:cubicBezTo>
                <a:cubicBezTo>
                  <a:pt x="4064526" y="978717"/>
                  <a:pt x="4035594" y="949766"/>
                  <a:pt x="4035594" y="914081"/>
                </a:cubicBezTo>
                <a:cubicBezTo>
                  <a:pt x="4035594" y="878366"/>
                  <a:pt x="4064526" y="849415"/>
                  <a:pt x="4100249" y="849415"/>
                </a:cubicBezTo>
                <a:close/>
                <a:moveTo>
                  <a:pt x="3947579" y="849415"/>
                </a:moveTo>
                <a:cubicBezTo>
                  <a:pt x="3983297" y="849415"/>
                  <a:pt x="4012257" y="878366"/>
                  <a:pt x="4012257" y="914081"/>
                </a:cubicBezTo>
                <a:cubicBezTo>
                  <a:pt x="4012257" y="949766"/>
                  <a:pt x="3983297" y="978717"/>
                  <a:pt x="3947579" y="978717"/>
                </a:cubicBezTo>
                <a:cubicBezTo>
                  <a:pt x="3911999" y="978717"/>
                  <a:pt x="3883050" y="949766"/>
                  <a:pt x="3883050" y="914081"/>
                </a:cubicBezTo>
                <a:cubicBezTo>
                  <a:pt x="3883050" y="878366"/>
                  <a:pt x="3911999" y="849415"/>
                  <a:pt x="3947579" y="849415"/>
                </a:cubicBezTo>
                <a:close/>
                <a:moveTo>
                  <a:pt x="3321438" y="849415"/>
                </a:moveTo>
                <a:cubicBezTo>
                  <a:pt x="3357150" y="849415"/>
                  <a:pt x="3386080" y="878366"/>
                  <a:pt x="3386080" y="914081"/>
                </a:cubicBezTo>
                <a:cubicBezTo>
                  <a:pt x="3386080" y="949766"/>
                  <a:pt x="3357150" y="978717"/>
                  <a:pt x="3321438" y="978717"/>
                </a:cubicBezTo>
                <a:cubicBezTo>
                  <a:pt x="3285716" y="978717"/>
                  <a:pt x="3256776" y="949766"/>
                  <a:pt x="3256776" y="914081"/>
                </a:cubicBezTo>
                <a:cubicBezTo>
                  <a:pt x="3256776" y="878366"/>
                  <a:pt x="3285716" y="849415"/>
                  <a:pt x="3321438" y="849415"/>
                </a:cubicBezTo>
                <a:close/>
                <a:moveTo>
                  <a:pt x="3172684" y="849415"/>
                </a:moveTo>
                <a:cubicBezTo>
                  <a:pt x="3208407" y="849415"/>
                  <a:pt x="3237355" y="878366"/>
                  <a:pt x="3237355" y="914081"/>
                </a:cubicBezTo>
                <a:cubicBezTo>
                  <a:pt x="3237355" y="949766"/>
                  <a:pt x="3208407" y="978717"/>
                  <a:pt x="3172684" y="978717"/>
                </a:cubicBezTo>
                <a:cubicBezTo>
                  <a:pt x="3136959" y="978717"/>
                  <a:pt x="3107997" y="949766"/>
                  <a:pt x="3107997" y="914081"/>
                </a:cubicBezTo>
                <a:cubicBezTo>
                  <a:pt x="3107997" y="878366"/>
                  <a:pt x="3136959" y="849415"/>
                  <a:pt x="3172684" y="849415"/>
                </a:cubicBezTo>
                <a:close/>
                <a:moveTo>
                  <a:pt x="3012161" y="849415"/>
                </a:moveTo>
                <a:cubicBezTo>
                  <a:pt x="3047872" y="849415"/>
                  <a:pt x="3076833" y="878366"/>
                  <a:pt x="3076833" y="914081"/>
                </a:cubicBezTo>
                <a:cubicBezTo>
                  <a:pt x="3076833" y="949766"/>
                  <a:pt x="3047872" y="978717"/>
                  <a:pt x="3012161" y="978717"/>
                </a:cubicBezTo>
                <a:cubicBezTo>
                  <a:pt x="2976453" y="978717"/>
                  <a:pt x="2947506" y="949766"/>
                  <a:pt x="2947506" y="914081"/>
                </a:cubicBezTo>
                <a:cubicBezTo>
                  <a:pt x="2947506" y="878366"/>
                  <a:pt x="2976453" y="849415"/>
                  <a:pt x="3012161" y="849415"/>
                </a:cubicBezTo>
                <a:close/>
                <a:moveTo>
                  <a:pt x="2855618" y="849415"/>
                </a:moveTo>
                <a:cubicBezTo>
                  <a:pt x="2891321" y="849415"/>
                  <a:pt x="2920269" y="878366"/>
                  <a:pt x="2920269" y="914081"/>
                </a:cubicBezTo>
                <a:cubicBezTo>
                  <a:pt x="2920269" y="949766"/>
                  <a:pt x="2891321" y="978717"/>
                  <a:pt x="2855618" y="978717"/>
                </a:cubicBezTo>
                <a:cubicBezTo>
                  <a:pt x="2819907" y="978717"/>
                  <a:pt x="2790958" y="949766"/>
                  <a:pt x="2790958" y="914081"/>
                </a:cubicBezTo>
                <a:cubicBezTo>
                  <a:pt x="2790958" y="878366"/>
                  <a:pt x="2819907" y="849415"/>
                  <a:pt x="2855618" y="849415"/>
                </a:cubicBezTo>
                <a:close/>
                <a:moveTo>
                  <a:pt x="2699069" y="849415"/>
                </a:moveTo>
                <a:cubicBezTo>
                  <a:pt x="2734777" y="849415"/>
                  <a:pt x="2763723" y="878366"/>
                  <a:pt x="2763723" y="914081"/>
                </a:cubicBezTo>
                <a:cubicBezTo>
                  <a:pt x="2763723" y="949766"/>
                  <a:pt x="2734777" y="978717"/>
                  <a:pt x="2699069" y="978717"/>
                </a:cubicBezTo>
                <a:cubicBezTo>
                  <a:pt x="2663361" y="978717"/>
                  <a:pt x="2634414" y="949766"/>
                  <a:pt x="2634414" y="914081"/>
                </a:cubicBezTo>
                <a:cubicBezTo>
                  <a:pt x="2634414" y="878366"/>
                  <a:pt x="2663361" y="849415"/>
                  <a:pt x="2699069" y="849415"/>
                </a:cubicBezTo>
                <a:close/>
                <a:moveTo>
                  <a:pt x="2546436" y="849415"/>
                </a:moveTo>
                <a:cubicBezTo>
                  <a:pt x="2582142" y="849415"/>
                  <a:pt x="2611091" y="878366"/>
                  <a:pt x="2611091" y="914081"/>
                </a:cubicBezTo>
                <a:cubicBezTo>
                  <a:pt x="2611091" y="949766"/>
                  <a:pt x="2582142" y="978717"/>
                  <a:pt x="2546436" y="978717"/>
                </a:cubicBezTo>
                <a:cubicBezTo>
                  <a:pt x="2510712" y="978717"/>
                  <a:pt x="2481777" y="949766"/>
                  <a:pt x="2481777" y="914081"/>
                </a:cubicBezTo>
                <a:cubicBezTo>
                  <a:pt x="2481777" y="878366"/>
                  <a:pt x="2510712" y="849415"/>
                  <a:pt x="2546436" y="849415"/>
                </a:cubicBezTo>
                <a:close/>
                <a:moveTo>
                  <a:pt x="2389845" y="849415"/>
                </a:moveTo>
                <a:cubicBezTo>
                  <a:pt x="2425594" y="849415"/>
                  <a:pt x="2454543" y="878366"/>
                  <a:pt x="2454543" y="914081"/>
                </a:cubicBezTo>
                <a:cubicBezTo>
                  <a:pt x="2454543" y="949766"/>
                  <a:pt x="2425594" y="978717"/>
                  <a:pt x="2389845" y="978717"/>
                </a:cubicBezTo>
                <a:cubicBezTo>
                  <a:pt x="2354165" y="978717"/>
                  <a:pt x="2325205" y="949766"/>
                  <a:pt x="2325205" y="914081"/>
                </a:cubicBezTo>
                <a:cubicBezTo>
                  <a:pt x="2325205" y="878366"/>
                  <a:pt x="2354165" y="849415"/>
                  <a:pt x="2389845" y="849415"/>
                </a:cubicBezTo>
                <a:close/>
                <a:moveTo>
                  <a:pt x="2237181" y="849415"/>
                </a:moveTo>
                <a:cubicBezTo>
                  <a:pt x="2272906" y="849415"/>
                  <a:pt x="2301870" y="878366"/>
                  <a:pt x="2301870" y="914081"/>
                </a:cubicBezTo>
                <a:cubicBezTo>
                  <a:pt x="2301870" y="949766"/>
                  <a:pt x="2272906" y="978717"/>
                  <a:pt x="2237181" y="978717"/>
                </a:cubicBezTo>
                <a:cubicBezTo>
                  <a:pt x="2201458" y="978717"/>
                  <a:pt x="2172494" y="949766"/>
                  <a:pt x="2172494" y="914081"/>
                </a:cubicBezTo>
                <a:cubicBezTo>
                  <a:pt x="2172494" y="878366"/>
                  <a:pt x="2201458" y="849415"/>
                  <a:pt x="2237181" y="849415"/>
                </a:cubicBezTo>
                <a:close/>
                <a:moveTo>
                  <a:pt x="2084492" y="849415"/>
                </a:moveTo>
                <a:cubicBezTo>
                  <a:pt x="2120215" y="849415"/>
                  <a:pt x="2149161" y="878366"/>
                  <a:pt x="2149161" y="914081"/>
                </a:cubicBezTo>
                <a:cubicBezTo>
                  <a:pt x="2149161" y="949766"/>
                  <a:pt x="2120215" y="978717"/>
                  <a:pt x="2084492" y="978717"/>
                </a:cubicBezTo>
                <a:cubicBezTo>
                  <a:pt x="2048764" y="978717"/>
                  <a:pt x="2019859" y="949766"/>
                  <a:pt x="2019859" y="914081"/>
                </a:cubicBezTo>
                <a:cubicBezTo>
                  <a:pt x="2019859" y="878366"/>
                  <a:pt x="2048764" y="849415"/>
                  <a:pt x="2084492" y="849415"/>
                </a:cubicBezTo>
                <a:close/>
                <a:moveTo>
                  <a:pt x="1927912" y="849415"/>
                </a:moveTo>
                <a:cubicBezTo>
                  <a:pt x="1963627" y="849415"/>
                  <a:pt x="1992599" y="878366"/>
                  <a:pt x="1992599" y="914081"/>
                </a:cubicBezTo>
                <a:cubicBezTo>
                  <a:pt x="1992599" y="949766"/>
                  <a:pt x="1963627" y="978717"/>
                  <a:pt x="1927912" y="978717"/>
                </a:cubicBezTo>
                <a:cubicBezTo>
                  <a:pt x="1892231" y="978717"/>
                  <a:pt x="1863278" y="949766"/>
                  <a:pt x="1863278" y="914081"/>
                </a:cubicBezTo>
                <a:cubicBezTo>
                  <a:pt x="1863278" y="878366"/>
                  <a:pt x="1892231" y="849415"/>
                  <a:pt x="1927912" y="849415"/>
                </a:cubicBezTo>
                <a:close/>
                <a:moveTo>
                  <a:pt x="1775257" y="849415"/>
                </a:moveTo>
                <a:cubicBezTo>
                  <a:pt x="1810960" y="849415"/>
                  <a:pt x="1839946" y="878366"/>
                  <a:pt x="1839946" y="914081"/>
                </a:cubicBezTo>
                <a:cubicBezTo>
                  <a:pt x="1839946" y="949766"/>
                  <a:pt x="1810960" y="978717"/>
                  <a:pt x="1775257" y="978717"/>
                </a:cubicBezTo>
                <a:cubicBezTo>
                  <a:pt x="1739536" y="978717"/>
                  <a:pt x="1710583" y="949766"/>
                  <a:pt x="1710583" y="914081"/>
                </a:cubicBezTo>
                <a:cubicBezTo>
                  <a:pt x="1710583" y="878366"/>
                  <a:pt x="1739536" y="849415"/>
                  <a:pt x="1775257" y="849415"/>
                </a:cubicBezTo>
                <a:close/>
                <a:moveTo>
                  <a:pt x="1618671" y="849415"/>
                </a:moveTo>
                <a:cubicBezTo>
                  <a:pt x="1654394" y="849415"/>
                  <a:pt x="1683342" y="878366"/>
                  <a:pt x="1683342" y="914081"/>
                </a:cubicBezTo>
                <a:cubicBezTo>
                  <a:pt x="1683342" y="949766"/>
                  <a:pt x="1654394" y="978717"/>
                  <a:pt x="1618671" y="978717"/>
                </a:cubicBezTo>
                <a:cubicBezTo>
                  <a:pt x="1582962" y="978717"/>
                  <a:pt x="1554009" y="949766"/>
                  <a:pt x="1554009" y="914081"/>
                </a:cubicBezTo>
                <a:cubicBezTo>
                  <a:pt x="1554009" y="878366"/>
                  <a:pt x="1582962" y="849415"/>
                  <a:pt x="1618671" y="849415"/>
                </a:cubicBezTo>
                <a:close/>
                <a:moveTo>
                  <a:pt x="1466016" y="849415"/>
                </a:moveTo>
                <a:cubicBezTo>
                  <a:pt x="1501729" y="849415"/>
                  <a:pt x="1530681" y="878366"/>
                  <a:pt x="1530681" y="914081"/>
                </a:cubicBezTo>
                <a:cubicBezTo>
                  <a:pt x="1530681" y="949766"/>
                  <a:pt x="1501729" y="978717"/>
                  <a:pt x="1466016" y="978717"/>
                </a:cubicBezTo>
                <a:cubicBezTo>
                  <a:pt x="1430302" y="978717"/>
                  <a:pt x="1401353" y="949766"/>
                  <a:pt x="1401353" y="914081"/>
                </a:cubicBezTo>
                <a:cubicBezTo>
                  <a:pt x="1401353" y="878366"/>
                  <a:pt x="1430302" y="849415"/>
                  <a:pt x="1466016" y="849415"/>
                </a:cubicBezTo>
                <a:close/>
                <a:moveTo>
                  <a:pt x="1309444" y="849415"/>
                </a:moveTo>
                <a:cubicBezTo>
                  <a:pt x="1345157" y="849415"/>
                  <a:pt x="1374109" y="878366"/>
                  <a:pt x="1374109" y="914081"/>
                </a:cubicBezTo>
                <a:cubicBezTo>
                  <a:pt x="1374109" y="949766"/>
                  <a:pt x="1345157" y="978717"/>
                  <a:pt x="1309444" y="978717"/>
                </a:cubicBezTo>
                <a:cubicBezTo>
                  <a:pt x="1273729" y="978717"/>
                  <a:pt x="1244778" y="949766"/>
                  <a:pt x="1244778" y="914081"/>
                </a:cubicBezTo>
                <a:cubicBezTo>
                  <a:pt x="1244778" y="878366"/>
                  <a:pt x="1273729" y="849415"/>
                  <a:pt x="1309444" y="849415"/>
                </a:cubicBezTo>
                <a:close/>
                <a:moveTo>
                  <a:pt x="1148959" y="849415"/>
                </a:moveTo>
                <a:cubicBezTo>
                  <a:pt x="1184673" y="849415"/>
                  <a:pt x="1213624" y="878366"/>
                  <a:pt x="1213624" y="914081"/>
                </a:cubicBezTo>
                <a:cubicBezTo>
                  <a:pt x="1213624" y="949766"/>
                  <a:pt x="1184673" y="978717"/>
                  <a:pt x="1148959" y="978717"/>
                </a:cubicBezTo>
                <a:cubicBezTo>
                  <a:pt x="1113245" y="978717"/>
                  <a:pt x="1084294" y="949766"/>
                  <a:pt x="1084294" y="914081"/>
                </a:cubicBezTo>
                <a:cubicBezTo>
                  <a:pt x="1084294" y="878366"/>
                  <a:pt x="1113245" y="849415"/>
                  <a:pt x="1148959" y="849415"/>
                </a:cubicBezTo>
                <a:close/>
                <a:moveTo>
                  <a:pt x="10625392" y="849414"/>
                </a:moveTo>
                <a:cubicBezTo>
                  <a:pt x="10661106" y="849414"/>
                  <a:pt x="10690058" y="878365"/>
                  <a:pt x="10690058" y="914079"/>
                </a:cubicBezTo>
                <a:cubicBezTo>
                  <a:pt x="10690058" y="949766"/>
                  <a:pt x="10661106" y="978717"/>
                  <a:pt x="10625392" y="978717"/>
                </a:cubicBezTo>
                <a:cubicBezTo>
                  <a:pt x="10589678" y="978717"/>
                  <a:pt x="10560726" y="949766"/>
                  <a:pt x="10560726" y="914079"/>
                </a:cubicBezTo>
                <a:cubicBezTo>
                  <a:pt x="10560726" y="878365"/>
                  <a:pt x="10589678" y="849414"/>
                  <a:pt x="10625392" y="849414"/>
                </a:cubicBezTo>
                <a:close/>
                <a:moveTo>
                  <a:pt x="10468818" y="849414"/>
                </a:moveTo>
                <a:cubicBezTo>
                  <a:pt x="10504532" y="849414"/>
                  <a:pt x="10533484" y="878365"/>
                  <a:pt x="10533484" y="914079"/>
                </a:cubicBezTo>
                <a:cubicBezTo>
                  <a:pt x="10533484" y="949766"/>
                  <a:pt x="10504532" y="978717"/>
                  <a:pt x="10468818" y="978717"/>
                </a:cubicBezTo>
                <a:cubicBezTo>
                  <a:pt x="10433104" y="978717"/>
                  <a:pt x="10404152" y="949766"/>
                  <a:pt x="10404152" y="914079"/>
                </a:cubicBezTo>
                <a:cubicBezTo>
                  <a:pt x="10404152" y="878365"/>
                  <a:pt x="10433104" y="849414"/>
                  <a:pt x="10468818" y="849414"/>
                </a:cubicBezTo>
                <a:close/>
                <a:moveTo>
                  <a:pt x="10312244" y="849414"/>
                </a:moveTo>
                <a:cubicBezTo>
                  <a:pt x="10347958" y="849414"/>
                  <a:pt x="10376910" y="878365"/>
                  <a:pt x="10376910" y="914079"/>
                </a:cubicBezTo>
                <a:cubicBezTo>
                  <a:pt x="10376910" y="949766"/>
                  <a:pt x="10347958" y="978717"/>
                  <a:pt x="10312244" y="978717"/>
                </a:cubicBezTo>
                <a:cubicBezTo>
                  <a:pt x="10276530" y="978717"/>
                  <a:pt x="10247578" y="949766"/>
                  <a:pt x="10247578" y="914079"/>
                </a:cubicBezTo>
                <a:cubicBezTo>
                  <a:pt x="10247578" y="878365"/>
                  <a:pt x="10276530" y="849414"/>
                  <a:pt x="10312244" y="849414"/>
                </a:cubicBezTo>
                <a:close/>
                <a:moveTo>
                  <a:pt x="10159586" y="849414"/>
                </a:moveTo>
                <a:cubicBezTo>
                  <a:pt x="10195300" y="849414"/>
                  <a:pt x="10224252" y="878365"/>
                  <a:pt x="10224252" y="914079"/>
                </a:cubicBezTo>
                <a:cubicBezTo>
                  <a:pt x="10224252" y="949766"/>
                  <a:pt x="10195300" y="978717"/>
                  <a:pt x="10159586" y="978717"/>
                </a:cubicBezTo>
                <a:cubicBezTo>
                  <a:pt x="10123872" y="978717"/>
                  <a:pt x="10094920" y="949766"/>
                  <a:pt x="10094920" y="914079"/>
                </a:cubicBezTo>
                <a:cubicBezTo>
                  <a:pt x="10094920" y="878365"/>
                  <a:pt x="10123872" y="849414"/>
                  <a:pt x="10159586" y="849414"/>
                </a:cubicBezTo>
                <a:close/>
                <a:moveTo>
                  <a:pt x="10003016" y="849414"/>
                </a:moveTo>
                <a:cubicBezTo>
                  <a:pt x="10038730" y="849414"/>
                  <a:pt x="10067682" y="878365"/>
                  <a:pt x="10067682" y="914079"/>
                </a:cubicBezTo>
                <a:cubicBezTo>
                  <a:pt x="10067682" y="949766"/>
                  <a:pt x="10038730" y="978717"/>
                  <a:pt x="10003016" y="978717"/>
                </a:cubicBezTo>
                <a:cubicBezTo>
                  <a:pt x="9967302" y="978717"/>
                  <a:pt x="9938350" y="949766"/>
                  <a:pt x="9938350" y="914079"/>
                </a:cubicBezTo>
                <a:cubicBezTo>
                  <a:pt x="9938350" y="878365"/>
                  <a:pt x="9967302" y="849414"/>
                  <a:pt x="10003016" y="849414"/>
                </a:cubicBezTo>
                <a:close/>
                <a:moveTo>
                  <a:pt x="9850358" y="849414"/>
                </a:moveTo>
                <a:cubicBezTo>
                  <a:pt x="9886072" y="849414"/>
                  <a:pt x="9915024" y="878365"/>
                  <a:pt x="9915024" y="914079"/>
                </a:cubicBezTo>
                <a:cubicBezTo>
                  <a:pt x="9915024" y="949766"/>
                  <a:pt x="9886072" y="978717"/>
                  <a:pt x="9850358" y="978717"/>
                </a:cubicBezTo>
                <a:cubicBezTo>
                  <a:pt x="9814644" y="978717"/>
                  <a:pt x="9785692" y="949766"/>
                  <a:pt x="9785692" y="914079"/>
                </a:cubicBezTo>
                <a:cubicBezTo>
                  <a:pt x="9785692" y="878365"/>
                  <a:pt x="9814644" y="849414"/>
                  <a:pt x="9850358" y="849414"/>
                </a:cubicBezTo>
                <a:close/>
                <a:moveTo>
                  <a:pt x="9693783" y="849414"/>
                </a:moveTo>
                <a:cubicBezTo>
                  <a:pt x="9729497" y="849414"/>
                  <a:pt x="9758449" y="878365"/>
                  <a:pt x="9758449" y="914079"/>
                </a:cubicBezTo>
                <a:cubicBezTo>
                  <a:pt x="9758449" y="949766"/>
                  <a:pt x="9729497" y="978717"/>
                  <a:pt x="9693783" y="978717"/>
                </a:cubicBezTo>
                <a:cubicBezTo>
                  <a:pt x="9658069" y="978717"/>
                  <a:pt x="9629117" y="949766"/>
                  <a:pt x="9629117" y="914079"/>
                </a:cubicBezTo>
                <a:cubicBezTo>
                  <a:pt x="9629117" y="878365"/>
                  <a:pt x="9658069" y="849414"/>
                  <a:pt x="9693783" y="849414"/>
                </a:cubicBezTo>
                <a:close/>
                <a:moveTo>
                  <a:pt x="9541123" y="849414"/>
                </a:moveTo>
                <a:cubicBezTo>
                  <a:pt x="9576837" y="849414"/>
                  <a:pt x="9605789" y="878365"/>
                  <a:pt x="9605789" y="914079"/>
                </a:cubicBezTo>
                <a:cubicBezTo>
                  <a:pt x="9605789" y="949766"/>
                  <a:pt x="9576837" y="978717"/>
                  <a:pt x="9541123" y="978717"/>
                </a:cubicBezTo>
                <a:cubicBezTo>
                  <a:pt x="9505409" y="978717"/>
                  <a:pt x="9476457" y="949766"/>
                  <a:pt x="9476457" y="914079"/>
                </a:cubicBezTo>
                <a:cubicBezTo>
                  <a:pt x="9476457" y="878365"/>
                  <a:pt x="9505409" y="849414"/>
                  <a:pt x="9541123" y="849414"/>
                </a:cubicBezTo>
                <a:close/>
                <a:moveTo>
                  <a:pt x="9384550" y="849414"/>
                </a:moveTo>
                <a:cubicBezTo>
                  <a:pt x="9420264" y="849414"/>
                  <a:pt x="9449216" y="878365"/>
                  <a:pt x="9449216" y="914079"/>
                </a:cubicBezTo>
                <a:cubicBezTo>
                  <a:pt x="9449216" y="949766"/>
                  <a:pt x="9420264" y="978717"/>
                  <a:pt x="9384550" y="978717"/>
                </a:cubicBezTo>
                <a:cubicBezTo>
                  <a:pt x="9348836" y="978717"/>
                  <a:pt x="9319884" y="949766"/>
                  <a:pt x="9319884" y="914079"/>
                </a:cubicBezTo>
                <a:cubicBezTo>
                  <a:pt x="9319884" y="878365"/>
                  <a:pt x="9348836" y="849414"/>
                  <a:pt x="9384550" y="849414"/>
                </a:cubicBezTo>
                <a:close/>
                <a:moveTo>
                  <a:pt x="9227977" y="849414"/>
                </a:moveTo>
                <a:cubicBezTo>
                  <a:pt x="9263691" y="849414"/>
                  <a:pt x="9292643" y="878365"/>
                  <a:pt x="9292643" y="914079"/>
                </a:cubicBezTo>
                <a:cubicBezTo>
                  <a:pt x="9292643" y="949766"/>
                  <a:pt x="9263691" y="978717"/>
                  <a:pt x="9227977" y="978717"/>
                </a:cubicBezTo>
                <a:cubicBezTo>
                  <a:pt x="9192263" y="978717"/>
                  <a:pt x="9163311" y="949766"/>
                  <a:pt x="9163311" y="914079"/>
                </a:cubicBezTo>
                <a:cubicBezTo>
                  <a:pt x="9163311" y="878365"/>
                  <a:pt x="9192263" y="849414"/>
                  <a:pt x="9227977" y="849414"/>
                </a:cubicBezTo>
                <a:close/>
                <a:moveTo>
                  <a:pt x="9075319" y="849414"/>
                </a:moveTo>
                <a:cubicBezTo>
                  <a:pt x="9111033" y="849414"/>
                  <a:pt x="9139985" y="878365"/>
                  <a:pt x="9139985" y="914079"/>
                </a:cubicBezTo>
                <a:cubicBezTo>
                  <a:pt x="9139985" y="949766"/>
                  <a:pt x="9111033" y="978717"/>
                  <a:pt x="9075319" y="978717"/>
                </a:cubicBezTo>
                <a:cubicBezTo>
                  <a:pt x="9039605" y="978717"/>
                  <a:pt x="9010653" y="949766"/>
                  <a:pt x="9010653" y="914079"/>
                </a:cubicBezTo>
                <a:cubicBezTo>
                  <a:pt x="9010653" y="878365"/>
                  <a:pt x="9039605" y="849414"/>
                  <a:pt x="9075319" y="849414"/>
                </a:cubicBezTo>
                <a:close/>
                <a:moveTo>
                  <a:pt x="8914831" y="849414"/>
                </a:moveTo>
                <a:cubicBezTo>
                  <a:pt x="8950545" y="849414"/>
                  <a:pt x="8979497" y="878365"/>
                  <a:pt x="8979497" y="914079"/>
                </a:cubicBezTo>
                <a:cubicBezTo>
                  <a:pt x="8979497" y="949766"/>
                  <a:pt x="8950545" y="978717"/>
                  <a:pt x="8914831" y="978717"/>
                </a:cubicBezTo>
                <a:cubicBezTo>
                  <a:pt x="8879117" y="978717"/>
                  <a:pt x="8850165" y="949766"/>
                  <a:pt x="8850165" y="914079"/>
                </a:cubicBezTo>
                <a:cubicBezTo>
                  <a:pt x="8850165" y="878365"/>
                  <a:pt x="8879117" y="849414"/>
                  <a:pt x="8914831" y="849414"/>
                </a:cubicBezTo>
                <a:close/>
                <a:moveTo>
                  <a:pt x="8766086" y="849414"/>
                </a:moveTo>
                <a:cubicBezTo>
                  <a:pt x="8801800" y="849414"/>
                  <a:pt x="8830752" y="878366"/>
                  <a:pt x="8830752" y="914079"/>
                </a:cubicBezTo>
                <a:cubicBezTo>
                  <a:pt x="8830752" y="949766"/>
                  <a:pt x="8801800" y="978717"/>
                  <a:pt x="8766086" y="978717"/>
                </a:cubicBezTo>
                <a:cubicBezTo>
                  <a:pt x="8730372" y="978717"/>
                  <a:pt x="8701420" y="949766"/>
                  <a:pt x="8701420" y="914079"/>
                </a:cubicBezTo>
                <a:cubicBezTo>
                  <a:pt x="8701420" y="878366"/>
                  <a:pt x="8730372" y="849414"/>
                  <a:pt x="8766086" y="849414"/>
                </a:cubicBezTo>
                <a:close/>
                <a:moveTo>
                  <a:pt x="8601683" y="849414"/>
                </a:moveTo>
                <a:cubicBezTo>
                  <a:pt x="8637397" y="849414"/>
                  <a:pt x="8666349" y="878366"/>
                  <a:pt x="8666349" y="914079"/>
                </a:cubicBezTo>
                <a:cubicBezTo>
                  <a:pt x="8666349" y="949766"/>
                  <a:pt x="8637397" y="978717"/>
                  <a:pt x="8601683" y="978717"/>
                </a:cubicBezTo>
                <a:cubicBezTo>
                  <a:pt x="8565969" y="978717"/>
                  <a:pt x="8537017" y="949766"/>
                  <a:pt x="8537017" y="914079"/>
                </a:cubicBezTo>
                <a:cubicBezTo>
                  <a:pt x="8537017" y="878366"/>
                  <a:pt x="8565969" y="849414"/>
                  <a:pt x="8601683" y="849414"/>
                </a:cubicBezTo>
                <a:close/>
                <a:moveTo>
                  <a:pt x="8449025" y="849414"/>
                </a:moveTo>
                <a:cubicBezTo>
                  <a:pt x="8484739" y="849414"/>
                  <a:pt x="8513691" y="878366"/>
                  <a:pt x="8513691" y="914079"/>
                </a:cubicBezTo>
                <a:cubicBezTo>
                  <a:pt x="8513691" y="949766"/>
                  <a:pt x="8484739" y="978717"/>
                  <a:pt x="8449025" y="978717"/>
                </a:cubicBezTo>
                <a:cubicBezTo>
                  <a:pt x="8413311" y="978717"/>
                  <a:pt x="8384359" y="949766"/>
                  <a:pt x="8384359" y="914079"/>
                </a:cubicBezTo>
                <a:cubicBezTo>
                  <a:pt x="8384359" y="878366"/>
                  <a:pt x="8413311" y="849414"/>
                  <a:pt x="8449025" y="849414"/>
                </a:cubicBezTo>
                <a:close/>
                <a:moveTo>
                  <a:pt x="8296368" y="849414"/>
                </a:moveTo>
                <a:cubicBezTo>
                  <a:pt x="8332082" y="849414"/>
                  <a:pt x="8361034" y="878366"/>
                  <a:pt x="8361034" y="914079"/>
                </a:cubicBezTo>
                <a:cubicBezTo>
                  <a:pt x="8361034" y="949766"/>
                  <a:pt x="8332082" y="978717"/>
                  <a:pt x="8296368" y="978717"/>
                </a:cubicBezTo>
                <a:cubicBezTo>
                  <a:pt x="8260654" y="978717"/>
                  <a:pt x="8231702" y="949766"/>
                  <a:pt x="8231702" y="914079"/>
                </a:cubicBezTo>
                <a:cubicBezTo>
                  <a:pt x="8231702" y="878366"/>
                  <a:pt x="8260654" y="849414"/>
                  <a:pt x="8296368" y="849414"/>
                </a:cubicBezTo>
                <a:close/>
                <a:moveTo>
                  <a:pt x="8139793" y="849414"/>
                </a:moveTo>
                <a:cubicBezTo>
                  <a:pt x="8175507" y="849414"/>
                  <a:pt x="8204459" y="878366"/>
                  <a:pt x="8204459" y="914079"/>
                </a:cubicBezTo>
                <a:cubicBezTo>
                  <a:pt x="8204459" y="949766"/>
                  <a:pt x="8175507" y="978717"/>
                  <a:pt x="8139793" y="978717"/>
                </a:cubicBezTo>
                <a:cubicBezTo>
                  <a:pt x="8104079" y="978717"/>
                  <a:pt x="8075127" y="949766"/>
                  <a:pt x="8075127" y="914079"/>
                </a:cubicBezTo>
                <a:cubicBezTo>
                  <a:pt x="8075127" y="878366"/>
                  <a:pt x="8104079" y="849414"/>
                  <a:pt x="8139793" y="849414"/>
                </a:cubicBezTo>
                <a:close/>
                <a:moveTo>
                  <a:pt x="7987133" y="849414"/>
                </a:moveTo>
                <a:cubicBezTo>
                  <a:pt x="8022847" y="849414"/>
                  <a:pt x="8051799" y="878366"/>
                  <a:pt x="8051799" y="914079"/>
                </a:cubicBezTo>
                <a:cubicBezTo>
                  <a:pt x="8051799" y="949766"/>
                  <a:pt x="8022847" y="978717"/>
                  <a:pt x="7987133" y="978717"/>
                </a:cubicBezTo>
                <a:cubicBezTo>
                  <a:pt x="7951419" y="978717"/>
                  <a:pt x="7922467" y="949766"/>
                  <a:pt x="7922467" y="914079"/>
                </a:cubicBezTo>
                <a:cubicBezTo>
                  <a:pt x="7922467" y="878366"/>
                  <a:pt x="7951419" y="849414"/>
                  <a:pt x="7987133" y="849414"/>
                </a:cubicBezTo>
                <a:close/>
                <a:moveTo>
                  <a:pt x="7830562" y="849414"/>
                </a:moveTo>
                <a:cubicBezTo>
                  <a:pt x="7866276" y="849414"/>
                  <a:pt x="7895228" y="878366"/>
                  <a:pt x="7895228" y="914079"/>
                </a:cubicBezTo>
                <a:cubicBezTo>
                  <a:pt x="7895228" y="949766"/>
                  <a:pt x="7866276" y="978717"/>
                  <a:pt x="7830562" y="978717"/>
                </a:cubicBezTo>
                <a:cubicBezTo>
                  <a:pt x="7794848" y="978717"/>
                  <a:pt x="7765896" y="949766"/>
                  <a:pt x="7765896" y="914079"/>
                </a:cubicBezTo>
                <a:cubicBezTo>
                  <a:pt x="7765896" y="878366"/>
                  <a:pt x="7794848" y="849414"/>
                  <a:pt x="7830562" y="849414"/>
                </a:cubicBezTo>
                <a:close/>
                <a:moveTo>
                  <a:pt x="11404343" y="849412"/>
                </a:moveTo>
                <a:cubicBezTo>
                  <a:pt x="11440057" y="849412"/>
                  <a:pt x="11469009" y="878364"/>
                  <a:pt x="11469009" y="914079"/>
                </a:cubicBezTo>
                <a:cubicBezTo>
                  <a:pt x="11469009" y="949766"/>
                  <a:pt x="11440057" y="978717"/>
                  <a:pt x="11404343" y="978717"/>
                </a:cubicBezTo>
                <a:cubicBezTo>
                  <a:pt x="11368629" y="978717"/>
                  <a:pt x="11339677" y="949766"/>
                  <a:pt x="11339677" y="914079"/>
                </a:cubicBezTo>
                <a:cubicBezTo>
                  <a:pt x="11339677" y="878364"/>
                  <a:pt x="11368629" y="849412"/>
                  <a:pt x="11404343" y="849412"/>
                </a:cubicBezTo>
                <a:close/>
                <a:moveTo>
                  <a:pt x="11251684" y="849412"/>
                </a:moveTo>
                <a:cubicBezTo>
                  <a:pt x="11287398" y="849412"/>
                  <a:pt x="11316350" y="878365"/>
                  <a:pt x="11316350" y="914079"/>
                </a:cubicBezTo>
                <a:cubicBezTo>
                  <a:pt x="11316350" y="949766"/>
                  <a:pt x="11287398" y="978717"/>
                  <a:pt x="11251684" y="978717"/>
                </a:cubicBezTo>
                <a:cubicBezTo>
                  <a:pt x="11215970" y="978717"/>
                  <a:pt x="11187018" y="949766"/>
                  <a:pt x="11187018" y="914079"/>
                </a:cubicBezTo>
                <a:cubicBezTo>
                  <a:pt x="11187018" y="878365"/>
                  <a:pt x="11215970" y="849412"/>
                  <a:pt x="11251684" y="849412"/>
                </a:cubicBezTo>
                <a:close/>
                <a:moveTo>
                  <a:pt x="11095111" y="849412"/>
                </a:moveTo>
                <a:cubicBezTo>
                  <a:pt x="11130825" y="849412"/>
                  <a:pt x="11159777" y="878365"/>
                  <a:pt x="11159777" y="914079"/>
                </a:cubicBezTo>
                <a:cubicBezTo>
                  <a:pt x="11159777" y="949766"/>
                  <a:pt x="11130825" y="978717"/>
                  <a:pt x="11095111" y="978717"/>
                </a:cubicBezTo>
                <a:cubicBezTo>
                  <a:pt x="11059397" y="978717"/>
                  <a:pt x="11030445" y="949766"/>
                  <a:pt x="11030445" y="914079"/>
                </a:cubicBezTo>
                <a:cubicBezTo>
                  <a:pt x="11030445" y="878365"/>
                  <a:pt x="11059397" y="849412"/>
                  <a:pt x="11095111" y="849412"/>
                </a:cubicBezTo>
                <a:close/>
                <a:moveTo>
                  <a:pt x="10938538" y="849412"/>
                </a:moveTo>
                <a:cubicBezTo>
                  <a:pt x="10974252" y="849412"/>
                  <a:pt x="11003204" y="878365"/>
                  <a:pt x="11003204" y="914079"/>
                </a:cubicBezTo>
                <a:cubicBezTo>
                  <a:pt x="11003204" y="949766"/>
                  <a:pt x="10974252" y="978717"/>
                  <a:pt x="10938538" y="978717"/>
                </a:cubicBezTo>
                <a:cubicBezTo>
                  <a:pt x="10902824" y="978717"/>
                  <a:pt x="10873872" y="949766"/>
                  <a:pt x="10873872" y="914079"/>
                </a:cubicBezTo>
                <a:cubicBezTo>
                  <a:pt x="10873872" y="878365"/>
                  <a:pt x="10902824" y="849412"/>
                  <a:pt x="10938538" y="849412"/>
                </a:cubicBezTo>
                <a:close/>
                <a:moveTo>
                  <a:pt x="10778051" y="849412"/>
                </a:moveTo>
                <a:cubicBezTo>
                  <a:pt x="10813765" y="849412"/>
                  <a:pt x="10842717" y="878365"/>
                  <a:pt x="10842717" y="914079"/>
                </a:cubicBezTo>
                <a:cubicBezTo>
                  <a:pt x="10842717" y="949766"/>
                  <a:pt x="10813765" y="978717"/>
                  <a:pt x="10778051" y="978717"/>
                </a:cubicBezTo>
                <a:cubicBezTo>
                  <a:pt x="10742337" y="978717"/>
                  <a:pt x="10713385" y="949766"/>
                  <a:pt x="10713385" y="914079"/>
                </a:cubicBezTo>
                <a:cubicBezTo>
                  <a:pt x="10713385" y="878365"/>
                  <a:pt x="10742337" y="849412"/>
                  <a:pt x="10778051" y="849412"/>
                </a:cubicBezTo>
                <a:close/>
                <a:moveTo>
                  <a:pt x="526578" y="849412"/>
                </a:moveTo>
                <a:cubicBezTo>
                  <a:pt x="562291" y="849412"/>
                  <a:pt x="591243" y="878364"/>
                  <a:pt x="591243" y="914079"/>
                </a:cubicBezTo>
                <a:cubicBezTo>
                  <a:pt x="591243" y="949766"/>
                  <a:pt x="562291" y="978717"/>
                  <a:pt x="526578" y="978717"/>
                </a:cubicBezTo>
                <a:cubicBezTo>
                  <a:pt x="490864" y="978717"/>
                  <a:pt x="461913" y="949766"/>
                  <a:pt x="461913" y="914079"/>
                </a:cubicBezTo>
                <a:cubicBezTo>
                  <a:pt x="461913" y="878364"/>
                  <a:pt x="490864" y="849412"/>
                  <a:pt x="526578" y="849412"/>
                </a:cubicBezTo>
                <a:close/>
                <a:moveTo>
                  <a:pt x="373922" y="849412"/>
                </a:moveTo>
                <a:cubicBezTo>
                  <a:pt x="409635" y="849412"/>
                  <a:pt x="438587" y="878364"/>
                  <a:pt x="438587" y="914079"/>
                </a:cubicBezTo>
                <a:cubicBezTo>
                  <a:pt x="438587" y="949766"/>
                  <a:pt x="409635" y="978717"/>
                  <a:pt x="373922" y="978717"/>
                </a:cubicBezTo>
                <a:cubicBezTo>
                  <a:pt x="338208" y="978717"/>
                  <a:pt x="309257" y="949766"/>
                  <a:pt x="309257" y="914079"/>
                </a:cubicBezTo>
                <a:cubicBezTo>
                  <a:pt x="309257" y="878364"/>
                  <a:pt x="338208" y="849412"/>
                  <a:pt x="373922" y="849412"/>
                </a:cubicBezTo>
                <a:close/>
                <a:moveTo>
                  <a:pt x="217353" y="849412"/>
                </a:moveTo>
                <a:cubicBezTo>
                  <a:pt x="253067" y="849412"/>
                  <a:pt x="282019" y="878364"/>
                  <a:pt x="282019" y="914079"/>
                </a:cubicBezTo>
                <a:cubicBezTo>
                  <a:pt x="282019" y="949766"/>
                  <a:pt x="253067" y="978717"/>
                  <a:pt x="217353" y="978717"/>
                </a:cubicBezTo>
                <a:cubicBezTo>
                  <a:pt x="181640" y="978717"/>
                  <a:pt x="152688" y="949766"/>
                  <a:pt x="152688" y="914079"/>
                </a:cubicBezTo>
                <a:cubicBezTo>
                  <a:pt x="152688" y="878364"/>
                  <a:pt x="181640" y="849412"/>
                  <a:pt x="217353" y="849412"/>
                </a:cubicBezTo>
                <a:close/>
                <a:moveTo>
                  <a:pt x="9384550" y="712411"/>
                </a:moveTo>
                <a:cubicBezTo>
                  <a:pt x="9420264" y="712411"/>
                  <a:pt x="9449216" y="741365"/>
                  <a:pt x="9449216" y="777076"/>
                </a:cubicBezTo>
                <a:cubicBezTo>
                  <a:pt x="9449216" y="812789"/>
                  <a:pt x="9420264" y="841744"/>
                  <a:pt x="9384550" y="841744"/>
                </a:cubicBezTo>
                <a:cubicBezTo>
                  <a:pt x="9348836" y="841744"/>
                  <a:pt x="9319884" y="812789"/>
                  <a:pt x="9319884" y="777076"/>
                </a:cubicBezTo>
                <a:cubicBezTo>
                  <a:pt x="9319884" y="741365"/>
                  <a:pt x="9348836" y="712411"/>
                  <a:pt x="9384550" y="712411"/>
                </a:cubicBezTo>
                <a:close/>
                <a:moveTo>
                  <a:pt x="9227977" y="712411"/>
                </a:moveTo>
                <a:cubicBezTo>
                  <a:pt x="9263691" y="712411"/>
                  <a:pt x="9292643" y="741365"/>
                  <a:pt x="9292643" y="777076"/>
                </a:cubicBezTo>
                <a:cubicBezTo>
                  <a:pt x="9292643" y="812789"/>
                  <a:pt x="9263691" y="841744"/>
                  <a:pt x="9227977" y="841744"/>
                </a:cubicBezTo>
                <a:cubicBezTo>
                  <a:pt x="9192263" y="841744"/>
                  <a:pt x="9163311" y="812789"/>
                  <a:pt x="9163311" y="777076"/>
                </a:cubicBezTo>
                <a:cubicBezTo>
                  <a:pt x="9163311" y="741365"/>
                  <a:pt x="9192263" y="712411"/>
                  <a:pt x="9227977" y="712411"/>
                </a:cubicBezTo>
                <a:close/>
                <a:moveTo>
                  <a:pt x="9075319" y="712411"/>
                </a:moveTo>
                <a:cubicBezTo>
                  <a:pt x="9111033" y="712411"/>
                  <a:pt x="9139985" y="741365"/>
                  <a:pt x="9139985" y="777076"/>
                </a:cubicBezTo>
                <a:cubicBezTo>
                  <a:pt x="9139985" y="812789"/>
                  <a:pt x="9111033" y="841744"/>
                  <a:pt x="9075319" y="841744"/>
                </a:cubicBezTo>
                <a:cubicBezTo>
                  <a:pt x="9039605" y="841744"/>
                  <a:pt x="9010653" y="812789"/>
                  <a:pt x="9010653" y="777076"/>
                </a:cubicBezTo>
                <a:cubicBezTo>
                  <a:pt x="9010653" y="741365"/>
                  <a:pt x="9039605" y="712411"/>
                  <a:pt x="9075319" y="712411"/>
                </a:cubicBezTo>
                <a:close/>
                <a:moveTo>
                  <a:pt x="8914831" y="712411"/>
                </a:moveTo>
                <a:cubicBezTo>
                  <a:pt x="8950545" y="712411"/>
                  <a:pt x="8979497" y="741365"/>
                  <a:pt x="8979497" y="777076"/>
                </a:cubicBezTo>
                <a:cubicBezTo>
                  <a:pt x="8979497" y="812789"/>
                  <a:pt x="8950545" y="841744"/>
                  <a:pt x="8914831" y="841744"/>
                </a:cubicBezTo>
                <a:cubicBezTo>
                  <a:pt x="8879117" y="841744"/>
                  <a:pt x="8850165" y="812789"/>
                  <a:pt x="8850165" y="777076"/>
                </a:cubicBezTo>
                <a:cubicBezTo>
                  <a:pt x="8850165" y="741365"/>
                  <a:pt x="8879117" y="712411"/>
                  <a:pt x="8914831" y="712411"/>
                </a:cubicBezTo>
                <a:close/>
                <a:moveTo>
                  <a:pt x="8766086" y="712411"/>
                </a:moveTo>
                <a:cubicBezTo>
                  <a:pt x="8801800" y="712411"/>
                  <a:pt x="8830752" y="741365"/>
                  <a:pt x="8830752" y="777076"/>
                </a:cubicBezTo>
                <a:cubicBezTo>
                  <a:pt x="8830752" y="812789"/>
                  <a:pt x="8801800" y="841744"/>
                  <a:pt x="8766086" y="841744"/>
                </a:cubicBezTo>
                <a:cubicBezTo>
                  <a:pt x="8730372" y="841744"/>
                  <a:pt x="8701420" y="812789"/>
                  <a:pt x="8701420" y="777076"/>
                </a:cubicBezTo>
                <a:cubicBezTo>
                  <a:pt x="8701420" y="741365"/>
                  <a:pt x="8730372" y="712411"/>
                  <a:pt x="8766086" y="712411"/>
                </a:cubicBezTo>
                <a:close/>
                <a:moveTo>
                  <a:pt x="8601683" y="712411"/>
                </a:moveTo>
                <a:cubicBezTo>
                  <a:pt x="8637397" y="712411"/>
                  <a:pt x="8666349" y="741365"/>
                  <a:pt x="8666349" y="777076"/>
                </a:cubicBezTo>
                <a:cubicBezTo>
                  <a:pt x="8666349" y="812789"/>
                  <a:pt x="8637397" y="841744"/>
                  <a:pt x="8601683" y="841744"/>
                </a:cubicBezTo>
                <a:cubicBezTo>
                  <a:pt x="8565969" y="841744"/>
                  <a:pt x="8537017" y="812789"/>
                  <a:pt x="8537017" y="777076"/>
                </a:cubicBezTo>
                <a:cubicBezTo>
                  <a:pt x="8537017" y="741365"/>
                  <a:pt x="8565969" y="712411"/>
                  <a:pt x="8601683" y="712411"/>
                </a:cubicBezTo>
                <a:close/>
                <a:moveTo>
                  <a:pt x="8449025" y="712411"/>
                </a:moveTo>
                <a:cubicBezTo>
                  <a:pt x="8484739" y="712411"/>
                  <a:pt x="8513691" y="741365"/>
                  <a:pt x="8513691" y="777076"/>
                </a:cubicBezTo>
                <a:cubicBezTo>
                  <a:pt x="8513691" y="812789"/>
                  <a:pt x="8484739" y="841744"/>
                  <a:pt x="8449025" y="841744"/>
                </a:cubicBezTo>
                <a:cubicBezTo>
                  <a:pt x="8413311" y="841744"/>
                  <a:pt x="8384359" y="812789"/>
                  <a:pt x="8384359" y="777076"/>
                </a:cubicBezTo>
                <a:cubicBezTo>
                  <a:pt x="8384359" y="741365"/>
                  <a:pt x="8413311" y="712411"/>
                  <a:pt x="8449025" y="712411"/>
                </a:cubicBezTo>
                <a:close/>
                <a:moveTo>
                  <a:pt x="8296368" y="712411"/>
                </a:moveTo>
                <a:cubicBezTo>
                  <a:pt x="8332082" y="712411"/>
                  <a:pt x="8361034" y="741365"/>
                  <a:pt x="8361034" y="777076"/>
                </a:cubicBezTo>
                <a:cubicBezTo>
                  <a:pt x="8361034" y="812789"/>
                  <a:pt x="8332082" y="841744"/>
                  <a:pt x="8296368" y="841744"/>
                </a:cubicBezTo>
                <a:cubicBezTo>
                  <a:pt x="8260654" y="841744"/>
                  <a:pt x="8231702" y="812789"/>
                  <a:pt x="8231702" y="777076"/>
                </a:cubicBezTo>
                <a:cubicBezTo>
                  <a:pt x="8231702" y="741365"/>
                  <a:pt x="8260654" y="712411"/>
                  <a:pt x="8296368" y="712411"/>
                </a:cubicBezTo>
                <a:close/>
                <a:moveTo>
                  <a:pt x="8139793" y="712411"/>
                </a:moveTo>
                <a:cubicBezTo>
                  <a:pt x="8175507" y="712411"/>
                  <a:pt x="8204459" y="741365"/>
                  <a:pt x="8204459" y="777076"/>
                </a:cubicBezTo>
                <a:cubicBezTo>
                  <a:pt x="8204459" y="812789"/>
                  <a:pt x="8175507" y="841744"/>
                  <a:pt x="8139793" y="841744"/>
                </a:cubicBezTo>
                <a:cubicBezTo>
                  <a:pt x="8104079" y="841744"/>
                  <a:pt x="8075127" y="812789"/>
                  <a:pt x="8075127" y="777076"/>
                </a:cubicBezTo>
                <a:cubicBezTo>
                  <a:pt x="8075127" y="741365"/>
                  <a:pt x="8104079" y="712411"/>
                  <a:pt x="8139793" y="712411"/>
                </a:cubicBezTo>
                <a:close/>
                <a:moveTo>
                  <a:pt x="7987133" y="712411"/>
                </a:moveTo>
                <a:cubicBezTo>
                  <a:pt x="8022847" y="712411"/>
                  <a:pt x="8051799" y="741365"/>
                  <a:pt x="8051799" y="777076"/>
                </a:cubicBezTo>
                <a:cubicBezTo>
                  <a:pt x="8051799" y="812789"/>
                  <a:pt x="8022847" y="841744"/>
                  <a:pt x="7987133" y="841744"/>
                </a:cubicBezTo>
                <a:cubicBezTo>
                  <a:pt x="7951419" y="841744"/>
                  <a:pt x="7922467" y="812789"/>
                  <a:pt x="7922467" y="777076"/>
                </a:cubicBezTo>
                <a:cubicBezTo>
                  <a:pt x="7922467" y="741365"/>
                  <a:pt x="7951419" y="712411"/>
                  <a:pt x="7987133" y="712411"/>
                </a:cubicBezTo>
                <a:close/>
                <a:moveTo>
                  <a:pt x="7830562" y="712411"/>
                </a:moveTo>
                <a:cubicBezTo>
                  <a:pt x="7866276" y="712411"/>
                  <a:pt x="7895228" y="741365"/>
                  <a:pt x="7895228" y="777076"/>
                </a:cubicBezTo>
                <a:cubicBezTo>
                  <a:pt x="7895228" y="812789"/>
                  <a:pt x="7866276" y="841744"/>
                  <a:pt x="7830562" y="841744"/>
                </a:cubicBezTo>
                <a:cubicBezTo>
                  <a:pt x="7794848" y="841744"/>
                  <a:pt x="7765896" y="812789"/>
                  <a:pt x="7765896" y="777076"/>
                </a:cubicBezTo>
                <a:cubicBezTo>
                  <a:pt x="7765896" y="741365"/>
                  <a:pt x="7794848" y="712411"/>
                  <a:pt x="7830562" y="712411"/>
                </a:cubicBezTo>
                <a:close/>
                <a:moveTo>
                  <a:pt x="7212096" y="712411"/>
                </a:moveTo>
                <a:cubicBezTo>
                  <a:pt x="7247810" y="712411"/>
                  <a:pt x="7276762" y="741365"/>
                  <a:pt x="7276762" y="777076"/>
                </a:cubicBezTo>
                <a:cubicBezTo>
                  <a:pt x="7276762" y="812789"/>
                  <a:pt x="7247810" y="841744"/>
                  <a:pt x="7212096" y="841744"/>
                </a:cubicBezTo>
                <a:cubicBezTo>
                  <a:pt x="7176382" y="841744"/>
                  <a:pt x="7147430" y="812789"/>
                  <a:pt x="7147430" y="777076"/>
                </a:cubicBezTo>
                <a:cubicBezTo>
                  <a:pt x="7147430" y="741365"/>
                  <a:pt x="7176382" y="712411"/>
                  <a:pt x="7212096" y="712411"/>
                </a:cubicBezTo>
                <a:close/>
                <a:moveTo>
                  <a:pt x="6429229" y="712411"/>
                </a:moveTo>
                <a:cubicBezTo>
                  <a:pt x="6464943" y="712411"/>
                  <a:pt x="6493895" y="741365"/>
                  <a:pt x="6493895" y="777076"/>
                </a:cubicBezTo>
                <a:cubicBezTo>
                  <a:pt x="6493895" y="812789"/>
                  <a:pt x="6464943" y="841745"/>
                  <a:pt x="6429229" y="841745"/>
                </a:cubicBezTo>
                <a:cubicBezTo>
                  <a:pt x="6393515" y="841745"/>
                  <a:pt x="6364563" y="812789"/>
                  <a:pt x="6364563" y="777076"/>
                </a:cubicBezTo>
                <a:cubicBezTo>
                  <a:pt x="6364563" y="741365"/>
                  <a:pt x="6393515" y="712411"/>
                  <a:pt x="6429229" y="712411"/>
                </a:cubicBezTo>
                <a:close/>
                <a:moveTo>
                  <a:pt x="6276571" y="712411"/>
                </a:moveTo>
                <a:cubicBezTo>
                  <a:pt x="6312285" y="712411"/>
                  <a:pt x="6341237" y="741365"/>
                  <a:pt x="6341237" y="777076"/>
                </a:cubicBezTo>
                <a:cubicBezTo>
                  <a:pt x="6341237" y="812789"/>
                  <a:pt x="6312285" y="841745"/>
                  <a:pt x="6276571" y="841745"/>
                </a:cubicBezTo>
                <a:cubicBezTo>
                  <a:pt x="6240857" y="841745"/>
                  <a:pt x="6211905" y="812789"/>
                  <a:pt x="6211905" y="777076"/>
                </a:cubicBezTo>
                <a:cubicBezTo>
                  <a:pt x="6211905" y="741365"/>
                  <a:pt x="6240857" y="712411"/>
                  <a:pt x="6276571" y="712411"/>
                </a:cubicBezTo>
                <a:close/>
                <a:moveTo>
                  <a:pt x="10312248" y="712410"/>
                </a:moveTo>
                <a:cubicBezTo>
                  <a:pt x="10347962" y="712410"/>
                  <a:pt x="10376914" y="741365"/>
                  <a:pt x="10376914" y="777076"/>
                </a:cubicBezTo>
                <a:cubicBezTo>
                  <a:pt x="10376914" y="812788"/>
                  <a:pt x="10347962" y="841743"/>
                  <a:pt x="10312248" y="841743"/>
                </a:cubicBezTo>
                <a:cubicBezTo>
                  <a:pt x="10276534" y="841743"/>
                  <a:pt x="10247582" y="812788"/>
                  <a:pt x="10247582" y="777076"/>
                </a:cubicBezTo>
                <a:cubicBezTo>
                  <a:pt x="10247582" y="741365"/>
                  <a:pt x="10276534" y="712410"/>
                  <a:pt x="10312248" y="712410"/>
                </a:cubicBezTo>
                <a:close/>
                <a:moveTo>
                  <a:pt x="10159588" y="712410"/>
                </a:moveTo>
                <a:cubicBezTo>
                  <a:pt x="10195302" y="712410"/>
                  <a:pt x="10224254" y="741365"/>
                  <a:pt x="10224254" y="777076"/>
                </a:cubicBezTo>
                <a:cubicBezTo>
                  <a:pt x="10224254" y="812788"/>
                  <a:pt x="10195302" y="841744"/>
                  <a:pt x="10159588" y="841744"/>
                </a:cubicBezTo>
                <a:cubicBezTo>
                  <a:pt x="10123874" y="841744"/>
                  <a:pt x="10094922" y="812788"/>
                  <a:pt x="10094922" y="777076"/>
                </a:cubicBezTo>
                <a:cubicBezTo>
                  <a:pt x="10094922" y="741365"/>
                  <a:pt x="10123874" y="712410"/>
                  <a:pt x="10159588" y="712410"/>
                </a:cubicBezTo>
                <a:close/>
                <a:moveTo>
                  <a:pt x="10003016" y="712410"/>
                </a:moveTo>
                <a:cubicBezTo>
                  <a:pt x="10038730" y="712410"/>
                  <a:pt x="10067682" y="741365"/>
                  <a:pt x="10067682" y="777076"/>
                </a:cubicBezTo>
                <a:cubicBezTo>
                  <a:pt x="10067682" y="812789"/>
                  <a:pt x="10038730" y="841744"/>
                  <a:pt x="10003016" y="841744"/>
                </a:cubicBezTo>
                <a:cubicBezTo>
                  <a:pt x="9967302" y="841744"/>
                  <a:pt x="9938350" y="812789"/>
                  <a:pt x="9938350" y="777076"/>
                </a:cubicBezTo>
                <a:cubicBezTo>
                  <a:pt x="9938350" y="741365"/>
                  <a:pt x="9967302" y="712410"/>
                  <a:pt x="10003016" y="712410"/>
                </a:cubicBezTo>
                <a:close/>
                <a:moveTo>
                  <a:pt x="9850358" y="712410"/>
                </a:moveTo>
                <a:cubicBezTo>
                  <a:pt x="9886072" y="712410"/>
                  <a:pt x="9915024" y="741365"/>
                  <a:pt x="9915024" y="777076"/>
                </a:cubicBezTo>
                <a:cubicBezTo>
                  <a:pt x="9915024" y="812789"/>
                  <a:pt x="9886072" y="841744"/>
                  <a:pt x="9850358" y="841744"/>
                </a:cubicBezTo>
                <a:cubicBezTo>
                  <a:pt x="9814644" y="841744"/>
                  <a:pt x="9785692" y="812789"/>
                  <a:pt x="9785692" y="777076"/>
                </a:cubicBezTo>
                <a:cubicBezTo>
                  <a:pt x="9785692" y="741365"/>
                  <a:pt x="9814644" y="712410"/>
                  <a:pt x="9850358" y="712410"/>
                </a:cubicBezTo>
                <a:close/>
                <a:moveTo>
                  <a:pt x="9693783" y="712410"/>
                </a:moveTo>
                <a:cubicBezTo>
                  <a:pt x="9729497" y="712410"/>
                  <a:pt x="9758449" y="741365"/>
                  <a:pt x="9758449" y="777076"/>
                </a:cubicBezTo>
                <a:cubicBezTo>
                  <a:pt x="9758449" y="812789"/>
                  <a:pt x="9729497" y="841744"/>
                  <a:pt x="9693783" y="841744"/>
                </a:cubicBezTo>
                <a:cubicBezTo>
                  <a:pt x="9658069" y="841744"/>
                  <a:pt x="9629117" y="812789"/>
                  <a:pt x="9629117" y="777076"/>
                </a:cubicBezTo>
                <a:cubicBezTo>
                  <a:pt x="9629117" y="741365"/>
                  <a:pt x="9658069" y="712410"/>
                  <a:pt x="9693783" y="712410"/>
                </a:cubicBezTo>
                <a:close/>
                <a:moveTo>
                  <a:pt x="9541123" y="712410"/>
                </a:moveTo>
                <a:cubicBezTo>
                  <a:pt x="9576837" y="712410"/>
                  <a:pt x="9605789" y="741365"/>
                  <a:pt x="9605789" y="777076"/>
                </a:cubicBezTo>
                <a:cubicBezTo>
                  <a:pt x="9605789" y="812789"/>
                  <a:pt x="9576837" y="841744"/>
                  <a:pt x="9541123" y="841744"/>
                </a:cubicBezTo>
                <a:cubicBezTo>
                  <a:pt x="9505409" y="841744"/>
                  <a:pt x="9476457" y="812789"/>
                  <a:pt x="9476457" y="777076"/>
                </a:cubicBezTo>
                <a:cubicBezTo>
                  <a:pt x="9476457" y="741365"/>
                  <a:pt x="9505409" y="712410"/>
                  <a:pt x="9541123" y="712410"/>
                </a:cubicBezTo>
                <a:close/>
                <a:moveTo>
                  <a:pt x="4409471" y="712409"/>
                </a:moveTo>
                <a:cubicBezTo>
                  <a:pt x="4445169" y="712409"/>
                  <a:pt x="4474113" y="741363"/>
                  <a:pt x="4474113" y="777074"/>
                </a:cubicBezTo>
                <a:cubicBezTo>
                  <a:pt x="4474113" y="812788"/>
                  <a:pt x="4445169" y="841743"/>
                  <a:pt x="4409471" y="841743"/>
                </a:cubicBezTo>
                <a:cubicBezTo>
                  <a:pt x="4373772" y="841743"/>
                  <a:pt x="4344809" y="812788"/>
                  <a:pt x="4344809" y="777074"/>
                </a:cubicBezTo>
                <a:cubicBezTo>
                  <a:pt x="4344809" y="741363"/>
                  <a:pt x="4373772" y="712409"/>
                  <a:pt x="4409471" y="712409"/>
                </a:cubicBezTo>
                <a:close/>
                <a:moveTo>
                  <a:pt x="4256823" y="712409"/>
                </a:moveTo>
                <a:cubicBezTo>
                  <a:pt x="4292543" y="712409"/>
                  <a:pt x="4321471" y="741363"/>
                  <a:pt x="4321471" y="777074"/>
                </a:cubicBezTo>
                <a:cubicBezTo>
                  <a:pt x="4321471" y="812788"/>
                  <a:pt x="4292543" y="841743"/>
                  <a:pt x="4256823" y="841743"/>
                </a:cubicBezTo>
                <a:cubicBezTo>
                  <a:pt x="4221105" y="841743"/>
                  <a:pt x="4192125" y="812788"/>
                  <a:pt x="4192125" y="777074"/>
                </a:cubicBezTo>
                <a:cubicBezTo>
                  <a:pt x="4192125" y="741363"/>
                  <a:pt x="4221105" y="712409"/>
                  <a:pt x="4256823" y="712409"/>
                </a:cubicBezTo>
                <a:close/>
                <a:moveTo>
                  <a:pt x="4100255" y="712409"/>
                </a:moveTo>
                <a:cubicBezTo>
                  <a:pt x="4135957" y="712409"/>
                  <a:pt x="4164923" y="741363"/>
                  <a:pt x="4164923" y="777074"/>
                </a:cubicBezTo>
                <a:cubicBezTo>
                  <a:pt x="4164923" y="812788"/>
                  <a:pt x="4135957" y="841743"/>
                  <a:pt x="4100255" y="841743"/>
                </a:cubicBezTo>
                <a:cubicBezTo>
                  <a:pt x="4064528" y="841743"/>
                  <a:pt x="4035594" y="812788"/>
                  <a:pt x="4035594" y="777074"/>
                </a:cubicBezTo>
                <a:cubicBezTo>
                  <a:pt x="4035594" y="741363"/>
                  <a:pt x="4064528" y="712409"/>
                  <a:pt x="4100255" y="712409"/>
                </a:cubicBezTo>
                <a:close/>
                <a:moveTo>
                  <a:pt x="3947579" y="712409"/>
                </a:moveTo>
                <a:cubicBezTo>
                  <a:pt x="3983297" y="712409"/>
                  <a:pt x="4012257" y="741363"/>
                  <a:pt x="4012257" y="777074"/>
                </a:cubicBezTo>
                <a:cubicBezTo>
                  <a:pt x="4012257" y="812788"/>
                  <a:pt x="3983297" y="841743"/>
                  <a:pt x="3947579" y="841743"/>
                </a:cubicBezTo>
                <a:cubicBezTo>
                  <a:pt x="3912007" y="841743"/>
                  <a:pt x="3883058" y="812788"/>
                  <a:pt x="3883058" y="777074"/>
                </a:cubicBezTo>
                <a:cubicBezTo>
                  <a:pt x="3883058" y="741363"/>
                  <a:pt x="3912007" y="712409"/>
                  <a:pt x="3947579" y="712409"/>
                </a:cubicBezTo>
                <a:close/>
                <a:moveTo>
                  <a:pt x="3791150" y="712409"/>
                </a:moveTo>
                <a:cubicBezTo>
                  <a:pt x="3826861" y="712409"/>
                  <a:pt x="3855819" y="741363"/>
                  <a:pt x="3855819" y="777074"/>
                </a:cubicBezTo>
                <a:cubicBezTo>
                  <a:pt x="3855819" y="812788"/>
                  <a:pt x="3826861" y="841743"/>
                  <a:pt x="3791150" y="841743"/>
                </a:cubicBezTo>
                <a:cubicBezTo>
                  <a:pt x="3755431" y="841743"/>
                  <a:pt x="3726477" y="812788"/>
                  <a:pt x="3726477" y="777074"/>
                </a:cubicBezTo>
                <a:cubicBezTo>
                  <a:pt x="3726477" y="741363"/>
                  <a:pt x="3755431" y="712409"/>
                  <a:pt x="3791150" y="712409"/>
                </a:cubicBezTo>
                <a:close/>
                <a:moveTo>
                  <a:pt x="3012174" y="712409"/>
                </a:moveTo>
                <a:cubicBezTo>
                  <a:pt x="3047883" y="712409"/>
                  <a:pt x="3076841" y="741363"/>
                  <a:pt x="3076841" y="777074"/>
                </a:cubicBezTo>
                <a:cubicBezTo>
                  <a:pt x="3076841" y="812788"/>
                  <a:pt x="3047883" y="841743"/>
                  <a:pt x="3012174" y="841743"/>
                </a:cubicBezTo>
                <a:cubicBezTo>
                  <a:pt x="2976463" y="841743"/>
                  <a:pt x="2947515" y="812788"/>
                  <a:pt x="2947515" y="777074"/>
                </a:cubicBezTo>
                <a:cubicBezTo>
                  <a:pt x="2947515" y="741363"/>
                  <a:pt x="2976463" y="712409"/>
                  <a:pt x="3012174" y="712409"/>
                </a:cubicBezTo>
                <a:close/>
                <a:moveTo>
                  <a:pt x="2855626" y="712409"/>
                </a:moveTo>
                <a:cubicBezTo>
                  <a:pt x="2891329" y="712409"/>
                  <a:pt x="2920277" y="741363"/>
                  <a:pt x="2920277" y="777074"/>
                </a:cubicBezTo>
                <a:cubicBezTo>
                  <a:pt x="2920277" y="812788"/>
                  <a:pt x="2891329" y="841743"/>
                  <a:pt x="2855626" y="841743"/>
                </a:cubicBezTo>
                <a:cubicBezTo>
                  <a:pt x="2819918" y="841743"/>
                  <a:pt x="2790967" y="812788"/>
                  <a:pt x="2790967" y="777074"/>
                </a:cubicBezTo>
                <a:cubicBezTo>
                  <a:pt x="2790967" y="741363"/>
                  <a:pt x="2819918" y="712409"/>
                  <a:pt x="2855626" y="712409"/>
                </a:cubicBezTo>
                <a:close/>
                <a:moveTo>
                  <a:pt x="2699077" y="712409"/>
                </a:moveTo>
                <a:cubicBezTo>
                  <a:pt x="2734785" y="712409"/>
                  <a:pt x="2763730" y="741365"/>
                  <a:pt x="2763730" y="777074"/>
                </a:cubicBezTo>
                <a:cubicBezTo>
                  <a:pt x="2763730" y="812788"/>
                  <a:pt x="2734785" y="841743"/>
                  <a:pt x="2699077" y="841743"/>
                </a:cubicBezTo>
                <a:cubicBezTo>
                  <a:pt x="2663369" y="841743"/>
                  <a:pt x="2634422" y="812788"/>
                  <a:pt x="2634422" y="777074"/>
                </a:cubicBezTo>
                <a:cubicBezTo>
                  <a:pt x="2634422" y="741365"/>
                  <a:pt x="2663369" y="712409"/>
                  <a:pt x="2699077" y="712409"/>
                </a:cubicBezTo>
                <a:close/>
                <a:moveTo>
                  <a:pt x="2546443" y="712409"/>
                </a:moveTo>
                <a:cubicBezTo>
                  <a:pt x="2582152" y="712409"/>
                  <a:pt x="2611099" y="741365"/>
                  <a:pt x="2611099" y="777074"/>
                </a:cubicBezTo>
                <a:cubicBezTo>
                  <a:pt x="2611099" y="812788"/>
                  <a:pt x="2582152" y="841743"/>
                  <a:pt x="2546443" y="841743"/>
                </a:cubicBezTo>
                <a:cubicBezTo>
                  <a:pt x="2510718" y="841743"/>
                  <a:pt x="2481784" y="812788"/>
                  <a:pt x="2481784" y="777074"/>
                </a:cubicBezTo>
                <a:cubicBezTo>
                  <a:pt x="2481784" y="741365"/>
                  <a:pt x="2510718" y="712409"/>
                  <a:pt x="2546443" y="712409"/>
                </a:cubicBezTo>
                <a:close/>
                <a:moveTo>
                  <a:pt x="2389866" y="712409"/>
                </a:moveTo>
                <a:cubicBezTo>
                  <a:pt x="2425605" y="712409"/>
                  <a:pt x="2454550" y="741365"/>
                  <a:pt x="2454550" y="777074"/>
                </a:cubicBezTo>
                <a:cubicBezTo>
                  <a:pt x="2454550" y="812788"/>
                  <a:pt x="2425605" y="841743"/>
                  <a:pt x="2389866" y="841743"/>
                </a:cubicBezTo>
                <a:cubicBezTo>
                  <a:pt x="2354173" y="841743"/>
                  <a:pt x="2325211" y="812788"/>
                  <a:pt x="2325211" y="777074"/>
                </a:cubicBezTo>
                <a:cubicBezTo>
                  <a:pt x="2325211" y="741365"/>
                  <a:pt x="2354173" y="712409"/>
                  <a:pt x="2389866" y="712409"/>
                </a:cubicBezTo>
                <a:close/>
                <a:moveTo>
                  <a:pt x="2237188" y="712409"/>
                </a:moveTo>
                <a:cubicBezTo>
                  <a:pt x="2272914" y="712409"/>
                  <a:pt x="2301876" y="741365"/>
                  <a:pt x="2301876" y="777075"/>
                </a:cubicBezTo>
                <a:cubicBezTo>
                  <a:pt x="2301876" y="812788"/>
                  <a:pt x="2272914" y="841743"/>
                  <a:pt x="2237188" y="841743"/>
                </a:cubicBezTo>
                <a:cubicBezTo>
                  <a:pt x="2201464" y="841743"/>
                  <a:pt x="2172504" y="812788"/>
                  <a:pt x="2172504" y="777075"/>
                </a:cubicBezTo>
                <a:cubicBezTo>
                  <a:pt x="2172504" y="741365"/>
                  <a:pt x="2201464" y="712409"/>
                  <a:pt x="2237188" y="712409"/>
                </a:cubicBezTo>
                <a:close/>
                <a:moveTo>
                  <a:pt x="2084508" y="712409"/>
                </a:moveTo>
                <a:cubicBezTo>
                  <a:pt x="2120222" y="712409"/>
                  <a:pt x="2149169" y="741365"/>
                  <a:pt x="2149169" y="777075"/>
                </a:cubicBezTo>
                <a:cubicBezTo>
                  <a:pt x="2149169" y="812788"/>
                  <a:pt x="2120222" y="841743"/>
                  <a:pt x="2084508" y="841743"/>
                </a:cubicBezTo>
                <a:cubicBezTo>
                  <a:pt x="2048776" y="841743"/>
                  <a:pt x="2019865" y="812788"/>
                  <a:pt x="2019865" y="777075"/>
                </a:cubicBezTo>
                <a:cubicBezTo>
                  <a:pt x="2019865" y="741365"/>
                  <a:pt x="2048776" y="712409"/>
                  <a:pt x="2084508" y="712409"/>
                </a:cubicBezTo>
                <a:close/>
                <a:moveTo>
                  <a:pt x="1927912" y="712409"/>
                </a:moveTo>
                <a:cubicBezTo>
                  <a:pt x="1963627" y="712409"/>
                  <a:pt x="1992606" y="741365"/>
                  <a:pt x="1992606" y="777075"/>
                </a:cubicBezTo>
                <a:cubicBezTo>
                  <a:pt x="1992606" y="812788"/>
                  <a:pt x="1963627" y="841743"/>
                  <a:pt x="1927912" y="841743"/>
                </a:cubicBezTo>
                <a:cubicBezTo>
                  <a:pt x="1892243" y="841743"/>
                  <a:pt x="1863284" y="812788"/>
                  <a:pt x="1863284" y="777075"/>
                </a:cubicBezTo>
                <a:cubicBezTo>
                  <a:pt x="1863284" y="741365"/>
                  <a:pt x="1892243" y="712409"/>
                  <a:pt x="1927912" y="712409"/>
                </a:cubicBezTo>
                <a:close/>
                <a:moveTo>
                  <a:pt x="1775266" y="712409"/>
                </a:moveTo>
                <a:cubicBezTo>
                  <a:pt x="1810968" y="712409"/>
                  <a:pt x="1839957" y="741365"/>
                  <a:pt x="1839957" y="777075"/>
                </a:cubicBezTo>
                <a:cubicBezTo>
                  <a:pt x="1839957" y="812788"/>
                  <a:pt x="1810968" y="841743"/>
                  <a:pt x="1775266" y="841743"/>
                </a:cubicBezTo>
                <a:cubicBezTo>
                  <a:pt x="1739546" y="841743"/>
                  <a:pt x="1710593" y="812788"/>
                  <a:pt x="1710593" y="777075"/>
                </a:cubicBezTo>
                <a:cubicBezTo>
                  <a:pt x="1710593" y="741365"/>
                  <a:pt x="1739546" y="712409"/>
                  <a:pt x="1775266" y="712409"/>
                </a:cubicBezTo>
                <a:close/>
                <a:moveTo>
                  <a:pt x="1618680" y="712409"/>
                </a:moveTo>
                <a:cubicBezTo>
                  <a:pt x="1654401" y="712409"/>
                  <a:pt x="1683351" y="741365"/>
                  <a:pt x="1683351" y="777075"/>
                </a:cubicBezTo>
                <a:cubicBezTo>
                  <a:pt x="1683351" y="812788"/>
                  <a:pt x="1654401" y="841743"/>
                  <a:pt x="1618680" y="841743"/>
                </a:cubicBezTo>
                <a:cubicBezTo>
                  <a:pt x="1582969" y="841743"/>
                  <a:pt x="1554018" y="812788"/>
                  <a:pt x="1554018" y="777075"/>
                </a:cubicBezTo>
                <a:cubicBezTo>
                  <a:pt x="1554018" y="741365"/>
                  <a:pt x="1582969" y="712409"/>
                  <a:pt x="1618680" y="712409"/>
                </a:cubicBezTo>
                <a:close/>
                <a:moveTo>
                  <a:pt x="1466022" y="712409"/>
                </a:moveTo>
                <a:cubicBezTo>
                  <a:pt x="1501736" y="712409"/>
                  <a:pt x="1530689" y="741365"/>
                  <a:pt x="1530689" y="777075"/>
                </a:cubicBezTo>
                <a:cubicBezTo>
                  <a:pt x="1530689" y="812788"/>
                  <a:pt x="1501736" y="841743"/>
                  <a:pt x="1466022" y="841743"/>
                </a:cubicBezTo>
                <a:cubicBezTo>
                  <a:pt x="1430309" y="841743"/>
                  <a:pt x="1401359" y="812788"/>
                  <a:pt x="1401359" y="777075"/>
                </a:cubicBezTo>
                <a:cubicBezTo>
                  <a:pt x="1401359" y="741365"/>
                  <a:pt x="1430309" y="712409"/>
                  <a:pt x="1466022" y="712409"/>
                </a:cubicBezTo>
                <a:close/>
                <a:moveTo>
                  <a:pt x="6119999" y="712409"/>
                </a:moveTo>
                <a:cubicBezTo>
                  <a:pt x="6155713" y="712409"/>
                  <a:pt x="6184665" y="741363"/>
                  <a:pt x="6184665" y="777074"/>
                </a:cubicBezTo>
                <a:cubicBezTo>
                  <a:pt x="6184665" y="812788"/>
                  <a:pt x="6155713" y="841743"/>
                  <a:pt x="6119999" y="841743"/>
                </a:cubicBezTo>
                <a:cubicBezTo>
                  <a:pt x="6084285" y="841743"/>
                  <a:pt x="6055333" y="812788"/>
                  <a:pt x="6055333" y="777074"/>
                </a:cubicBezTo>
                <a:cubicBezTo>
                  <a:pt x="6055333" y="741363"/>
                  <a:pt x="6084285" y="712409"/>
                  <a:pt x="6119999" y="712409"/>
                </a:cubicBezTo>
                <a:close/>
                <a:moveTo>
                  <a:pt x="4722614" y="712409"/>
                </a:moveTo>
                <a:cubicBezTo>
                  <a:pt x="4758338" y="712409"/>
                  <a:pt x="4787277" y="741363"/>
                  <a:pt x="4787277" y="777074"/>
                </a:cubicBezTo>
                <a:cubicBezTo>
                  <a:pt x="4787277" y="812788"/>
                  <a:pt x="4758338" y="841743"/>
                  <a:pt x="4722614" y="841743"/>
                </a:cubicBezTo>
                <a:cubicBezTo>
                  <a:pt x="4686908" y="841743"/>
                  <a:pt x="4657957" y="812788"/>
                  <a:pt x="4657957" y="777074"/>
                </a:cubicBezTo>
                <a:cubicBezTo>
                  <a:pt x="4657957" y="741363"/>
                  <a:pt x="4686908" y="712409"/>
                  <a:pt x="4722614" y="712409"/>
                </a:cubicBezTo>
                <a:close/>
                <a:moveTo>
                  <a:pt x="4566030" y="712409"/>
                </a:moveTo>
                <a:cubicBezTo>
                  <a:pt x="4601751" y="712409"/>
                  <a:pt x="4630712" y="741363"/>
                  <a:pt x="4630712" y="777074"/>
                </a:cubicBezTo>
                <a:cubicBezTo>
                  <a:pt x="4630712" y="812788"/>
                  <a:pt x="4601751" y="841743"/>
                  <a:pt x="4566030" y="841743"/>
                </a:cubicBezTo>
                <a:cubicBezTo>
                  <a:pt x="4530304" y="841743"/>
                  <a:pt x="4501345" y="812788"/>
                  <a:pt x="4501345" y="777074"/>
                </a:cubicBezTo>
                <a:cubicBezTo>
                  <a:pt x="4501345" y="741363"/>
                  <a:pt x="4530304" y="712409"/>
                  <a:pt x="4566030" y="712409"/>
                </a:cubicBezTo>
                <a:close/>
                <a:moveTo>
                  <a:pt x="9541123" y="579326"/>
                </a:moveTo>
                <a:cubicBezTo>
                  <a:pt x="9576837" y="579326"/>
                  <a:pt x="9605789" y="608276"/>
                  <a:pt x="9605789" y="643991"/>
                </a:cubicBezTo>
                <a:cubicBezTo>
                  <a:pt x="9605789" y="679704"/>
                  <a:pt x="9576837" y="708656"/>
                  <a:pt x="9541123" y="708656"/>
                </a:cubicBezTo>
                <a:cubicBezTo>
                  <a:pt x="9505409" y="708656"/>
                  <a:pt x="9476457" y="679704"/>
                  <a:pt x="9476457" y="643991"/>
                </a:cubicBezTo>
                <a:cubicBezTo>
                  <a:pt x="9476457" y="608276"/>
                  <a:pt x="9505409" y="579326"/>
                  <a:pt x="9541123" y="579326"/>
                </a:cubicBezTo>
                <a:close/>
                <a:moveTo>
                  <a:pt x="9384550" y="579326"/>
                </a:moveTo>
                <a:cubicBezTo>
                  <a:pt x="9420264" y="579326"/>
                  <a:pt x="9449216" y="608276"/>
                  <a:pt x="9449216" y="643991"/>
                </a:cubicBezTo>
                <a:cubicBezTo>
                  <a:pt x="9449216" y="679704"/>
                  <a:pt x="9420264" y="708656"/>
                  <a:pt x="9384550" y="708656"/>
                </a:cubicBezTo>
                <a:cubicBezTo>
                  <a:pt x="9348836" y="708656"/>
                  <a:pt x="9319884" y="679704"/>
                  <a:pt x="9319884" y="643991"/>
                </a:cubicBezTo>
                <a:cubicBezTo>
                  <a:pt x="9319884" y="608276"/>
                  <a:pt x="9348836" y="579326"/>
                  <a:pt x="9384550" y="579326"/>
                </a:cubicBezTo>
                <a:close/>
                <a:moveTo>
                  <a:pt x="9227977" y="579326"/>
                </a:moveTo>
                <a:cubicBezTo>
                  <a:pt x="9263691" y="579326"/>
                  <a:pt x="9292643" y="608276"/>
                  <a:pt x="9292643" y="643991"/>
                </a:cubicBezTo>
                <a:cubicBezTo>
                  <a:pt x="9292643" y="679704"/>
                  <a:pt x="9263691" y="708656"/>
                  <a:pt x="9227977" y="708656"/>
                </a:cubicBezTo>
                <a:cubicBezTo>
                  <a:pt x="9192263" y="708656"/>
                  <a:pt x="9163311" y="679704"/>
                  <a:pt x="9163311" y="643991"/>
                </a:cubicBezTo>
                <a:cubicBezTo>
                  <a:pt x="9163311" y="608276"/>
                  <a:pt x="9192263" y="579326"/>
                  <a:pt x="9227977" y="579326"/>
                </a:cubicBezTo>
                <a:close/>
                <a:moveTo>
                  <a:pt x="9075319" y="579326"/>
                </a:moveTo>
                <a:cubicBezTo>
                  <a:pt x="9111033" y="579326"/>
                  <a:pt x="9139985" y="608276"/>
                  <a:pt x="9139985" y="643992"/>
                </a:cubicBezTo>
                <a:cubicBezTo>
                  <a:pt x="9139985" y="679704"/>
                  <a:pt x="9111033" y="708656"/>
                  <a:pt x="9075319" y="708656"/>
                </a:cubicBezTo>
                <a:cubicBezTo>
                  <a:pt x="9039605" y="708656"/>
                  <a:pt x="9010653" y="679704"/>
                  <a:pt x="9010653" y="643992"/>
                </a:cubicBezTo>
                <a:cubicBezTo>
                  <a:pt x="9010653" y="608276"/>
                  <a:pt x="9039605" y="579326"/>
                  <a:pt x="9075319" y="579326"/>
                </a:cubicBezTo>
                <a:close/>
                <a:moveTo>
                  <a:pt x="8914831" y="579326"/>
                </a:moveTo>
                <a:cubicBezTo>
                  <a:pt x="8950545" y="579326"/>
                  <a:pt x="8979497" y="608276"/>
                  <a:pt x="8979497" y="643992"/>
                </a:cubicBezTo>
                <a:cubicBezTo>
                  <a:pt x="8979497" y="679704"/>
                  <a:pt x="8950545" y="708656"/>
                  <a:pt x="8914831" y="708656"/>
                </a:cubicBezTo>
                <a:cubicBezTo>
                  <a:pt x="8879117" y="708656"/>
                  <a:pt x="8850165" y="679704"/>
                  <a:pt x="8850165" y="643992"/>
                </a:cubicBezTo>
                <a:cubicBezTo>
                  <a:pt x="8850165" y="608276"/>
                  <a:pt x="8879117" y="579326"/>
                  <a:pt x="8914831" y="579326"/>
                </a:cubicBezTo>
                <a:close/>
                <a:moveTo>
                  <a:pt x="8766086" y="579326"/>
                </a:moveTo>
                <a:cubicBezTo>
                  <a:pt x="8801800" y="579326"/>
                  <a:pt x="8830752" y="608276"/>
                  <a:pt x="8830752" y="643992"/>
                </a:cubicBezTo>
                <a:cubicBezTo>
                  <a:pt x="8830752" y="679704"/>
                  <a:pt x="8801800" y="708656"/>
                  <a:pt x="8766086" y="708656"/>
                </a:cubicBezTo>
                <a:cubicBezTo>
                  <a:pt x="8730372" y="708656"/>
                  <a:pt x="8701420" y="679704"/>
                  <a:pt x="8701420" y="643992"/>
                </a:cubicBezTo>
                <a:cubicBezTo>
                  <a:pt x="8701420" y="608276"/>
                  <a:pt x="8730372" y="579326"/>
                  <a:pt x="8766086" y="579326"/>
                </a:cubicBezTo>
                <a:close/>
                <a:moveTo>
                  <a:pt x="8601685" y="579326"/>
                </a:moveTo>
                <a:cubicBezTo>
                  <a:pt x="8637399" y="579326"/>
                  <a:pt x="8666351" y="608276"/>
                  <a:pt x="8666351" y="643992"/>
                </a:cubicBezTo>
                <a:cubicBezTo>
                  <a:pt x="8666351" y="679704"/>
                  <a:pt x="8637399" y="708656"/>
                  <a:pt x="8601685" y="708656"/>
                </a:cubicBezTo>
                <a:cubicBezTo>
                  <a:pt x="8565971" y="708656"/>
                  <a:pt x="8537019" y="679704"/>
                  <a:pt x="8537019" y="643992"/>
                </a:cubicBezTo>
                <a:cubicBezTo>
                  <a:pt x="8537019" y="608276"/>
                  <a:pt x="8565971" y="579326"/>
                  <a:pt x="8601685" y="579326"/>
                </a:cubicBezTo>
                <a:close/>
                <a:moveTo>
                  <a:pt x="8449025" y="579326"/>
                </a:moveTo>
                <a:cubicBezTo>
                  <a:pt x="8484739" y="579326"/>
                  <a:pt x="8513691" y="608276"/>
                  <a:pt x="8513691" y="643992"/>
                </a:cubicBezTo>
                <a:cubicBezTo>
                  <a:pt x="8513691" y="679704"/>
                  <a:pt x="8484739" y="708656"/>
                  <a:pt x="8449025" y="708656"/>
                </a:cubicBezTo>
                <a:cubicBezTo>
                  <a:pt x="8413311" y="708656"/>
                  <a:pt x="8384359" y="679704"/>
                  <a:pt x="8384359" y="643992"/>
                </a:cubicBezTo>
                <a:cubicBezTo>
                  <a:pt x="8384359" y="608276"/>
                  <a:pt x="8413311" y="579326"/>
                  <a:pt x="8449025" y="579326"/>
                </a:cubicBezTo>
                <a:close/>
                <a:moveTo>
                  <a:pt x="8296368" y="579326"/>
                </a:moveTo>
                <a:cubicBezTo>
                  <a:pt x="8332082" y="579326"/>
                  <a:pt x="8361034" y="608276"/>
                  <a:pt x="8361034" y="643992"/>
                </a:cubicBezTo>
                <a:cubicBezTo>
                  <a:pt x="8361034" y="679704"/>
                  <a:pt x="8332082" y="708656"/>
                  <a:pt x="8296368" y="708656"/>
                </a:cubicBezTo>
                <a:cubicBezTo>
                  <a:pt x="8260654" y="708656"/>
                  <a:pt x="8231702" y="679704"/>
                  <a:pt x="8231702" y="643992"/>
                </a:cubicBezTo>
                <a:cubicBezTo>
                  <a:pt x="8231702" y="608276"/>
                  <a:pt x="8260654" y="579326"/>
                  <a:pt x="8296368" y="579326"/>
                </a:cubicBezTo>
                <a:close/>
                <a:moveTo>
                  <a:pt x="8139793" y="579326"/>
                </a:moveTo>
                <a:cubicBezTo>
                  <a:pt x="8175507" y="579326"/>
                  <a:pt x="8204459" y="608276"/>
                  <a:pt x="8204459" y="643992"/>
                </a:cubicBezTo>
                <a:cubicBezTo>
                  <a:pt x="8204459" y="679704"/>
                  <a:pt x="8175507" y="708656"/>
                  <a:pt x="8139793" y="708656"/>
                </a:cubicBezTo>
                <a:cubicBezTo>
                  <a:pt x="8104079" y="708656"/>
                  <a:pt x="8075127" y="679704"/>
                  <a:pt x="8075127" y="643992"/>
                </a:cubicBezTo>
                <a:cubicBezTo>
                  <a:pt x="8075127" y="608276"/>
                  <a:pt x="8104079" y="579326"/>
                  <a:pt x="8139793" y="579326"/>
                </a:cubicBezTo>
                <a:close/>
                <a:moveTo>
                  <a:pt x="7368669" y="579326"/>
                </a:moveTo>
                <a:cubicBezTo>
                  <a:pt x="7404383" y="579326"/>
                  <a:pt x="7433335" y="608276"/>
                  <a:pt x="7433335" y="643992"/>
                </a:cubicBezTo>
                <a:cubicBezTo>
                  <a:pt x="7433335" y="679704"/>
                  <a:pt x="7404383" y="708658"/>
                  <a:pt x="7368669" y="708658"/>
                </a:cubicBezTo>
                <a:cubicBezTo>
                  <a:pt x="7332955" y="708658"/>
                  <a:pt x="7304003" y="679704"/>
                  <a:pt x="7304003" y="643992"/>
                </a:cubicBezTo>
                <a:cubicBezTo>
                  <a:pt x="7304003" y="608276"/>
                  <a:pt x="7332955" y="579326"/>
                  <a:pt x="7368669" y="579326"/>
                </a:cubicBezTo>
                <a:close/>
                <a:moveTo>
                  <a:pt x="4722614" y="579326"/>
                </a:moveTo>
                <a:cubicBezTo>
                  <a:pt x="4758338" y="579326"/>
                  <a:pt x="4787277" y="608276"/>
                  <a:pt x="4787277" y="643992"/>
                </a:cubicBezTo>
                <a:cubicBezTo>
                  <a:pt x="4787277" y="679704"/>
                  <a:pt x="4758338" y="708658"/>
                  <a:pt x="4722614" y="708658"/>
                </a:cubicBezTo>
                <a:cubicBezTo>
                  <a:pt x="4686908" y="708658"/>
                  <a:pt x="4657957" y="679704"/>
                  <a:pt x="4657957" y="643992"/>
                </a:cubicBezTo>
                <a:cubicBezTo>
                  <a:pt x="4657957" y="608276"/>
                  <a:pt x="4686908" y="579326"/>
                  <a:pt x="4722614" y="579326"/>
                </a:cubicBezTo>
                <a:close/>
                <a:moveTo>
                  <a:pt x="4566030" y="579326"/>
                </a:moveTo>
                <a:cubicBezTo>
                  <a:pt x="4601751" y="579326"/>
                  <a:pt x="4630712" y="608276"/>
                  <a:pt x="4630712" y="643992"/>
                </a:cubicBezTo>
                <a:cubicBezTo>
                  <a:pt x="4630712" y="679704"/>
                  <a:pt x="4601751" y="708658"/>
                  <a:pt x="4566030" y="708658"/>
                </a:cubicBezTo>
                <a:cubicBezTo>
                  <a:pt x="4530304" y="708658"/>
                  <a:pt x="4501345" y="679704"/>
                  <a:pt x="4501345" y="643992"/>
                </a:cubicBezTo>
                <a:cubicBezTo>
                  <a:pt x="4501345" y="608276"/>
                  <a:pt x="4530304" y="579326"/>
                  <a:pt x="4566030" y="579326"/>
                </a:cubicBezTo>
                <a:close/>
                <a:moveTo>
                  <a:pt x="4409471" y="579326"/>
                </a:moveTo>
                <a:cubicBezTo>
                  <a:pt x="4445169" y="579326"/>
                  <a:pt x="4474113" y="608276"/>
                  <a:pt x="4474113" y="643992"/>
                </a:cubicBezTo>
                <a:cubicBezTo>
                  <a:pt x="4474113" y="679704"/>
                  <a:pt x="4445169" y="708658"/>
                  <a:pt x="4409471" y="708658"/>
                </a:cubicBezTo>
                <a:cubicBezTo>
                  <a:pt x="4373772" y="708658"/>
                  <a:pt x="4344809" y="679704"/>
                  <a:pt x="4344809" y="643992"/>
                </a:cubicBezTo>
                <a:cubicBezTo>
                  <a:pt x="4344809" y="608276"/>
                  <a:pt x="4373772" y="579326"/>
                  <a:pt x="4409471" y="579326"/>
                </a:cubicBezTo>
                <a:close/>
                <a:moveTo>
                  <a:pt x="4256823" y="579326"/>
                </a:moveTo>
                <a:cubicBezTo>
                  <a:pt x="4292543" y="579326"/>
                  <a:pt x="4321471" y="608276"/>
                  <a:pt x="4321471" y="643992"/>
                </a:cubicBezTo>
                <a:cubicBezTo>
                  <a:pt x="4321471" y="679704"/>
                  <a:pt x="4292543" y="708658"/>
                  <a:pt x="4256823" y="708658"/>
                </a:cubicBezTo>
                <a:cubicBezTo>
                  <a:pt x="4221105" y="708658"/>
                  <a:pt x="4192125" y="679704"/>
                  <a:pt x="4192125" y="643992"/>
                </a:cubicBezTo>
                <a:cubicBezTo>
                  <a:pt x="4192125" y="608276"/>
                  <a:pt x="4221105" y="579326"/>
                  <a:pt x="4256823" y="579326"/>
                </a:cubicBezTo>
                <a:close/>
                <a:moveTo>
                  <a:pt x="4100255" y="579326"/>
                </a:moveTo>
                <a:cubicBezTo>
                  <a:pt x="4135957" y="579326"/>
                  <a:pt x="4164923" y="608276"/>
                  <a:pt x="4164923" y="643992"/>
                </a:cubicBezTo>
                <a:cubicBezTo>
                  <a:pt x="4164923" y="679704"/>
                  <a:pt x="4135957" y="708658"/>
                  <a:pt x="4100255" y="708658"/>
                </a:cubicBezTo>
                <a:cubicBezTo>
                  <a:pt x="4064528" y="708658"/>
                  <a:pt x="4035594" y="679704"/>
                  <a:pt x="4035594" y="643992"/>
                </a:cubicBezTo>
                <a:cubicBezTo>
                  <a:pt x="4035594" y="608276"/>
                  <a:pt x="4064528" y="579326"/>
                  <a:pt x="4100255" y="579326"/>
                </a:cubicBezTo>
                <a:close/>
                <a:moveTo>
                  <a:pt x="3947579" y="579326"/>
                </a:moveTo>
                <a:cubicBezTo>
                  <a:pt x="3983297" y="579326"/>
                  <a:pt x="4012257" y="608276"/>
                  <a:pt x="4012257" y="643992"/>
                </a:cubicBezTo>
                <a:cubicBezTo>
                  <a:pt x="4012257" y="679704"/>
                  <a:pt x="3983297" y="708658"/>
                  <a:pt x="3947579" y="708658"/>
                </a:cubicBezTo>
                <a:cubicBezTo>
                  <a:pt x="3912011" y="708658"/>
                  <a:pt x="3883063" y="679704"/>
                  <a:pt x="3883063" y="643992"/>
                </a:cubicBezTo>
                <a:cubicBezTo>
                  <a:pt x="3883063" y="608276"/>
                  <a:pt x="3912011" y="579326"/>
                  <a:pt x="3947579" y="579326"/>
                </a:cubicBezTo>
                <a:close/>
                <a:moveTo>
                  <a:pt x="3791157" y="579326"/>
                </a:moveTo>
                <a:cubicBezTo>
                  <a:pt x="3826864" y="579326"/>
                  <a:pt x="3855823" y="608276"/>
                  <a:pt x="3855823" y="643992"/>
                </a:cubicBezTo>
                <a:cubicBezTo>
                  <a:pt x="3855823" y="679704"/>
                  <a:pt x="3826864" y="708658"/>
                  <a:pt x="3791157" y="708658"/>
                </a:cubicBezTo>
                <a:cubicBezTo>
                  <a:pt x="3755435" y="708658"/>
                  <a:pt x="3726482" y="679704"/>
                  <a:pt x="3726482" y="643992"/>
                </a:cubicBezTo>
                <a:cubicBezTo>
                  <a:pt x="3726482" y="608276"/>
                  <a:pt x="3755435" y="579326"/>
                  <a:pt x="3791157" y="579326"/>
                </a:cubicBezTo>
                <a:close/>
                <a:moveTo>
                  <a:pt x="2855626" y="579326"/>
                </a:moveTo>
                <a:cubicBezTo>
                  <a:pt x="2891335" y="579326"/>
                  <a:pt x="2920280" y="608276"/>
                  <a:pt x="2920280" y="643992"/>
                </a:cubicBezTo>
                <a:cubicBezTo>
                  <a:pt x="2920280" y="679704"/>
                  <a:pt x="2891335" y="708658"/>
                  <a:pt x="2855626" y="708658"/>
                </a:cubicBezTo>
                <a:cubicBezTo>
                  <a:pt x="2819922" y="708658"/>
                  <a:pt x="2790969" y="679704"/>
                  <a:pt x="2790969" y="643992"/>
                </a:cubicBezTo>
                <a:cubicBezTo>
                  <a:pt x="2790969" y="608276"/>
                  <a:pt x="2819922" y="579326"/>
                  <a:pt x="2855626" y="579326"/>
                </a:cubicBezTo>
                <a:close/>
                <a:moveTo>
                  <a:pt x="2699081" y="579326"/>
                </a:moveTo>
                <a:cubicBezTo>
                  <a:pt x="2734789" y="579326"/>
                  <a:pt x="2763735" y="608276"/>
                  <a:pt x="2763735" y="643992"/>
                </a:cubicBezTo>
                <a:cubicBezTo>
                  <a:pt x="2763735" y="679704"/>
                  <a:pt x="2734789" y="708658"/>
                  <a:pt x="2699081" y="708658"/>
                </a:cubicBezTo>
                <a:cubicBezTo>
                  <a:pt x="2663374" y="708658"/>
                  <a:pt x="2634426" y="679704"/>
                  <a:pt x="2634426" y="643992"/>
                </a:cubicBezTo>
                <a:cubicBezTo>
                  <a:pt x="2634426" y="608276"/>
                  <a:pt x="2663374" y="579326"/>
                  <a:pt x="2699081" y="579326"/>
                </a:cubicBezTo>
                <a:close/>
                <a:moveTo>
                  <a:pt x="2546449" y="579326"/>
                </a:moveTo>
                <a:cubicBezTo>
                  <a:pt x="2582156" y="579326"/>
                  <a:pt x="2611104" y="608277"/>
                  <a:pt x="2611104" y="643992"/>
                </a:cubicBezTo>
                <a:cubicBezTo>
                  <a:pt x="2611104" y="679704"/>
                  <a:pt x="2582156" y="708658"/>
                  <a:pt x="2546449" y="708658"/>
                </a:cubicBezTo>
                <a:cubicBezTo>
                  <a:pt x="2510726" y="708658"/>
                  <a:pt x="2481790" y="679704"/>
                  <a:pt x="2481790" y="643992"/>
                </a:cubicBezTo>
                <a:cubicBezTo>
                  <a:pt x="2481790" y="608277"/>
                  <a:pt x="2510726" y="579326"/>
                  <a:pt x="2546449" y="579326"/>
                </a:cubicBezTo>
                <a:close/>
                <a:moveTo>
                  <a:pt x="2389866" y="579326"/>
                </a:moveTo>
                <a:cubicBezTo>
                  <a:pt x="2425606" y="579326"/>
                  <a:pt x="2454554" y="608277"/>
                  <a:pt x="2454554" y="643992"/>
                </a:cubicBezTo>
                <a:cubicBezTo>
                  <a:pt x="2454554" y="679704"/>
                  <a:pt x="2425606" y="708658"/>
                  <a:pt x="2389866" y="708658"/>
                </a:cubicBezTo>
                <a:cubicBezTo>
                  <a:pt x="2354175" y="708658"/>
                  <a:pt x="2325215" y="679704"/>
                  <a:pt x="2325215" y="643992"/>
                </a:cubicBezTo>
                <a:cubicBezTo>
                  <a:pt x="2325215" y="608277"/>
                  <a:pt x="2354175" y="579326"/>
                  <a:pt x="2389866" y="579326"/>
                </a:cubicBezTo>
                <a:close/>
                <a:moveTo>
                  <a:pt x="2237196" y="579326"/>
                </a:moveTo>
                <a:cubicBezTo>
                  <a:pt x="2272920" y="579326"/>
                  <a:pt x="2301879" y="608277"/>
                  <a:pt x="2301879" y="643992"/>
                </a:cubicBezTo>
                <a:cubicBezTo>
                  <a:pt x="2301879" y="679704"/>
                  <a:pt x="2272920" y="708658"/>
                  <a:pt x="2237196" y="708658"/>
                </a:cubicBezTo>
                <a:cubicBezTo>
                  <a:pt x="2201469" y="708658"/>
                  <a:pt x="2172508" y="679704"/>
                  <a:pt x="2172508" y="643992"/>
                </a:cubicBezTo>
                <a:cubicBezTo>
                  <a:pt x="2172508" y="608277"/>
                  <a:pt x="2201469" y="579326"/>
                  <a:pt x="2237196" y="579326"/>
                </a:cubicBezTo>
                <a:close/>
                <a:moveTo>
                  <a:pt x="2084510" y="579326"/>
                </a:moveTo>
                <a:cubicBezTo>
                  <a:pt x="2120226" y="579326"/>
                  <a:pt x="2149173" y="608277"/>
                  <a:pt x="2149173" y="643992"/>
                </a:cubicBezTo>
                <a:cubicBezTo>
                  <a:pt x="2149173" y="679704"/>
                  <a:pt x="2120226" y="708658"/>
                  <a:pt x="2084510" y="708658"/>
                </a:cubicBezTo>
                <a:cubicBezTo>
                  <a:pt x="2048780" y="708658"/>
                  <a:pt x="2019873" y="679704"/>
                  <a:pt x="2019873" y="643992"/>
                </a:cubicBezTo>
                <a:cubicBezTo>
                  <a:pt x="2019873" y="608277"/>
                  <a:pt x="2048780" y="579326"/>
                  <a:pt x="2084510" y="579326"/>
                </a:cubicBezTo>
                <a:close/>
                <a:moveTo>
                  <a:pt x="1927912" y="579326"/>
                </a:moveTo>
                <a:cubicBezTo>
                  <a:pt x="1963649" y="579326"/>
                  <a:pt x="1992614" y="608277"/>
                  <a:pt x="1992614" y="643992"/>
                </a:cubicBezTo>
                <a:cubicBezTo>
                  <a:pt x="1992614" y="679704"/>
                  <a:pt x="1963649" y="708658"/>
                  <a:pt x="1927912" y="708658"/>
                </a:cubicBezTo>
                <a:cubicBezTo>
                  <a:pt x="1892243" y="708658"/>
                  <a:pt x="1863289" y="679704"/>
                  <a:pt x="1863289" y="643992"/>
                </a:cubicBezTo>
                <a:cubicBezTo>
                  <a:pt x="1863289" y="608277"/>
                  <a:pt x="1892243" y="579326"/>
                  <a:pt x="1927912" y="579326"/>
                </a:cubicBezTo>
                <a:close/>
                <a:moveTo>
                  <a:pt x="1775269" y="579326"/>
                </a:moveTo>
                <a:cubicBezTo>
                  <a:pt x="1810972" y="579326"/>
                  <a:pt x="1839963" y="608277"/>
                  <a:pt x="1839963" y="643992"/>
                </a:cubicBezTo>
                <a:cubicBezTo>
                  <a:pt x="1839963" y="679704"/>
                  <a:pt x="1810972" y="708658"/>
                  <a:pt x="1775269" y="708658"/>
                </a:cubicBezTo>
                <a:cubicBezTo>
                  <a:pt x="1739546" y="708658"/>
                  <a:pt x="1710597" y="679704"/>
                  <a:pt x="1710597" y="643992"/>
                </a:cubicBezTo>
                <a:cubicBezTo>
                  <a:pt x="1710597" y="608277"/>
                  <a:pt x="1739546" y="579326"/>
                  <a:pt x="1775269" y="579326"/>
                </a:cubicBezTo>
                <a:close/>
                <a:moveTo>
                  <a:pt x="1618682" y="579326"/>
                </a:moveTo>
                <a:cubicBezTo>
                  <a:pt x="1654406" y="579326"/>
                  <a:pt x="1683355" y="608277"/>
                  <a:pt x="1683355" y="643992"/>
                </a:cubicBezTo>
                <a:cubicBezTo>
                  <a:pt x="1683355" y="679704"/>
                  <a:pt x="1654406" y="708658"/>
                  <a:pt x="1618682" y="708658"/>
                </a:cubicBezTo>
                <a:cubicBezTo>
                  <a:pt x="1582974" y="708658"/>
                  <a:pt x="1554022" y="679704"/>
                  <a:pt x="1554022" y="643992"/>
                </a:cubicBezTo>
                <a:cubicBezTo>
                  <a:pt x="1554022" y="608277"/>
                  <a:pt x="1582974" y="579326"/>
                  <a:pt x="1618682" y="579326"/>
                </a:cubicBezTo>
                <a:close/>
                <a:moveTo>
                  <a:pt x="1466025" y="579326"/>
                </a:moveTo>
                <a:cubicBezTo>
                  <a:pt x="1501741" y="579326"/>
                  <a:pt x="1530692" y="608277"/>
                  <a:pt x="1530692" y="643992"/>
                </a:cubicBezTo>
                <a:cubicBezTo>
                  <a:pt x="1530692" y="679704"/>
                  <a:pt x="1501741" y="708658"/>
                  <a:pt x="1466025" y="708658"/>
                </a:cubicBezTo>
                <a:cubicBezTo>
                  <a:pt x="1430312" y="708658"/>
                  <a:pt x="1401363" y="679704"/>
                  <a:pt x="1401363" y="643992"/>
                </a:cubicBezTo>
                <a:cubicBezTo>
                  <a:pt x="1401363" y="608277"/>
                  <a:pt x="1430312" y="579326"/>
                  <a:pt x="1466025" y="579326"/>
                </a:cubicBezTo>
                <a:close/>
                <a:moveTo>
                  <a:pt x="1466029" y="426670"/>
                </a:moveTo>
                <a:cubicBezTo>
                  <a:pt x="1501741" y="426670"/>
                  <a:pt x="1530694" y="455621"/>
                  <a:pt x="1530694" y="491334"/>
                </a:cubicBezTo>
                <a:cubicBezTo>
                  <a:pt x="1530694" y="527046"/>
                  <a:pt x="1501741" y="555998"/>
                  <a:pt x="1466029" y="555998"/>
                </a:cubicBezTo>
                <a:cubicBezTo>
                  <a:pt x="1430316" y="555998"/>
                  <a:pt x="1401363" y="527046"/>
                  <a:pt x="1401363" y="491334"/>
                </a:cubicBezTo>
                <a:cubicBezTo>
                  <a:pt x="1401363" y="455621"/>
                  <a:pt x="1430316" y="426670"/>
                  <a:pt x="1466029" y="426670"/>
                </a:cubicBezTo>
                <a:close/>
                <a:moveTo>
                  <a:pt x="2855634" y="426670"/>
                </a:moveTo>
                <a:cubicBezTo>
                  <a:pt x="2891335" y="426670"/>
                  <a:pt x="2920282" y="455621"/>
                  <a:pt x="2920282" y="491334"/>
                </a:cubicBezTo>
                <a:cubicBezTo>
                  <a:pt x="2920282" y="527046"/>
                  <a:pt x="2891335" y="555997"/>
                  <a:pt x="2855634" y="555997"/>
                </a:cubicBezTo>
                <a:cubicBezTo>
                  <a:pt x="2819922" y="555997"/>
                  <a:pt x="2790973" y="527046"/>
                  <a:pt x="2790973" y="491334"/>
                </a:cubicBezTo>
                <a:cubicBezTo>
                  <a:pt x="2790973" y="455621"/>
                  <a:pt x="2819922" y="426670"/>
                  <a:pt x="2855634" y="426670"/>
                </a:cubicBezTo>
                <a:close/>
                <a:moveTo>
                  <a:pt x="2699084" y="426670"/>
                </a:moveTo>
                <a:cubicBezTo>
                  <a:pt x="2734792" y="426670"/>
                  <a:pt x="2763736" y="455621"/>
                  <a:pt x="2763736" y="491334"/>
                </a:cubicBezTo>
                <a:cubicBezTo>
                  <a:pt x="2763736" y="527046"/>
                  <a:pt x="2734792" y="555997"/>
                  <a:pt x="2699084" y="555997"/>
                </a:cubicBezTo>
                <a:cubicBezTo>
                  <a:pt x="2663376" y="555997"/>
                  <a:pt x="2634429" y="527046"/>
                  <a:pt x="2634429" y="491334"/>
                </a:cubicBezTo>
                <a:cubicBezTo>
                  <a:pt x="2634429" y="455621"/>
                  <a:pt x="2663376" y="426670"/>
                  <a:pt x="2699084" y="426670"/>
                </a:cubicBezTo>
                <a:close/>
                <a:moveTo>
                  <a:pt x="2546449" y="426670"/>
                </a:moveTo>
                <a:cubicBezTo>
                  <a:pt x="2582156" y="426670"/>
                  <a:pt x="2611108" y="455621"/>
                  <a:pt x="2611108" y="491334"/>
                </a:cubicBezTo>
                <a:cubicBezTo>
                  <a:pt x="2611108" y="527046"/>
                  <a:pt x="2582156" y="555997"/>
                  <a:pt x="2546449" y="555997"/>
                </a:cubicBezTo>
                <a:cubicBezTo>
                  <a:pt x="2510726" y="555997"/>
                  <a:pt x="2481792" y="527046"/>
                  <a:pt x="2481792" y="491334"/>
                </a:cubicBezTo>
                <a:cubicBezTo>
                  <a:pt x="2481792" y="455621"/>
                  <a:pt x="2510726" y="426670"/>
                  <a:pt x="2546449" y="426670"/>
                </a:cubicBezTo>
                <a:close/>
                <a:moveTo>
                  <a:pt x="2389866" y="426670"/>
                </a:moveTo>
                <a:cubicBezTo>
                  <a:pt x="2425606" y="426670"/>
                  <a:pt x="2454554" y="455621"/>
                  <a:pt x="2454554" y="491334"/>
                </a:cubicBezTo>
                <a:cubicBezTo>
                  <a:pt x="2454554" y="527046"/>
                  <a:pt x="2425606" y="555997"/>
                  <a:pt x="2389866" y="555997"/>
                </a:cubicBezTo>
                <a:cubicBezTo>
                  <a:pt x="2354175" y="555997"/>
                  <a:pt x="2325217" y="527046"/>
                  <a:pt x="2325217" y="491334"/>
                </a:cubicBezTo>
                <a:cubicBezTo>
                  <a:pt x="2325217" y="455621"/>
                  <a:pt x="2354175" y="426670"/>
                  <a:pt x="2389866" y="426670"/>
                </a:cubicBezTo>
                <a:close/>
                <a:moveTo>
                  <a:pt x="2237196" y="426670"/>
                </a:moveTo>
                <a:cubicBezTo>
                  <a:pt x="2272921" y="426670"/>
                  <a:pt x="2301882" y="455621"/>
                  <a:pt x="2301882" y="491334"/>
                </a:cubicBezTo>
                <a:cubicBezTo>
                  <a:pt x="2301882" y="527046"/>
                  <a:pt x="2272921" y="555998"/>
                  <a:pt x="2237196" y="555998"/>
                </a:cubicBezTo>
                <a:cubicBezTo>
                  <a:pt x="2201472" y="555998"/>
                  <a:pt x="2172511" y="527046"/>
                  <a:pt x="2172511" y="491334"/>
                </a:cubicBezTo>
                <a:cubicBezTo>
                  <a:pt x="2172511" y="455621"/>
                  <a:pt x="2201472" y="426670"/>
                  <a:pt x="2237196" y="426670"/>
                </a:cubicBezTo>
                <a:close/>
                <a:moveTo>
                  <a:pt x="2084510" y="426670"/>
                </a:moveTo>
                <a:cubicBezTo>
                  <a:pt x="2120226" y="426670"/>
                  <a:pt x="2149176" y="455621"/>
                  <a:pt x="2149176" y="491334"/>
                </a:cubicBezTo>
                <a:cubicBezTo>
                  <a:pt x="2149176" y="527046"/>
                  <a:pt x="2120226" y="555998"/>
                  <a:pt x="2084510" y="555998"/>
                </a:cubicBezTo>
                <a:cubicBezTo>
                  <a:pt x="2048780" y="555998"/>
                  <a:pt x="2019873" y="527046"/>
                  <a:pt x="2019873" y="491334"/>
                </a:cubicBezTo>
                <a:cubicBezTo>
                  <a:pt x="2019873" y="455621"/>
                  <a:pt x="2048780" y="426670"/>
                  <a:pt x="2084510" y="426670"/>
                </a:cubicBezTo>
                <a:close/>
                <a:moveTo>
                  <a:pt x="1927912" y="426670"/>
                </a:moveTo>
                <a:cubicBezTo>
                  <a:pt x="1963649" y="426670"/>
                  <a:pt x="1992614" y="455621"/>
                  <a:pt x="1992614" y="491334"/>
                </a:cubicBezTo>
                <a:cubicBezTo>
                  <a:pt x="1992614" y="527046"/>
                  <a:pt x="1963649" y="555998"/>
                  <a:pt x="1927912" y="555998"/>
                </a:cubicBezTo>
                <a:cubicBezTo>
                  <a:pt x="1892243" y="555998"/>
                  <a:pt x="1863289" y="527046"/>
                  <a:pt x="1863289" y="491334"/>
                </a:cubicBezTo>
                <a:cubicBezTo>
                  <a:pt x="1863289" y="455621"/>
                  <a:pt x="1892243" y="426670"/>
                  <a:pt x="1927912" y="426670"/>
                </a:cubicBezTo>
                <a:close/>
                <a:moveTo>
                  <a:pt x="1775269" y="426670"/>
                </a:moveTo>
                <a:cubicBezTo>
                  <a:pt x="1810975" y="426670"/>
                  <a:pt x="1839963" y="455621"/>
                  <a:pt x="1839963" y="491334"/>
                </a:cubicBezTo>
                <a:cubicBezTo>
                  <a:pt x="1839963" y="527046"/>
                  <a:pt x="1810975" y="555998"/>
                  <a:pt x="1775269" y="555998"/>
                </a:cubicBezTo>
                <a:cubicBezTo>
                  <a:pt x="1739546" y="555998"/>
                  <a:pt x="1710597" y="527046"/>
                  <a:pt x="1710597" y="491334"/>
                </a:cubicBezTo>
                <a:cubicBezTo>
                  <a:pt x="1710597" y="455621"/>
                  <a:pt x="1739546" y="426670"/>
                  <a:pt x="1775269" y="426670"/>
                </a:cubicBezTo>
                <a:close/>
                <a:moveTo>
                  <a:pt x="1618685" y="426670"/>
                </a:moveTo>
                <a:cubicBezTo>
                  <a:pt x="1654407" y="426670"/>
                  <a:pt x="1683355" y="455621"/>
                  <a:pt x="1683355" y="491334"/>
                </a:cubicBezTo>
                <a:cubicBezTo>
                  <a:pt x="1683355" y="527046"/>
                  <a:pt x="1654407" y="555998"/>
                  <a:pt x="1618685" y="555998"/>
                </a:cubicBezTo>
                <a:cubicBezTo>
                  <a:pt x="1582975" y="555998"/>
                  <a:pt x="1554023" y="527046"/>
                  <a:pt x="1554023" y="491334"/>
                </a:cubicBezTo>
                <a:cubicBezTo>
                  <a:pt x="1554023" y="455621"/>
                  <a:pt x="1582975" y="426670"/>
                  <a:pt x="1618685" y="426670"/>
                </a:cubicBezTo>
                <a:close/>
                <a:moveTo>
                  <a:pt x="10312248" y="426669"/>
                </a:moveTo>
                <a:cubicBezTo>
                  <a:pt x="10347962" y="426669"/>
                  <a:pt x="10376914" y="455620"/>
                  <a:pt x="10376914" y="491332"/>
                </a:cubicBezTo>
                <a:cubicBezTo>
                  <a:pt x="10376914" y="527046"/>
                  <a:pt x="10347962" y="555997"/>
                  <a:pt x="10312248" y="555997"/>
                </a:cubicBezTo>
                <a:cubicBezTo>
                  <a:pt x="10276534" y="555997"/>
                  <a:pt x="10247582" y="527046"/>
                  <a:pt x="10247582" y="491332"/>
                </a:cubicBezTo>
                <a:cubicBezTo>
                  <a:pt x="10247582" y="455620"/>
                  <a:pt x="10276534" y="426669"/>
                  <a:pt x="10312248" y="426669"/>
                </a:cubicBezTo>
                <a:close/>
                <a:moveTo>
                  <a:pt x="10159588" y="426669"/>
                </a:moveTo>
                <a:cubicBezTo>
                  <a:pt x="10195302" y="426669"/>
                  <a:pt x="10224254" y="455620"/>
                  <a:pt x="10224254" y="491332"/>
                </a:cubicBezTo>
                <a:cubicBezTo>
                  <a:pt x="10224254" y="527046"/>
                  <a:pt x="10195302" y="555997"/>
                  <a:pt x="10159588" y="555997"/>
                </a:cubicBezTo>
                <a:cubicBezTo>
                  <a:pt x="10123874" y="555997"/>
                  <a:pt x="10094922" y="527046"/>
                  <a:pt x="10094922" y="491332"/>
                </a:cubicBezTo>
                <a:cubicBezTo>
                  <a:pt x="10094922" y="455620"/>
                  <a:pt x="10123874" y="426669"/>
                  <a:pt x="10159588" y="426669"/>
                </a:cubicBezTo>
                <a:close/>
                <a:moveTo>
                  <a:pt x="10003016" y="426669"/>
                </a:moveTo>
                <a:cubicBezTo>
                  <a:pt x="10038730" y="426669"/>
                  <a:pt x="10067682" y="455620"/>
                  <a:pt x="10067682" y="491332"/>
                </a:cubicBezTo>
                <a:cubicBezTo>
                  <a:pt x="10067682" y="527046"/>
                  <a:pt x="10038730" y="555997"/>
                  <a:pt x="10003016" y="555997"/>
                </a:cubicBezTo>
                <a:cubicBezTo>
                  <a:pt x="9967302" y="555997"/>
                  <a:pt x="9938350" y="527046"/>
                  <a:pt x="9938350" y="491332"/>
                </a:cubicBezTo>
                <a:cubicBezTo>
                  <a:pt x="9938350" y="455620"/>
                  <a:pt x="9967302" y="426669"/>
                  <a:pt x="10003016" y="426669"/>
                </a:cubicBezTo>
                <a:close/>
                <a:moveTo>
                  <a:pt x="9075319" y="426669"/>
                </a:moveTo>
                <a:cubicBezTo>
                  <a:pt x="9111033" y="426669"/>
                  <a:pt x="9139985" y="455620"/>
                  <a:pt x="9139985" y="491332"/>
                </a:cubicBezTo>
                <a:cubicBezTo>
                  <a:pt x="9139985" y="527046"/>
                  <a:pt x="9111033" y="555997"/>
                  <a:pt x="9075319" y="555997"/>
                </a:cubicBezTo>
                <a:cubicBezTo>
                  <a:pt x="9039605" y="555997"/>
                  <a:pt x="9010653" y="527046"/>
                  <a:pt x="9010653" y="491332"/>
                </a:cubicBezTo>
                <a:cubicBezTo>
                  <a:pt x="9010653" y="455620"/>
                  <a:pt x="9039605" y="426669"/>
                  <a:pt x="9075319" y="426669"/>
                </a:cubicBezTo>
                <a:close/>
                <a:moveTo>
                  <a:pt x="8914831" y="426669"/>
                </a:moveTo>
                <a:cubicBezTo>
                  <a:pt x="8950545" y="426669"/>
                  <a:pt x="8979497" y="455620"/>
                  <a:pt x="8979497" y="491332"/>
                </a:cubicBezTo>
                <a:cubicBezTo>
                  <a:pt x="8979497" y="527046"/>
                  <a:pt x="8950545" y="555997"/>
                  <a:pt x="8914831" y="555997"/>
                </a:cubicBezTo>
                <a:cubicBezTo>
                  <a:pt x="8879117" y="555997"/>
                  <a:pt x="8850165" y="527046"/>
                  <a:pt x="8850165" y="491332"/>
                </a:cubicBezTo>
                <a:cubicBezTo>
                  <a:pt x="8850165" y="455620"/>
                  <a:pt x="8879117" y="426669"/>
                  <a:pt x="8914831" y="426669"/>
                </a:cubicBezTo>
                <a:close/>
                <a:moveTo>
                  <a:pt x="8766086" y="426669"/>
                </a:moveTo>
                <a:cubicBezTo>
                  <a:pt x="8801800" y="426669"/>
                  <a:pt x="8830752" y="455620"/>
                  <a:pt x="8830752" y="491332"/>
                </a:cubicBezTo>
                <a:cubicBezTo>
                  <a:pt x="8830752" y="527046"/>
                  <a:pt x="8801800" y="555997"/>
                  <a:pt x="8766086" y="555997"/>
                </a:cubicBezTo>
                <a:cubicBezTo>
                  <a:pt x="8730372" y="555997"/>
                  <a:pt x="8701420" y="527046"/>
                  <a:pt x="8701420" y="491332"/>
                </a:cubicBezTo>
                <a:cubicBezTo>
                  <a:pt x="8701420" y="455620"/>
                  <a:pt x="8730372" y="426669"/>
                  <a:pt x="8766086" y="426669"/>
                </a:cubicBezTo>
                <a:close/>
                <a:moveTo>
                  <a:pt x="8601685" y="426669"/>
                </a:moveTo>
                <a:cubicBezTo>
                  <a:pt x="8637399" y="426669"/>
                  <a:pt x="8666351" y="455620"/>
                  <a:pt x="8666351" y="491332"/>
                </a:cubicBezTo>
                <a:cubicBezTo>
                  <a:pt x="8666351" y="527046"/>
                  <a:pt x="8637399" y="555997"/>
                  <a:pt x="8601685" y="555997"/>
                </a:cubicBezTo>
                <a:cubicBezTo>
                  <a:pt x="8565971" y="555997"/>
                  <a:pt x="8537019" y="527046"/>
                  <a:pt x="8537019" y="491332"/>
                </a:cubicBezTo>
                <a:cubicBezTo>
                  <a:pt x="8537019" y="455620"/>
                  <a:pt x="8565971" y="426669"/>
                  <a:pt x="8601685" y="426669"/>
                </a:cubicBezTo>
                <a:close/>
                <a:moveTo>
                  <a:pt x="7677904" y="426669"/>
                </a:moveTo>
                <a:cubicBezTo>
                  <a:pt x="7713618" y="426669"/>
                  <a:pt x="7742570" y="455620"/>
                  <a:pt x="7742570" y="491332"/>
                </a:cubicBezTo>
                <a:cubicBezTo>
                  <a:pt x="7742570" y="527046"/>
                  <a:pt x="7713618" y="555997"/>
                  <a:pt x="7677904" y="555997"/>
                </a:cubicBezTo>
                <a:cubicBezTo>
                  <a:pt x="7642190" y="555997"/>
                  <a:pt x="7613238" y="527046"/>
                  <a:pt x="7613238" y="491332"/>
                </a:cubicBezTo>
                <a:cubicBezTo>
                  <a:pt x="7613238" y="455620"/>
                  <a:pt x="7642190" y="426669"/>
                  <a:pt x="7677904" y="426669"/>
                </a:cubicBezTo>
                <a:close/>
                <a:moveTo>
                  <a:pt x="7521331" y="426669"/>
                </a:moveTo>
                <a:cubicBezTo>
                  <a:pt x="7557045" y="426669"/>
                  <a:pt x="7585997" y="455620"/>
                  <a:pt x="7585997" y="491332"/>
                </a:cubicBezTo>
                <a:cubicBezTo>
                  <a:pt x="7585997" y="527046"/>
                  <a:pt x="7557045" y="555997"/>
                  <a:pt x="7521331" y="555997"/>
                </a:cubicBezTo>
                <a:cubicBezTo>
                  <a:pt x="7485617" y="555997"/>
                  <a:pt x="7456665" y="527046"/>
                  <a:pt x="7456665" y="491332"/>
                </a:cubicBezTo>
                <a:cubicBezTo>
                  <a:pt x="7456665" y="455620"/>
                  <a:pt x="7485617" y="426669"/>
                  <a:pt x="7521331" y="426669"/>
                </a:cubicBezTo>
                <a:close/>
                <a:moveTo>
                  <a:pt x="4722614" y="426669"/>
                </a:moveTo>
                <a:cubicBezTo>
                  <a:pt x="4758338" y="426669"/>
                  <a:pt x="4787277" y="455621"/>
                  <a:pt x="4787277" y="491332"/>
                </a:cubicBezTo>
                <a:cubicBezTo>
                  <a:pt x="4787277" y="527046"/>
                  <a:pt x="4758338" y="555997"/>
                  <a:pt x="4722614" y="555997"/>
                </a:cubicBezTo>
                <a:cubicBezTo>
                  <a:pt x="4686908" y="555997"/>
                  <a:pt x="4657957" y="527046"/>
                  <a:pt x="4657957" y="491332"/>
                </a:cubicBezTo>
                <a:cubicBezTo>
                  <a:pt x="4657957" y="455621"/>
                  <a:pt x="4686908" y="426669"/>
                  <a:pt x="4722614" y="426669"/>
                </a:cubicBezTo>
                <a:close/>
                <a:moveTo>
                  <a:pt x="4566030" y="426669"/>
                </a:moveTo>
                <a:cubicBezTo>
                  <a:pt x="4601751" y="426669"/>
                  <a:pt x="4630712" y="455621"/>
                  <a:pt x="4630712" y="491332"/>
                </a:cubicBezTo>
                <a:cubicBezTo>
                  <a:pt x="4630712" y="527046"/>
                  <a:pt x="4601751" y="555997"/>
                  <a:pt x="4566030" y="555997"/>
                </a:cubicBezTo>
                <a:cubicBezTo>
                  <a:pt x="4530304" y="555997"/>
                  <a:pt x="4501345" y="527046"/>
                  <a:pt x="4501345" y="491332"/>
                </a:cubicBezTo>
                <a:cubicBezTo>
                  <a:pt x="4501345" y="455621"/>
                  <a:pt x="4530304" y="426669"/>
                  <a:pt x="4566030" y="426669"/>
                </a:cubicBezTo>
                <a:close/>
                <a:moveTo>
                  <a:pt x="4409471" y="426669"/>
                </a:moveTo>
                <a:cubicBezTo>
                  <a:pt x="4445169" y="426669"/>
                  <a:pt x="4474113" y="455621"/>
                  <a:pt x="4474113" y="491332"/>
                </a:cubicBezTo>
                <a:cubicBezTo>
                  <a:pt x="4474113" y="527046"/>
                  <a:pt x="4445169" y="555997"/>
                  <a:pt x="4409471" y="555997"/>
                </a:cubicBezTo>
                <a:cubicBezTo>
                  <a:pt x="4373772" y="555997"/>
                  <a:pt x="4344809" y="527046"/>
                  <a:pt x="4344809" y="491332"/>
                </a:cubicBezTo>
                <a:cubicBezTo>
                  <a:pt x="4344809" y="455621"/>
                  <a:pt x="4373772" y="426669"/>
                  <a:pt x="4409471" y="426669"/>
                </a:cubicBezTo>
                <a:close/>
                <a:moveTo>
                  <a:pt x="4256823" y="426669"/>
                </a:moveTo>
                <a:cubicBezTo>
                  <a:pt x="4292543" y="426669"/>
                  <a:pt x="4321471" y="455621"/>
                  <a:pt x="4321471" y="491332"/>
                </a:cubicBezTo>
                <a:cubicBezTo>
                  <a:pt x="4321471" y="527046"/>
                  <a:pt x="4292543" y="555997"/>
                  <a:pt x="4256823" y="555997"/>
                </a:cubicBezTo>
                <a:cubicBezTo>
                  <a:pt x="4221105" y="555997"/>
                  <a:pt x="4192125" y="527046"/>
                  <a:pt x="4192125" y="491332"/>
                </a:cubicBezTo>
                <a:cubicBezTo>
                  <a:pt x="4192125" y="455621"/>
                  <a:pt x="4221105" y="426669"/>
                  <a:pt x="4256823" y="426669"/>
                </a:cubicBezTo>
                <a:close/>
                <a:moveTo>
                  <a:pt x="4100255" y="426669"/>
                </a:moveTo>
                <a:cubicBezTo>
                  <a:pt x="4135957" y="426669"/>
                  <a:pt x="4164923" y="455621"/>
                  <a:pt x="4164923" y="491332"/>
                </a:cubicBezTo>
                <a:cubicBezTo>
                  <a:pt x="4164923" y="527046"/>
                  <a:pt x="4135957" y="555997"/>
                  <a:pt x="4100255" y="555997"/>
                </a:cubicBezTo>
                <a:cubicBezTo>
                  <a:pt x="4064528" y="555997"/>
                  <a:pt x="4035594" y="527046"/>
                  <a:pt x="4035594" y="491332"/>
                </a:cubicBezTo>
                <a:cubicBezTo>
                  <a:pt x="4035594" y="455621"/>
                  <a:pt x="4064528" y="426669"/>
                  <a:pt x="4100255" y="426669"/>
                </a:cubicBezTo>
                <a:close/>
                <a:moveTo>
                  <a:pt x="3947579" y="426669"/>
                </a:moveTo>
                <a:cubicBezTo>
                  <a:pt x="3983297" y="426669"/>
                  <a:pt x="4012257" y="455621"/>
                  <a:pt x="4012257" y="491332"/>
                </a:cubicBezTo>
                <a:cubicBezTo>
                  <a:pt x="4012257" y="527046"/>
                  <a:pt x="3983297" y="555997"/>
                  <a:pt x="3947579" y="555997"/>
                </a:cubicBezTo>
                <a:cubicBezTo>
                  <a:pt x="3912015" y="555997"/>
                  <a:pt x="3883064" y="527046"/>
                  <a:pt x="3883064" y="491332"/>
                </a:cubicBezTo>
                <a:cubicBezTo>
                  <a:pt x="3883064" y="455621"/>
                  <a:pt x="3912015" y="426669"/>
                  <a:pt x="3947579" y="426669"/>
                </a:cubicBezTo>
                <a:close/>
                <a:moveTo>
                  <a:pt x="3791161" y="426669"/>
                </a:moveTo>
                <a:cubicBezTo>
                  <a:pt x="3826868" y="426669"/>
                  <a:pt x="3855823" y="455621"/>
                  <a:pt x="3855823" y="491332"/>
                </a:cubicBezTo>
                <a:cubicBezTo>
                  <a:pt x="3855823" y="527046"/>
                  <a:pt x="3826868" y="555997"/>
                  <a:pt x="3791161" y="555997"/>
                </a:cubicBezTo>
                <a:cubicBezTo>
                  <a:pt x="3755440" y="555997"/>
                  <a:pt x="3726486" y="527046"/>
                  <a:pt x="3726486" y="491332"/>
                </a:cubicBezTo>
                <a:cubicBezTo>
                  <a:pt x="3726486" y="455621"/>
                  <a:pt x="3755440" y="426669"/>
                  <a:pt x="3791161" y="426669"/>
                </a:cubicBezTo>
                <a:close/>
                <a:moveTo>
                  <a:pt x="3630671" y="426669"/>
                </a:moveTo>
                <a:cubicBezTo>
                  <a:pt x="3666383" y="426669"/>
                  <a:pt x="3695344" y="455621"/>
                  <a:pt x="3695344" y="491332"/>
                </a:cubicBezTo>
                <a:cubicBezTo>
                  <a:pt x="3695344" y="527046"/>
                  <a:pt x="3666383" y="555997"/>
                  <a:pt x="3630671" y="555997"/>
                </a:cubicBezTo>
                <a:cubicBezTo>
                  <a:pt x="3594946" y="555997"/>
                  <a:pt x="3565990" y="527046"/>
                  <a:pt x="3565990" y="491332"/>
                </a:cubicBezTo>
                <a:cubicBezTo>
                  <a:pt x="3565990" y="455621"/>
                  <a:pt x="3594946" y="426669"/>
                  <a:pt x="3630671" y="426669"/>
                </a:cubicBezTo>
                <a:close/>
                <a:moveTo>
                  <a:pt x="3481916" y="426669"/>
                </a:moveTo>
                <a:cubicBezTo>
                  <a:pt x="3517633" y="426669"/>
                  <a:pt x="3546591" y="455621"/>
                  <a:pt x="3546591" y="491332"/>
                </a:cubicBezTo>
                <a:cubicBezTo>
                  <a:pt x="3546591" y="527046"/>
                  <a:pt x="3517633" y="555997"/>
                  <a:pt x="3481916" y="555997"/>
                </a:cubicBezTo>
                <a:cubicBezTo>
                  <a:pt x="3446210" y="555997"/>
                  <a:pt x="3417259" y="527046"/>
                  <a:pt x="3417259" y="491332"/>
                </a:cubicBezTo>
                <a:cubicBezTo>
                  <a:pt x="3417259" y="455621"/>
                  <a:pt x="3446210" y="426669"/>
                  <a:pt x="3481916" y="426669"/>
                </a:cubicBezTo>
                <a:close/>
                <a:moveTo>
                  <a:pt x="3321451" y="426669"/>
                </a:moveTo>
                <a:cubicBezTo>
                  <a:pt x="3357165" y="426669"/>
                  <a:pt x="3386094" y="455621"/>
                  <a:pt x="3386094" y="491334"/>
                </a:cubicBezTo>
                <a:cubicBezTo>
                  <a:pt x="3386094" y="527046"/>
                  <a:pt x="3357165" y="555997"/>
                  <a:pt x="3321451" y="555997"/>
                </a:cubicBezTo>
                <a:cubicBezTo>
                  <a:pt x="3285730" y="555997"/>
                  <a:pt x="3256791" y="527046"/>
                  <a:pt x="3256791" y="491334"/>
                </a:cubicBezTo>
                <a:cubicBezTo>
                  <a:pt x="3256791" y="455621"/>
                  <a:pt x="3285730" y="426669"/>
                  <a:pt x="3321451" y="426669"/>
                </a:cubicBezTo>
                <a:close/>
                <a:moveTo>
                  <a:pt x="2855634" y="289662"/>
                </a:moveTo>
                <a:cubicBezTo>
                  <a:pt x="2891335" y="289662"/>
                  <a:pt x="2920282" y="318614"/>
                  <a:pt x="2920282" y="354327"/>
                </a:cubicBezTo>
                <a:cubicBezTo>
                  <a:pt x="2920282" y="390040"/>
                  <a:pt x="2891335" y="419004"/>
                  <a:pt x="2855634" y="419004"/>
                </a:cubicBezTo>
                <a:cubicBezTo>
                  <a:pt x="2819922" y="419004"/>
                  <a:pt x="2790973" y="390040"/>
                  <a:pt x="2790973" y="354327"/>
                </a:cubicBezTo>
                <a:cubicBezTo>
                  <a:pt x="2790973" y="318614"/>
                  <a:pt x="2819922" y="289662"/>
                  <a:pt x="2855634" y="289662"/>
                </a:cubicBezTo>
                <a:close/>
                <a:moveTo>
                  <a:pt x="2699084" y="289662"/>
                </a:moveTo>
                <a:cubicBezTo>
                  <a:pt x="2734792" y="289662"/>
                  <a:pt x="2763736" y="318614"/>
                  <a:pt x="2763736" y="354327"/>
                </a:cubicBezTo>
                <a:cubicBezTo>
                  <a:pt x="2763736" y="390040"/>
                  <a:pt x="2734792" y="419004"/>
                  <a:pt x="2699084" y="419004"/>
                </a:cubicBezTo>
                <a:cubicBezTo>
                  <a:pt x="2663376" y="419004"/>
                  <a:pt x="2634429" y="390040"/>
                  <a:pt x="2634429" y="354327"/>
                </a:cubicBezTo>
                <a:cubicBezTo>
                  <a:pt x="2634429" y="318614"/>
                  <a:pt x="2663376" y="289662"/>
                  <a:pt x="2699084" y="289662"/>
                </a:cubicBezTo>
                <a:close/>
                <a:moveTo>
                  <a:pt x="2546449" y="289662"/>
                </a:moveTo>
                <a:cubicBezTo>
                  <a:pt x="2582162" y="289662"/>
                  <a:pt x="2611108" y="318614"/>
                  <a:pt x="2611108" y="354327"/>
                </a:cubicBezTo>
                <a:cubicBezTo>
                  <a:pt x="2611108" y="390040"/>
                  <a:pt x="2582162" y="419004"/>
                  <a:pt x="2546449" y="419004"/>
                </a:cubicBezTo>
                <a:cubicBezTo>
                  <a:pt x="2510726" y="419004"/>
                  <a:pt x="2481792" y="390040"/>
                  <a:pt x="2481792" y="354327"/>
                </a:cubicBezTo>
                <a:cubicBezTo>
                  <a:pt x="2481792" y="318614"/>
                  <a:pt x="2510726" y="289662"/>
                  <a:pt x="2546449" y="289662"/>
                </a:cubicBezTo>
                <a:close/>
                <a:moveTo>
                  <a:pt x="2237196" y="289662"/>
                </a:moveTo>
                <a:cubicBezTo>
                  <a:pt x="2272921" y="289662"/>
                  <a:pt x="2301882" y="318614"/>
                  <a:pt x="2301882" y="354327"/>
                </a:cubicBezTo>
                <a:cubicBezTo>
                  <a:pt x="2301882" y="390040"/>
                  <a:pt x="2272921" y="419004"/>
                  <a:pt x="2237196" y="419004"/>
                </a:cubicBezTo>
                <a:cubicBezTo>
                  <a:pt x="2201472" y="419004"/>
                  <a:pt x="2172511" y="390040"/>
                  <a:pt x="2172511" y="354327"/>
                </a:cubicBezTo>
                <a:cubicBezTo>
                  <a:pt x="2172511" y="318614"/>
                  <a:pt x="2201472" y="289662"/>
                  <a:pt x="2237196" y="289662"/>
                </a:cubicBezTo>
                <a:close/>
                <a:moveTo>
                  <a:pt x="2084510" y="289662"/>
                </a:moveTo>
                <a:cubicBezTo>
                  <a:pt x="2120230" y="289662"/>
                  <a:pt x="2149176" y="318614"/>
                  <a:pt x="2149176" y="354327"/>
                </a:cubicBezTo>
                <a:cubicBezTo>
                  <a:pt x="2149176" y="390041"/>
                  <a:pt x="2120230" y="419004"/>
                  <a:pt x="2084510" y="419004"/>
                </a:cubicBezTo>
                <a:cubicBezTo>
                  <a:pt x="2048783" y="419004"/>
                  <a:pt x="2019873" y="390041"/>
                  <a:pt x="2019873" y="354327"/>
                </a:cubicBezTo>
                <a:cubicBezTo>
                  <a:pt x="2019873" y="318614"/>
                  <a:pt x="2048783" y="289662"/>
                  <a:pt x="2084510" y="289662"/>
                </a:cubicBezTo>
                <a:close/>
                <a:moveTo>
                  <a:pt x="1927926" y="289662"/>
                </a:moveTo>
                <a:cubicBezTo>
                  <a:pt x="1963649" y="289662"/>
                  <a:pt x="1992616" y="318614"/>
                  <a:pt x="1992616" y="354327"/>
                </a:cubicBezTo>
                <a:cubicBezTo>
                  <a:pt x="1992616" y="390041"/>
                  <a:pt x="1963649" y="419004"/>
                  <a:pt x="1927926" y="419004"/>
                </a:cubicBezTo>
                <a:cubicBezTo>
                  <a:pt x="1892248" y="419004"/>
                  <a:pt x="1863292" y="390041"/>
                  <a:pt x="1863292" y="354327"/>
                </a:cubicBezTo>
                <a:cubicBezTo>
                  <a:pt x="1863292" y="318614"/>
                  <a:pt x="1892248" y="289662"/>
                  <a:pt x="1927926" y="289662"/>
                </a:cubicBezTo>
                <a:close/>
                <a:moveTo>
                  <a:pt x="1775272" y="289662"/>
                </a:moveTo>
                <a:cubicBezTo>
                  <a:pt x="1810975" y="289662"/>
                  <a:pt x="1839963" y="318614"/>
                  <a:pt x="1839963" y="354327"/>
                </a:cubicBezTo>
                <a:cubicBezTo>
                  <a:pt x="1839963" y="390041"/>
                  <a:pt x="1810975" y="419004"/>
                  <a:pt x="1775272" y="419004"/>
                </a:cubicBezTo>
                <a:cubicBezTo>
                  <a:pt x="1739556" y="419004"/>
                  <a:pt x="1710600" y="390041"/>
                  <a:pt x="1710600" y="354327"/>
                </a:cubicBezTo>
                <a:cubicBezTo>
                  <a:pt x="1710600" y="318614"/>
                  <a:pt x="1739556" y="289662"/>
                  <a:pt x="1775272" y="289662"/>
                </a:cubicBezTo>
                <a:close/>
                <a:moveTo>
                  <a:pt x="1618690" y="289662"/>
                </a:moveTo>
                <a:cubicBezTo>
                  <a:pt x="1654409" y="289662"/>
                  <a:pt x="1683360" y="318614"/>
                  <a:pt x="1683360" y="354327"/>
                </a:cubicBezTo>
                <a:cubicBezTo>
                  <a:pt x="1683360" y="390041"/>
                  <a:pt x="1654409" y="419004"/>
                  <a:pt x="1618690" y="419004"/>
                </a:cubicBezTo>
                <a:cubicBezTo>
                  <a:pt x="1582976" y="419004"/>
                  <a:pt x="1554023" y="390041"/>
                  <a:pt x="1554023" y="354327"/>
                </a:cubicBezTo>
                <a:cubicBezTo>
                  <a:pt x="1554023" y="318614"/>
                  <a:pt x="1582976" y="289662"/>
                  <a:pt x="1618690" y="289662"/>
                </a:cubicBezTo>
                <a:close/>
                <a:moveTo>
                  <a:pt x="3791161" y="289662"/>
                </a:moveTo>
                <a:cubicBezTo>
                  <a:pt x="3826868" y="289662"/>
                  <a:pt x="3855823" y="318614"/>
                  <a:pt x="3855823" y="354325"/>
                </a:cubicBezTo>
                <a:cubicBezTo>
                  <a:pt x="3855823" y="390040"/>
                  <a:pt x="3826868" y="419003"/>
                  <a:pt x="3791161" y="419003"/>
                </a:cubicBezTo>
                <a:cubicBezTo>
                  <a:pt x="3755440" y="419003"/>
                  <a:pt x="3726486" y="390040"/>
                  <a:pt x="3726486" y="354325"/>
                </a:cubicBezTo>
                <a:cubicBezTo>
                  <a:pt x="3726486" y="318614"/>
                  <a:pt x="3755440" y="289662"/>
                  <a:pt x="3791161" y="289662"/>
                </a:cubicBezTo>
                <a:close/>
                <a:moveTo>
                  <a:pt x="3630675" y="289662"/>
                </a:moveTo>
                <a:cubicBezTo>
                  <a:pt x="3666383" y="289662"/>
                  <a:pt x="3695344" y="318614"/>
                  <a:pt x="3695344" y="354325"/>
                </a:cubicBezTo>
                <a:cubicBezTo>
                  <a:pt x="3695344" y="390040"/>
                  <a:pt x="3666383" y="419003"/>
                  <a:pt x="3630675" y="419003"/>
                </a:cubicBezTo>
                <a:cubicBezTo>
                  <a:pt x="3594946" y="419003"/>
                  <a:pt x="3565992" y="390040"/>
                  <a:pt x="3565992" y="354325"/>
                </a:cubicBezTo>
                <a:cubicBezTo>
                  <a:pt x="3565992" y="318614"/>
                  <a:pt x="3594946" y="289662"/>
                  <a:pt x="3630675" y="289662"/>
                </a:cubicBezTo>
                <a:close/>
                <a:moveTo>
                  <a:pt x="3481916" y="289662"/>
                </a:moveTo>
                <a:cubicBezTo>
                  <a:pt x="3517633" y="289662"/>
                  <a:pt x="3546591" y="318614"/>
                  <a:pt x="3546591" y="354325"/>
                </a:cubicBezTo>
                <a:cubicBezTo>
                  <a:pt x="3546591" y="390040"/>
                  <a:pt x="3517633" y="419003"/>
                  <a:pt x="3481916" y="419003"/>
                </a:cubicBezTo>
                <a:cubicBezTo>
                  <a:pt x="3446210" y="419003"/>
                  <a:pt x="3417259" y="390040"/>
                  <a:pt x="3417259" y="354325"/>
                </a:cubicBezTo>
                <a:cubicBezTo>
                  <a:pt x="3417259" y="318614"/>
                  <a:pt x="3446210" y="289662"/>
                  <a:pt x="3481916" y="289662"/>
                </a:cubicBezTo>
                <a:close/>
                <a:moveTo>
                  <a:pt x="3321451" y="289662"/>
                </a:moveTo>
                <a:cubicBezTo>
                  <a:pt x="3357165" y="289662"/>
                  <a:pt x="3386094" y="318614"/>
                  <a:pt x="3386094" y="354325"/>
                </a:cubicBezTo>
                <a:cubicBezTo>
                  <a:pt x="3386094" y="390040"/>
                  <a:pt x="3357165" y="419003"/>
                  <a:pt x="3321451" y="419003"/>
                </a:cubicBezTo>
                <a:cubicBezTo>
                  <a:pt x="3285730" y="419003"/>
                  <a:pt x="3256791" y="390040"/>
                  <a:pt x="3256791" y="354325"/>
                </a:cubicBezTo>
                <a:cubicBezTo>
                  <a:pt x="3256791" y="318614"/>
                  <a:pt x="3285730" y="289662"/>
                  <a:pt x="3321451" y="289662"/>
                </a:cubicBezTo>
                <a:close/>
                <a:moveTo>
                  <a:pt x="3012178" y="289662"/>
                </a:moveTo>
                <a:cubicBezTo>
                  <a:pt x="3047889" y="289662"/>
                  <a:pt x="3076850" y="318614"/>
                  <a:pt x="3076850" y="354327"/>
                </a:cubicBezTo>
                <a:cubicBezTo>
                  <a:pt x="3076850" y="390040"/>
                  <a:pt x="3047889" y="419004"/>
                  <a:pt x="3012178" y="419004"/>
                </a:cubicBezTo>
                <a:cubicBezTo>
                  <a:pt x="2976470" y="419004"/>
                  <a:pt x="2947522" y="390040"/>
                  <a:pt x="2947522" y="354327"/>
                </a:cubicBezTo>
                <a:cubicBezTo>
                  <a:pt x="2947522" y="318614"/>
                  <a:pt x="2976470" y="289662"/>
                  <a:pt x="3012178" y="289662"/>
                </a:cubicBezTo>
                <a:close/>
                <a:moveTo>
                  <a:pt x="4722614" y="289661"/>
                </a:moveTo>
                <a:cubicBezTo>
                  <a:pt x="4758338" y="289661"/>
                  <a:pt x="4787277" y="318614"/>
                  <a:pt x="4787277" y="354325"/>
                </a:cubicBezTo>
                <a:cubicBezTo>
                  <a:pt x="4787277" y="390040"/>
                  <a:pt x="4758338" y="419003"/>
                  <a:pt x="4722614" y="419003"/>
                </a:cubicBezTo>
                <a:cubicBezTo>
                  <a:pt x="4686908" y="419003"/>
                  <a:pt x="4657957" y="390040"/>
                  <a:pt x="4657957" y="354325"/>
                </a:cubicBezTo>
                <a:cubicBezTo>
                  <a:pt x="4657957" y="318614"/>
                  <a:pt x="4686908" y="289661"/>
                  <a:pt x="4722614" y="289661"/>
                </a:cubicBezTo>
                <a:close/>
                <a:moveTo>
                  <a:pt x="4566033" y="289661"/>
                </a:moveTo>
                <a:cubicBezTo>
                  <a:pt x="4601754" y="289661"/>
                  <a:pt x="4630719" y="318614"/>
                  <a:pt x="4630719" y="354325"/>
                </a:cubicBezTo>
                <a:cubicBezTo>
                  <a:pt x="4630719" y="390040"/>
                  <a:pt x="4601754" y="419003"/>
                  <a:pt x="4566033" y="419003"/>
                </a:cubicBezTo>
                <a:cubicBezTo>
                  <a:pt x="4530305" y="419003"/>
                  <a:pt x="4501349" y="390040"/>
                  <a:pt x="4501349" y="354325"/>
                </a:cubicBezTo>
                <a:cubicBezTo>
                  <a:pt x="4501349" y="318614"/>
                  <a:pt x="4530305" y="289661"/>
                  <a:pt x="4566033" y="289661"/>
                </a:cubicBezTo>
                <a:close/>
                <a:moveTo>
                  <a:pt x="4409471" y="289661"/>
                </a:moveTo>
                <a:cubicBezTo>
                  <a:pt x="4445169" y="289661"/>
                  <a:pt x="4474113" y="318614"/>
                  <a:pt x="4474113" y="354325"/>
                </a:cubicBezTo>
                <a:cubicBezTo>
                  <a:pt x="4474113" y="390040"/>
                  <a:pt x="4445169" y="419003"/>
                  <a:pt x="4409471" y="419003"/>
                </a:cubicBezTo>
                <a:cubicBezTo>
                  <a:pt x="4373772" y="419003"/>
                  <a:pt x="4344809" y="390040"/>
                  <a:pt x="4344809" y="354325"/>
                </a:cubicBezTo>
                <a:cubicBezTo>
                  <a:pt x="4344809" y="318614"/>
                  <a:pt x="4373772" y="289661"/>
                  <a:pt x="4409471" y="289661"/>
                </a:cubicBezTo>
                <a:close/>
                <a:moveTo>
                  <a:pt x="4256823" y="289661"/>
                </a:moveTo>
                <a:cubicBezTo>
                  <a:pt x="4292543" y="289661"/>
                  <a:pt x="4321471" y="318614"/>
                  <a:pt x="4321471" y="354325"/>
                </a:cubicBezTo>
                <a:cubicBezTo>
                  <a:pt x="4321471" y="390040"/>
                  <a:pt x="4292543" y="419003"/>
                  <a:pt x="4256823" y="419003"/>
                </a:cubicBezTo>
                <a:cubicBezTo>
                  <a:pt x="4221105" y="419003"/>
                  <a:pt x="4192125" y="390040"/>
                  <a:pt x="4192125" y="354325"/>
                </a:cubicBezTo>
                <a:cubicBezTo>
                  <a:pt x="4192125" y="318614"/>
                  <a:pt x="4221105" y="289661"/>
                  <a:pt x="4256823" y="289661"/>
                </a:cubicBezTo>
                <a:close/>
                <a:moveTo>
                  <a:pt x="4100255" y="289661"/>
                </a:moveTo>
                <a:cubicBezTo>
                  <a:pt x="4135957" y="289661"/>
                  <a:pt x="4164923" y="318614"/>
                  <a:pt x="4164923" y="354325"/>
                </a:cubicBezTo>
                <a:cubicBezTo>
                  <a:pt x="4164923" y="390040"/>
                  <a:pt x="4135957" y="419003"/>
                  <a:pt x="4100255" y="419003"/>
                </a:cubicBezTo>
                <a:cubicBezTo>
                  <a:pt x="4064528" y="419003"/>
                  <a:pt x="4035594" y="390040"/>
                  <a:pt x="4035594" y="354325"/>
                </a:cubicBezTo>
                <a:cubicBezTo>
                  <a:pt x="4035594" y="318614"/>
                  <a:pt x="4064528" y="289661"/>
                  <a:pt x="4100255" y="289661"/>
                </a:cubicBezTo>
                <a:close/>
                <a:moveTo>
                  <a:pt x="3947579" y="289661"/>
                </a:moveTo>
                <a:cubicBezTo>
                  <a:pt x="3983297" y="289661"/>
                  <a:pt x="4012257" y="318614"/>
                  <a:pt x="4012257" y="354325"/>
                </a:cubicBezTo>
                <a:cubicBezTo>
                  <a:pt x="4012257" y="390040"/>
                  <a:pt x="3983297" y="419003"/>
                  <a:pt x="3947579" y="419003"/>
                </a:cubicBezTo>
                <a:cubicBezTo>
                  <a:pt x="3912017" y="419003"/>
                  <a:pt x="3883069" y="390040"/>
                  <a:pt x="3883069" y="354325"/>
                </a:cubicBezTo>
                <a:cubicBezTo>
                  <a:pt x="3883069" y="318614"/>
                  <a:pt x="3912017" y="289661"/>
                  <a:pt x="3947579" y="289661"/>
                </a:cubicBezTo>
                <a:close/>
                <a:moveTo>
                  <a:pt x="8914831" y="289661"/>
                </a:moveTo>
                <a:cubicBezTo>
                  <a:pt x="8950545" y="289661"/>
                  <a:pt x="8979497" y="318614"/>
                  <a:pt x="8979497" y="354325"/>
                </a:cubicBezTo>
                <a:cubicBezTo>
                  <a:pt x="8979497" y="390040"/>
                  <a:pt x="8950545" y="419003"/>
                  <a:pt x="8914831" y="419003"/>
                </a:cubicBezTo>
                <a:cubicBezTo>
                  <a:pt x="8879117" y="419003"/>
                  <a:pt x="8850165" y="390040"/>
                  <a:pt x="8850165" y="354325"/>
                </a:cubicBezTo>
                <a:cubicBezTo>
                  <a:pt x="8850165" y="318614"/>
                  <a:pt x="8879117" y="289661"/>
                  <a:pt x="8914831" y="289661"/>
                </a:cubicBezTo>
                <a:close/>
                <a:moveTo>
                  <a:pt x="8766087" y="289661"/>
                </a:moveTo>
                <a:cubicBezTo>
                  <a:pt x="8801801" y="289661"/>
                  <a:pt x="8830753" y="318614"/>
                  <a:pt x="8830753" y="354325"/>
                </a:cubicBezTo>
                <a:cubicBezTo>
                  <a:pt x="8830753" y="390040"/>
                  <a:pt x="8801801" y="419003"/>
                  <a:pt x="8766087" y="419003"/>
                </a:cubicBezTo>
                <a:cubicBezTo>
                  <a:pt x="8730373" y="419003"/>
                  <a:pt x="8701421" y="390040"/>
                  <a:pt x="8701421" y="354325"/>
                </a:cubicBezTo>
                <a:cubicBezTo>
                  <a:pt x="8701421" y="318614"/>
                  <a:pt x="8730373" y="289661"/>
                  <a:pt x="8766087" y="289661"/>
                </a:cubicBezTo>
                <a:close/>
                <a:moveTo>
                  <a:pt x="5967339" y="289661"/>
                </a:moveTo>
                <a:cubicBezTo>
                  <a:pt x="6003053" y="289661"/>
                  <a:pt x="6032005" y="318614"/>
                  <a:pt x="6032005" y="354325"/>
                </a:cubicBezTo>
                <a:cubicBezTo>
                  <a:pt x="6032005" y="390040"/>
                  <a:pt x="6003053" y="419003"/>
                  <a:pt x="5967339" y="419003"/>
                </a:cubicBezTo>
                <a:cubicBezTo>
                  <a:pt x="5931625" y="419003"/>
                  <a:pt x="5902673" y="390040"/>
                  <a:pt x="5902673" y="354325"/>
                </a:cubicBezTo>
                <a:cubicBezTo>
                  <a:pt x="5902673" y="318614"/>
                  <a:pt x="5931625" y="289661"/>
                  <a:pt x="5967339" y="289661"/>
                </a:cubicBezTo>
                <a:close/>
                <a:moveTo>
                  <a:pt x="2546449" y="140925"/>
                </a:moveTo>
                <a:cubicBezTo>
                  <a:pt x="2582162" y="140925"/>
                  <a:pt x="2611108" y="169880"/>
                  <a:pt x="2611108" y="205590"/>
                </a:cubicBezTo>
                <a:cubicBezTo>
                  <a:pt x="2611108" y="241304"/>
                  <a:pt x="2582162" y="270252"/>
                  <a:pt x="2546449" y="270252"/>
                </a:cubicBezTo>
                <a:cubicBezTo>
                  <a:pt x="2510726" y="270252"/>
                  <a:pt x="2481792" y="241304"/>
                  <a:pt x="2481792" y="205590"/>
                </a:cubicBezTo>
                <a:cubicBezTo>
                  <a:pt x="2481792" y="169880"/>
                  <a:pt x="2510726" y="140925"/>
                  <a:pt x="2546449" y="140925"/>
                </a:cubicBezTo>
                <a:close/>
                <a:moveTo>
                  <a:pt x="4100255" y="140924"/>
                </a:moveTo>
                <a:cubicBezTo>
                  <a:pt x="4135957" y="140924"/>
                  <a:pt x="4164923" y="169878"/>
                  <a:pt x="4164923" y="205590"/>
                </a:cubicBezTo>
                <a:cubicBezTo>
                  <a:pt x="4164923" y="241304"/>
                  <a:pt x="4135957" y="270252"/>
                  <a:pt x="4100255" y="270252"/>
                </a:cubicBezTo>
                <a:cubicBezTo>
                  <a:pt x="4064528" y="270252"/>
                  <a:pt x="4035594" y="241304"/>
                  <a:pt x="4035594" y="205590"/>
                </a:cubicBezTo>
                <a:cubicBezTo>
                  <a:pt x="4035594" y="169878"/>
                  <a:pt x="4064528" y="140924"/>
                  <a:pt x="4100255" y="140924"/>
                </a:cubicBezTo>
                <a:close/>
                <a:moveTo>
                  <a:pt x="3947579" y="140924"/>
                </a:moveTo>
                <a:cubicBezTo>
                  <a:pt x="3983297" y="140924"/>
                  <a:pt x="4012257" y="169879"/>
                  <a:pt x="4012257" y="205590"/>
                </a:cubicBezTo>
                <a:cubicBezTo>
                  <a:pt x="4012257" y="241304"/>
                  <a:pt x="3983297" y="270252"/>
                  <a:pt x="3947579" y="270252"/>
                </a:cubicBezTo>
                <a:cubicBezTo>
                  <a:pt x="3912018" y="270252"/>
                  <a:pt x="3883072" y="241304"/>
                  <a:pt x="3883072" y="205590"/>
                </a:cubicBezTo>
                <a:cubicBezTo>
                  <a:pt x="3883072" y="169879"/>
                  <a:pt x="3912018" y="140924"/>
                  <a:pt x="3947579" y="140924"/>
                </a:cubicBezTo>
                <a:close/>
                <a:moveTo>
                  <a:pt x="3791164" y="140924"/>
                </a:moveTo>
                <a:cubicBezTo>
                  <a:pt x="3826868" y="140924"/>
                  <a:pt x="3855828" y="169879"/>
                  <a:pt x="3855828" y="205590"/>
                </a:cubicBezTo>
                <a:cubicBezTo>
                  <a:pt x="3855828" y="241304"/>
                  <a:pt x="3826868" y="270252"/>
                  <a:pt x="3791164" y="270252"/>
                </a:cubicBezTo>
                <a:cubicBezTo>
                  <a:pt x="3755441" y="270252"/>
                  <a:pt x="3726486" y="241304"/>
                  <a:pt x="3726486" y="205590"/>
                </a:cubicBezTo>
                <a:cubicBezTo>
                  <a:pt x="3726486" y="169879"/>
                  <a:pt x="3755441" y="140924"/>
                  <a:pt x="3791164" y="140924"/>
                </a:cubicBezTo>
                <a:close/>
                <a:moveTo>
                  <a:pt x="3630675" y="140924"/>
                </a:moveTo>
                <a:cubicBezTo>
                  <a:pt x="3666383" y="140924"/>
                  <a:pt x="3695344" y="169879"/>
                  <a:pt x="3695344" y="205590"/>
                </a:cubicBezTo>
                <a:cubicBezTo>
                  <a:pt x="3695344" y="241304"/>
                  <a:pt x="3666383" y="270252"/>
                  <a:pt x="3630675" y="270252"/>
                </a:cubicBezTo>
                <a:cubicBezTo>
                  <a:pt x="3594946" y="270252"/>
                  <a:pt x="3565995" y="241304"/>
                  <a:pt x="3565995" y="205590"/>
                </a:cubicBezTo>
                <a:cubicBezTo>
                  <a:pt x="3565995" y="169879"/>
                  <a:pt x="3594946" y="140924"/>
                  <a:pt x="3630675" y="140924"/>
                </a:cubicBezTo>
                <a:close/>
                <a:moveTo>
                  <a:pt x="3481918" y="140924"/>
                </a:moveTo>
                <a:cubicBezTo>
                  <a:pt x="3517633" y="140924"/>
                  <a:pt x="3546591" y="169879"/>
                  <a:pt x="3546591" y="205590"/>
                </a:cubicBezTo>
                <a:cubicBezTo>
                  <a:pt x="3546591" y="241304"/>
                  <a:pt x="3517633" y="270252"/>
                  <a:pt x="3481918" y="270252"/>
                </a:cubicBezTo>
                <a:cubicBezTo>
                  <a:pt x="3446210" y="270252"/>
                  <a:pt x="3417264" y="241304"/>
                  <a:pt x="3417264" y="205590"/>
                </a:cubicBezTo>
                <a:cubicBezTo>
                  <a:pt x="3417264" y="169879"/>
                  <a:pt x="3446210" y="140924"/>
                  <a:pt x="3481918" y="140924"/>
                </a:cubicBezTo>
                <a:close/>
                <a:moveTo>
                  <a:pt x="3172703" y="140924"/>
                </a:moveTo>
                <a:cubicBezTo>
                  <a:pt x="3208428" y="140924"/>
                  <a:pt x="3237377" y="169879"/>
                  <a:pt x="3237377" y="205590"/>
                </a:cubicBezTo>
                <a:cubicBezTo>
                  <a:pt x="3237377" y="241304"/>
                  <a:pt x="3208428" y="270252"/>
                  <a:pt x="3172703" y="270252"/>
                </a:cubicBezTo>
                <a:cubicBezTo>
                  <a:pt x="3136978" y="270252"/>
                  <a:pt x="3108016" y="241304"/>
                  <a:pt x="3108016" y="205590"/>
                </a:cubicBezTo>
                <a:cubicBezTo>
                  <a:pt x="3108016" y="169879"/>
                  <a:pt x="3136978" y="140924"/>
                  <a:pt x="3172703" y="140924"/>
                </a:cubicBezTo>
                <a:close/>
                <a:moveTo>
                  <a:pt x="3012181" y="140924"/>
                </a:moveTo>
                <a:cubicBezTo>
                  <a:pt x="3047889" y="140924"/>
                  <a:pt x="3076850" y="169879"/>
                  <a:pt x="3076850" y="205590"/>
                </a:cubicBezTo>
                <a:cubicBezTo>
                  <a:pt x="3076850" y="241304"/>
                  <a:pt x="3047889" y="270252"/>
                  <a:pt x="3012181" y="270252"/>
                </a:cubicBezTo>
                <a:cubicBezTo>
                  <a:pt x="2976470" y="270252"/>
                  <a:pt x="2947522" y="241304"/>
                  <a:pt x="2947522" y="205590"/>
                </a:cubicBezTo>
                <a:cubicBezTo>
                  <a:pt x="2947522" y="169879"/>
                  <a:pt x="2976470" y="140924"/>
                  <a:pt x="3012181" y="140924"/>
                </a:cubicBezTo>
                <a:close/>
                <a:moveTo>
                  <a:pt x="2855634" y="140924"/>
                </a:moveTo>
                <a:cubicBezTo>
                  <a:pt x="2891335" y="140924"/>
                  <a:pt x="2920282" y="169879"/>
                  <a:pt x="2920282" y="205590"/>
                </a:cubicBezTo>
                <a:cubicBezTo>
                  <a:pt x="2920282" y="241304"/>
                  <a:pt x="2891335" y="270252"/>
                  <a:pt x="2855634" y="270252"/>
                </a:cubicBezTo>
                <a:cubicBezTo>
                  <a:pt x="2819922" y="270252"/>
                  <a:pt x="2790973" y="241304"/>
                  <a:pt x="2790973" y="205590"/>
                </a:cubicBezTo>
                <a:cubicBezTo>
                  <a:pt x="2790973" y="169879"/>
                  <a:pt x="2819922" y="140924"/>
                  <a:pt x="2855634" y="140924"/>
                </a:cubicBezTo>
                <a:close/>
                <a:moveTo>
                  <a:pt x="2699084" y="140924"/>
                </a:moveTo>
                <a:cubicBezTo>
                  <a:pt x="2734792" y="140924"/>
                  <a:pt x="2763737" y="169879"/>
                  <a:pt x="2763737" y="205590"/>
                </a:cubicBezTo>
                <a:cubicBezTo>
                  <a:pt x="2763737" y="241304"/>
                  <a:pt x="2734792" y="270252"/>
                  <a:pt x="2699084" y="270252"/>
                </a:cubicBezTo>
                <a:cubicBezTo>
                  <a:pt x="2663379" y="270252"/>
                  <a:pt x="2634431" y="241304"/>
                  <a:pt x="2634431" y="205590"/>
                </a:cubicBezTo>
                <a:cubicBezTo>
                  <a:pt x="2634431" y="169879"/>
                  <a:pt x="2663379" y="140924"/>
                  <a:pt x="2699084" y="140924"/>
                </a:cubicBezTo>
                <a:close/>
                <a:moveTo>
                  <a:pt x="8601685" y="140924"/>
                </a:moveTo>
                <a:cubicBezTo>
                  <a:pt x="8637399" y="140924"/>
                  <a:pt x="8666351" y="169878"/>
                  <a:pt x="8666351" y="205588"/>
                </a:cubicBezTo>
                <a:cubicBezTo>
                  <a:pt x="8666351" y="241303"/>
                  <a:pt x="8637399" y="270252"/>
                  <a:pt x="8601685" y="270252"/>
                </a:cubicBezTo>
                <a:cubicBezTo>
                  <a:pt x="8565971" y="270252"/>
                  <a:pt x="8537019" y="241303"/>
                  <a:pt x="8537019" y="205588"/>
                </a:cubicBezTo>
                <a:cubicBezTo>
                  <a:pt x="8537019" y="169878"/>
                  <a:pt x="8565971" y="140924"/>
                  <a:pt x="8601685" y="140924"/>
                </a:cubicBezTo>
                <a:close/>
                <a:moveTo>
                  <a:pt x="8449026" y="140924"/>
                </a:moveTo>
                <a:cubicBezTo>
                  <a:pt x="8484740" y="140924"/>
                  <a:pt x="8513692" y="169878"/>
                  <a:pt x="8513692" y="205588"/>
                </a:cubicBezTo>
                <a:cubicBezTo>
                  <a:pt x="8513692" y="241303"/>
                  <a:pt x="8484740" y="270252"/>
                  <a:pt x="8449026" y="270252"/>
                </a:cubicBezTo>
                <a:cubicBezTo>
                  <a:pt x="8413312" y="270252"/>
                  <a:pt x="8384360" y="241303"/>
                  <a:pt x="8384360" y="205588"/>
                </a:cubicBezTo>
                <a:cubicBezTo>
                  <a:pt x="8384360" y="169878"/>
                  <a:pt x="8413312" y="140924"/>
                  <a:pt x="8449026" y="140924"/>
                </a:cubicBezTo>
                <a:close/>
                <a:moveTo>
                  <a:pt x="6120001" y="140924"/>
                </a:moveTo>
                <a:cubicBezTo>
                  <a:pt x="6155715" y="140924"/>
                  <a:pt x="6184667" y="169878"/>
                  <a:pt x="6184667" y="205588"/>
                </a:cubicBezTo>
                <a:cubicBezTo>
                  <a:pt x="6184667" y="241303"/>
                  <a:pt x="6155715" y="270252"/>
                  <a:pt x="6120001" y="270252"/>
                </a:cubicBezTo>
                <a:cubicBezTo>
                  <a:pt x="6084287" y="270252"/>
                  <a:pt x="6055335" y="241303"/>
                  <a:pt x="6055335" y="205588"/>
                </a:cubicBezTo>
                <a:cubicBezTo>
                  <a:pt x="6055335" y="169878"/>
                  <a:pt x="6084287" y="140924"/>
                  <a:pt x="6120001" y="140924"/>
                </a:cubicBezTo>
                <a:close/>
                <a:moveTo>
                  <a:pt x="5967339" y="140924"/>
                </a:moveTo>
                <a:cubicBezTo>
                  <a:pt x="6003053" y="140924"/>
                  <a:pt x="6032005" y="169878"/>
                  <a:pt x="6032005" y="205588"/>
                </a:cubicBezTo>
                <a:cubicBezTo>
                  <a:pt x="6032005" y="241304"/>
                  <a:pt x="6003053" y="270252"/>
                  <a:pt x="5967339" y="270252"/>
                </a:cubicBezTo>
                <a:cubicBezTo>
                  <a:pt x="5931625" y="270252"/>
                  <a:pt x="5902673" y="241304"/>
                  <a:pt x="5902673" y="205588"/>
                </a:cubicBezTo>
                <a:cubicBezTo>
                  <a:pt x="5902673" y="169878"/>
                  <a:pt x="5931625" y="140924"/>
                  <a:pt x="5967339" y="140924"/>
                </a:cubicBezTo>
                <a:close/>
                <a:moveTo>
                  <a:pt x="4875265" y="140924"/>
                </a:moveTo>
                <a:cubicBezTo>
                  <a:pt x="4910983" y="140924"/>
                  <a:pt x="4939942" y="169878"/>
                  <a:pt x="4939942" y="205588"/>
                </a:cubicBezTo>
                <a:cubicBezTo>
                  <a:pt x="4939942" y="241304"/>
                  <a:pt x="4910983" y="270252"/>
                  <a:pt x="4875265" y="270252"/>
                </a:cubicBezTo>
                <a:cubicBezTo>
                  <a:pt x="4839542" y="270252"/>
                  <a:pt x="4810599" y="241304"/>
                  <a:pt x="4810599" y="205588"/>
                </a:cubicBezTo>
                <a:cubicBezTo>
                  <a:pt x="4810599" y="169878"/>
                  <a:pt x="4839542" y="140924"/>
                  <a:pt x="4875265" y="140924"/>
                </a:cubicBezTo>
                <a:close/>
                <a:moveTo>
                  <a:pt x="4722614" y="140924"/>
                </a:moveTo>
                <a:cubicBezTo>
                  <a:pt x="4758338" y="140924"/>
                  <a:pt x="4787277" y="169878"/>
                  <a:pt x="4787277" y="205588"/>
                </a:cubicBezTo>
                <a:cubicBezTo>
                  <a:pt x="4787277" y="241304"/>
                  <a:pt x="4758338" y="270252"/>
                  <a:pt x="4722614" y="270252"/>
                </a:cubicBezTo>
                <a:cubicBezTo>
                  <a:pt x="4686908" y="270252"/>
                  <a:pt x="4657957" y="241304"/>
                  <a:pt x="4657957" y="205588"/>
                </a:cubicBezTo>
                <a:cubicBezTo>
                  <a:pt x="4657957" y="169878"/>
                  <a:pt x="4686908" y="140924"/>
                  <a:pt x="4722614" y="140924"/>
                </a:cubicBezTo>
                <a:close/>
                <a:moveTo>
                  <a:pt x="4566033" y="140924"/>
                </a:moveTo>
                <a:cubicBezTo>
                  <a:pt x="4601754" y="140924"/>
                  <a:pt x="4630719" y="169878"/>
                  <a:pt x="4630719" y="205590"/>
                </a:cubicBezTo>
                <a:cubicBezTo>
                  <a:pt x="4630719" y="241304"/>
                  <a:pt x="4601754" y="270252"/>
                  <a:pt x="4566033" y="270252"/>
                </a:cubicBezTo>
                <a:cubicBezTo>
                  <a:pt x="4530305" y="270252"/>
                  <a:pt x="4501349" y="241304"/>
                  <a:pt x="4501349" y="205590"/>
                </a:cubicBezTo>
                <a:cubicBezTo>
                  <a:pt x="4501349" y="169878"/>
                  <a:pt x="4530305" y="140924"/>
                  <a:pt x="4566033" y="140924"/>
                </a:cubicBezTo>
                <a:close/>
                <a:moveTo>
                  <a:pt x="4409471" y="140924"/>
                </a:moveTo>
                <a:cubicBezTo>
                  <a:pt x="4445169" y="140924"/>
                  <a:pt x="4474113" y="169878"/>
                  <a:pt x="4474113" y="205590"/>
                </a:cubicBezTo>
                <a:cubicBezTo>
                  <a:pt x="4474113" y="241304"/>
                  <a:pt x="4445169" y="270252"/>
                  <a:pt x="4409471" y="270252"/>
                </a:cubicBezTo>
                <a:cubicBezTo>
                  <a:pt x="4373772" y="270252"/>
                  <a:pt x="4344809" y="241304"/>
                  <a:pt x="4344809" y="205590"/>
                </a:cubicBezTo>
                <a:cubicBezTo>
                  <a:pt x="4344809" y="169878"/>
                  <a:pt x="4373772" y="140924"/>
                  <a:pt x="4409471" y="140924"/>
                </a:cubicBezTo>
                <a:close/>
                <a:moveTo>
                  <a:pt x="4256823" y="140924"/>
                </a:moveTo>
                <a:cubicBezTo>
                  <a:pt x="4292543" y="140924"/>
                  <a:pt x="4321471" y="169878"/>
                  <a:pt x="4321471" y="205590"/>
                </a:cubicBezTo>
                <a:cubicBezTo>
                  <a:pt x="4321471" y="241304"/>
                  <a:pt x="4292543" y="270252"/>
                  <a:pt x="4256823" y="270252"/>
                </a:cubicBezTo>
                <a:cubicBezTo>
                  <a:pt x="4221105" y="270252"/>
                  <a:pt x="4192125" y="241304"/>
                  <a:pt x="4192125" y="205590"/>
                </a:cubicBezTo>
                <a:cubicBezTo>
                  <a:pt x="4192125" y="169878"/>
                  <a:pt x="4221105" y="140924"/>
                  <a:pt x="4256823" y="140924"/>
                </a:cubicBezTo>
                <a:close/>
                <a:moveTo>
                  <a:pt x="8766087" y="140923"/>
                </a:moveTo>
                <a:cubicBezTo>
                  <a:pt x="8801801" y="140923"/>
                  <a:pt x="8830753" y="169878"/>
                  <a:pt x="8830753" y="205588"/>
                </a:cubicBezTo>
                <a:cubicBezTo>
                  <a:pt x="8830753" y="241303"/>
                  <a:pt x="8801801" y="270252"/>
                  <a:pt x="8766087" y="270252"/>
                </a:cubicBezTo>
                <a:cubicBezTo>
                  <a:pt x="8730373" y="270252"/>
                  <a:pt x="8701421" y="241303"/>
                  <a:pt x="8701421" y="205588"/>
                </a:cubicBezTo>
                <a:cubicBezTo>
                  <a:pt x="8701421" y="169878"/>
                  <a:pt x="8730373" y="140923"/>
                  <a:pt x="8766087" y="140923"/>
                </a:cubicBezTo>
                <a:close/>
                <a:moveTo>
                  <a:pt x="3172703" y="0"/>
                </a:moveTo>
                <a:cubicBezTo>
                  <a:pt x="3208428" y="0"/>
                  <a:pt x="3237377" y="28951"/>
                  <a:pt x="3237377" y="64665"/>
                </a:cubicBezTo>
                <a:cubicBezTo>
                  <a:pt x="3237377" y="100379"/>
                  <a:pt x="3208428" y="129330"/>
                  <a:pt x="3172703" y="129330"/>
                </a:cubicBezTo>
                <a:cubicBezTo>
                  <a:pt x="3136978" y="129330"/>
                  <a:pt x="3108016" y="100379"/>
                  <a:pt x="3108016" y="64665"/>
                </a:cubicBezTo>
                <a:cubicBezTo>
                  <a:pt x="3108016" y="28951"/>
                  <a:pt x="3136978" y="0"/>
                  <a:pt x="3172703" y="0"/>
                </a:cubicBezTo>
                <a:close/>
                <a:moveTo>
                  <a:pt x="3012181" y="0"/>
                </a:moveTo>
                <a:cubicBezTo>
                  <a:pt x="3047889" y="0"/>
                  <a:pt x="3076850" y="28952"/>
                  <a:pt x="3076850" y="64665"/>
                </a:cubicBezTo>
                <a:cubicBezTo>
                  <a:pt x="3076850" y="100379"/>
                  <a:pt x="3047889" y="129330"/>
                  <a:pt x="3012181" y="129330"/>
                </a:cubicBezTo>
                <a:cubicBezTo>
                  <a:pt x="2976470" y="129330"/>
                  <a:pt x="2947522" y="100379"/>
                  <a:pt x="2947522" y="64665"/>
                </a:cubicBezTo>
                <a:cubicBezTo>
                  <a:pt x="2947522" y="28952"/>
                  <a:pt x="2976470" y="0"/>
                  <a:pt x="3012181" y="0"/>
                </a:cubicBezTo>
                <a:close/>
                <a:moveTo>
                  <a:pt x="2855634" y="0"/>
                </a:moveTo>
                <a:cubicBezTo>
                  <a:pt x="2891335" y="0"/>
                  <a:pt x="2920282" y="28952"/>
                  <a:pt x="2920282" y="64665"/>
                </a:cubicBezTo>
                <a:cubicBezTo>
                  <a:pt x="2920282" y="100379"/>
                  <a:pt x="2891335" y="129330"/>
                  <a:pt x="2855634" y="129330"/>
                </a:cubicBezTo>
                <a:cubicBezTo>
                  <a:pt x="2819922" y="129330"/>
                  <a:pt x="2790973" y="100379"/>
                  <a:pt x="2790973" y="64665"/>
                </a:cubicBezTo>
                <a:cubicBezTo>
                  <a:pt x="2790973" y="28952"/>
                  <a:pt x="2819922" y="0"/>
                  <a:pt x="2855634" y="0"/>
                </a:cubicBezTo>
                <a:close/>
                <a:moveTo>
                  <a:pt x="4100255" y="0"/>
                </a:moveTo>
                <a:cubicBezTo>
                  <a:pt x="4135957" y="0"/>
                  <a:pt x="4164923" y="28951"/>
                  <a:pt x="4164923" y="64665"/>
                </a:cubicBezTo>
                <a:cubicBezTo>
                  <a:pt x="4164923" y="100378"/>
                  <a:pt x="4135957" y="129330"/>
                  <a:pt x="4100255" y="129330"/>
                </a:cubicBezTo>
                <a:cubicBezTo>
                  <a:pt x="4064528" y="129330"/>
                  <a:pt x="4035594" y="100378"/>
                  <a:pt x="4035594" y="64665"/>
                </a:cubicBezTo>
                <a:cubicBezTo>
                  <a:pt x="4035594" y="28951"/>
                  <a:pt x="4064528" y="0"/>
                  <a:pt x="4100255" y="0"/>
                </a:cubicBezTo>
                <a:close/>
                <a:moveTo>
                  <a:pt x="3947579" y="0"/>
                </a:moveTo>
                <a:cubicBezTo>
                  <a:pt x="3983297" y="0"/>
                  <a:pt x="4012257" y="28951"/>
                  <a:pt x="4012257" y="64665"/>
                </a:cubicBezTo>
                <a:cubicBezTo>
                  <a:pt x="4012257" y="100378"/>
                  <a:pt x="3983297" y="129330"/>
                  <a:pt x="3947579" y="129330"/>
                </a:cubicBezTo>
                <a:cubicBezTo>
                  <a:pt x="3912018" y="129330"/>
                  <a:pt x="3883072" y="100378"/>
                  <a:pt x="3883072" y="64665"/>
                </a:cubicBezTo>
                <a:cubicBezTo>
                  <a:pt x="3883072" y="28951"/>
                  <a:pt x="3912018" y="0"/>
                  <a:pt x="3947579" y="0"/>
                </a:cubicBezTo>
                <a:close/>
                <a:moveTo>
                  <a:pt x="3791164" y="0"/>
                </a:moveTo>
                <a:cubicBezTo>
                  <a:pt x="3826868" y="0"/>
                  <a:pt x="3855828" y="28951"/>
                  <a:pt x="3855828" y="64665"/>
                </a:cubicBezTo>
                <a:cubicBezTo>
                  <a:pt x="3855828" y="100378"/>
                  <a:pt x="3826868" y="129330"/>
                  <a:pt x="3791164" y="129330"/>
                </a:cubicBezTo>
                <a:cubicBezTo>
                  <a:pt x="3755441" y="129330"/>
                  <a:pt x="3726486" y="100378"/>
                  <a:pt x="3726486" y="64665"/>
                </a:cubicBezTo>
                <a:cubicBezTo>
                  <a:pt x="3726486" y="28951"/>
                  <a:pt x="3755441" y="0"/>
                  <a:pt x="3791164" y="0"/>
                </a:cubicBezTo>
                <a:close/>
                <a:moveTo>
                  <a:pt x="3321453" y="0"/>
                </a:moveTo>
                <a:cubicBezTo>
                  <a:pt x="3357165" y="0"/>
                  <a:pt x="3386097" y="28951"/>
                  <a:pt x="3386097" y="64665"/>
                </a:cubicBezTo>
                <a:cubicBezTo>
                  <a:pt x="3386097" y="100378"/>
                  <a:pt x="3357165" y="129330"/>
                  <a:pt x="3321453" y="129330"/>
                </a:cubicBezTo>
                <a:cubicBezTo>
                  <a:pt x="3285730" y="129330"/>
                  <a:pt x="3256791" y="100378"/>
                  <a:pt x="3256791" y="64665"/>
                </a:cubicBezTo>
                <a:cubicBezTo>
                  <a:pt x="3256791" y="28951"/>
                  <a:pt x="3285730" y="0"/>
                  <a:pt x="3321453" y="0"/>
                </a:cubicBezTo>
                <a:close/>
                <a:moveTo>
                  <a:pt x="4722614" y="0"/>
                </a:moveTo>
                <a:cubicBezTo>
                  <a:pt x="4758338" y="0"/>
                  <a:pt x="4787277" y="28951"/>
                  <a:pt x="4787277" y="64665"/>
                </a:cubicBezTo>
                <a:cubicBezTo>
                  <a:pt x="4787277" y="100378"/>
                  <a:pt x="4758338" y="129329"/>
                  <a:pt x="4722614" y="129329"/>
                </a:cubicBezTo>
                <a:cubicBezTo>
                  <a:pt x="4686908" y="129329"/>
                  <a:pt x="4657957" y="100378"/>
                  <a:pt x="4657957" y="64665"/>
                </a:cubicBezTo>
                <a:cubicBezTo>
                  <a:pt x="4657957" y="28951"/>
                  <a:pt x="4686908" y="0"/>
                  <a:pt x="4722614" y="0"/>
                </a:cubicBezTo>
                <a:close/>
                <a:moveTo>
                  <a:pt x="4566033" y="0"/>
                </a:moveTo>
                <a:cubicBezTo>
                  <a:pt x="4601754" y="0"/>
                  <a:pt x="4630719" y="28951"/>
                  <a:pt x="4630719" y="64665"/>
                </a:cubicBezTo>
                <a:cubicBezTo>
                  <a:pt x="4630719" y="100378"/>
                  <a:pt x="4601754" y="129329"/>
                  <a:pt x="4566033" y="129329"/>
                </a:cubicBezTo>
                <a:cubicBezTo>
                  <a:pt x="4530305" y="129329"/>
                  <a:pt x="4501349" y="100378"/>
                  <a:pt x="4501349" y="64665"/>
                </a:cubicBezTo>
                <a:cubicBezTo>
                  <a:pt x="4501349" y="28951"/>
                  <a:pt x="4530305" y="0"/>
                  <a:pt x="4566033" y="0"/>
                </a:cubicBezTo>
                <a:close/>
                <a:moveTo>
                  <a:pt x="4409471" y="0"/>
                </a:moveTo>
                <a:cubicBezTo>
                  <a:pt x="4445169" y="0"/>
                  <a:pt x="4474113" y="28951"/>
                  <a:pt x="4474113" y="64665"/>
                </a:cubicBezTo>
                <a:cubicBezTo>
                  <a:pt x="4474113" y="100378"/>
                  <a:pt x="4445169" y="129329"/>
                  <a:pt x="4409471" y="129329"/>
                </a:cubicBezTo>
                <a:cubicBezTo>
                  <a:pt x="4373772" y="129329"/>
                  <a:pt x="4344809" y="100378"/>
                  <a:pt x="4344809" y="64665"/>
                </a:cubicBezTo>
                <a:cubicBezTo>
                  <a:pt x="4344809" y="28951"/>
                  <a:pt x="4373772" y="0"/>
                  <a:pt x="4409471" y="0"/>
                </a:cubicBezTo>
                <a:close/>
                <a:moveTo>
                  <a:pt x="4256823" y="0"/>
                </a:moveTo>
                <a:cubicBezTo>
                  <a:pt x="4292543" y="0"/>
                  <a:pt x="4321471" y="28951"/>
                  <a:pt x="4321471" y="64665"/>
                </a:cubicBezTo>
                <a:cubicBezTo>
                  <a:pt x="4321471" y="100378"/>
                  <a:pt x="4292543" y="129330"/>
                  <a:pt x="4256823" y="129330"/>
                </a:cubicBezTo>
                <a:cubicBezTo>
                  <a:pt x="4221105" y="129330"/>
                  <a:pt x="4192125" y="100378"/>
                  <a:pt x="4192125" y="64665"/>
                </a:cubicBezTo>
                <a:cubicBezTo>
                  <a:pt x="4192125" y="28951"/>
                  <a:pt x="4221105" y="0"/>
                  <a:pt x="4256823" y="0"/>
                </a:cubicBezTo>
                <a:close/>
                <a:moveTo>
                  <a:pt x="8601685" y="0"/>
                </a:moveTo>
                <a:cubicBezTo>
                  <a:pt x="8637399" y="0"/>
                  <a:pt x="8666351" y="28951"/>
                  <a:pt x="8666351" y="64665"/>
                </a:cubicBezTo>
                <a:cubicBezTo>
                  <a:pt x="8666351" y="100378"/>
                  <a:pt x="8637399" y="129329"/>
                  <a:pt x="8601685" y="129329"/>
                </a:cubicBezTo>
                <a:cubicBezTo>
                  <a:pt x="8565971" y="129329"/>
                  <a:pt x="8537019" y="100378"/>
                  <a:pt x="8537019" y="64665"/>
                </a:cubicBezTo>
                <a:cubicBezTo>
                  <a:pt x="8537019" y="28951"/>
                  <a:pt x="8565971" y="0"/>
                  <a:pt x="8601685" y="0"/>
                </a:cubicBezTo>
                <a:close/>
                <a:moveTo>
                  <a:pt x="5031854" y="0"/>
                </a:moveTo>
                <a:cubicBezTo>
                  <a:pt x="5067557" y="0"/>
                  <a:pt x="5096512" y="28951"/>
                  <a:pt x="5096512" y="64665"/>
                </a:cubicBezTo>
                <a:cubicBezTo>
                  <a:pt x="5096512" y="100378"/>
                  <a:pt x="5067557" y="129329"/>
                  <a:pt x="5031854" y="129329"/>
                </a:cubicBezTo>
                <a:cubicBezTo>
                  <a:pt x="4996117" y="129329"/>
                  <a:pt x="4967176" y="100378"/>
                  <a:pt x="4967176" y="64665"/>
                </a:cubicBezTo>
                <a:cubicBezTo>
                  <a:pt x="4967176" y="28951"/>
                  <a:pt x="4996117" y="0"/>
                  <a:pt x="5031854" y="0"/>
                </a:cubicBezTo>
                <a:close/>
                <a:moveTo>
                  <a:pt x="4875265" y="0"/>
                </a:moveTo>
                <a:cubicBezTo>
                  <a:pt x="4910983" y="0"/>
                  <a:pt x="4939942" y="28951"/>
                  <a:pt x="4939942" y="64665"/>
                </a:cubicBezTo>
                <a:cubicBezTo>
                  <a:pt x="4939942" y="100378"/>
                  <a:pt x="4910983" y="129329"/>
                  <a:pt x="4875265" y="129329"/>
                </a:cubicBezTo>
                <a:cubicBezTo>
                  <a:pt x="4839542" y="129329"/>
                  <a:pt x="4810599" y="100378"/>
                  <a:pt x="4810599" y="64665"/>
                </a:cubicBezTo>
                <a:cubicBezTo>
                  <a:pt x="4810599" y="28951"/>
                  <a:pt x="4839542" y="0"/>
                  <a:pt x="4875265" y="0"/>
                </a:cubicBezTo>
                <a:close/>
              </a:path>
            </a:pathLst>
          </a:custGeom>
          <a:solidFill>
            <a:srgbClr val="FFFFFF">
              <a:lumMod val="85000"/>
            </a:srgb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 name="Cylinder 513">
            <a:extLst>
              <a:ext uri="{FF2B5EF4-FFF2-40B4-BE49-F238E27FC236}">
                <a16:creationId xmlns:a16="http://schemas.microsoft.com/office/drawing/2014/main" id="{272C897F-7F21-4C17-90DC-0A48DE8F9778}"/>
              </a:ext>
            </a:extLst>
          </p:cNvPr>
          <p:cNvSpPr/>
          <p:nvPr/>
        </p:nvSpPr>
        <p:spPr bwMode="auto">
          <a:xfrm>
            <a:off x="10984444" y="5110434"/>
            <a:ext cx="235859" cy="309861"/>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A818E438-6D92-40D1-AD92-FCA5936CCCAF}"/>
              </a:ext>
            </a:extLst>
          </p:cNvPr>
          <p:cNvGrpSpPr/>
          <p:nvPr/>
        </p:nvGrpSpPr>
        <p:grpSpPr>
          <a:xfrm>
            <a:off x="11262966" y="5125947"/>
            <a:ext cx="292523" cy="262441"/>
            <a:chOff x="1275510" y="6072184"/>
            <a:chExt cx="508602" cy="456298"/>
          </a:xfrm>
        </p:grpSpPr>
        <p:grpSp>
          <p:nvGrpSpPr>
            <p:cNvPr id="23" name="Group 22">
              <a:extLst>
                <a:ext uri="{FF2B5EF4-FFF2-40B4-BE49-F238E27FC236}">
                  <a16:creationId xmlns:a16="http://schemas.microsoft.com/office/drawing/2014/main" id="{FECF3BCF-BDA9-4C2A-9A44-A45B29DF9DC7}"/>
                </a:ext>
              </a:extLst>
            </p:cNvPr>
            <p:cNvGrpSpPr/>
            <p:nvPr/>
          </p:nvGrpSpPr>
          <p:grpSpPr>
            <a:xfrm>
              <a:off x="1275510" y="6224584"/>
              <a:ext cx="508602" cy="151498"/>
              <a:chOff x="551886" y="4945335"/>
              <a:chExt cx="508602" cy="151498"/>
            </a:xfrm>
          </p:grpSpPr>
          <p:sp>
            <p:nvSpPr>
              <p:cNvPr id="32" name="Rectangle 31">
                <a:extLst>
                  <a:ext uri="{FF2B5EF4-FFF2-40B4-BE49-F238E27FC236}">
                    <a16:creationId xmlns:a16="http://schemas.microsoft.com/office/drawing/2014/main" id="{F8FE43FD-B736-4600-BCFE-0EAAC63C62C7}"/>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a:extLst>
                  <a:ext uri="{FF2B5EF4-FFF2-40B4-BE49-F238E27FC236}">
                    <a16:creationId xmlns:a16="http://schemas.microsoft.com/office/drawing/2014/main" id="{50F8577C-F392-415E-A8FE-C198A3F7E2FB}"/>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F5A9693B-E70E-4A3C-8EAC-9F9A5B24F721}"/>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24" name="Group 23">
              <a:extLst>
                <a:ext uri="{FF2B5EF4-FFF2-40B4-BE49-F238E27FC236}">
                  <a16:creationId xmlns:a16="http://schemas.microsoft.com/office/drawing/2014/main" id="{7754CDAD-C134-483E-859E-A04FD13A2822}"/>
                </a:ext>
              </a:extLst>
            </p:cNvPr>
            <p:cNvGrpSpPr/>
            <p:nvPr/>
          </p:nvGrpSpPr>
          <p:grpSpPr>
            <a:xfrm>
              <a:off x="1275510" y="6376984"/>
              <a:ext cx="508602" cy="151498"/>
              <a:chOff x="551886" y="4945335"/>
              <a:chExt cx="508602" cy="151498"/>
            </a:xfrm>
          </p:grpSpPr>
          <p:sp>
            <p:nvSpPr>
              <p:cNvPr id="29" name="Rectangle 28">
                <a:extLst>
                  <a:ext uri="{FF2B5EF4-FFF2-40B4-BE49-F238E27FC236}">
                    <a16:creationId xmlns:a16="http://schemas.microsoft.com/office/drawing/2014/main" id="{BD8089AE-C838-4377-8D30-E2DF811824D1}"/>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0C03DE48-AB79-4351-BF04-3064B1B83939}"/>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AB645CAF-86B2-49DB-A24F-830A1A70041B}"/>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nvGrpSpPr>
            <p:cNvPr id="25" name="Group 24">
              <a:extLst>
                <a:ext uri="{FF2B5EF4-FFF2-40B4-BE49-F238E27FC236}">
                  <a16:creationId xmlns:a16="http://schemas.microsoft.com/office/drawing/2014/main" id="{6CCAC5E9-C96F-4CDA-9391-AC561243643A}"/>
                </a:ext>
              </a:extLst>
            </p:cNvPr>
            <p:cNvGrpSpPr/>
            <p:nvPr/>
          </p:nvGrpSpPr>
          <p:grpSpPr>
            <a:xfrm>
              <a:off x="1275510" y="6072184"/>
              <a:ext cx="508602" cy="151498"/>
              <a:chOff x="551886" y="4945335"/>
              <a:chExt cx="508602" cy="151498"/>
            </a:xfrm>
          </p:grpSpPr>
          <p:sp>
            <p:nvSpPr>
              <p:cNvPr id="26" name="Rectangle 25">
                <a:extLst>
                  <a:ext uri="{FF2B5EF4-FFF2-40B4-BE49-F238E27FC236}">
                    <a16:creationId xmlns:a16="http://schemas.microsoft.com/office/drawing/2014/main" id="{6AC12823-E604-4F1C-BF9A-62CF3F31FDAA}"/>
                  </a:ext>
                </a:extLst>
              </p:cNvPr>
              <p:cNvSpPr/>
              <p:nvPr/>
            </p:nvSpPr>
            <p:spPr bwMode="auto">
              <a:xfrm>
                <a:off x="551886" y="4945335"/>
                <a:ext cx="508602" cy="151498"/>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a:extLst>
                  <a:ext uri="{FF2B5EF4-FFF2-40B4-BE49-F238E27FC236}">
                    <a16:creationId xmlns:a16="http://schemas.microsoft.com/office/drawing/2014/main" id="{5264D5FA-BBD5-4B49-9B1E-737104CF9AAA}"/>
                  </a:ext>
                </a:extLst>
              </p:cNvPr>
              <p:cNvSpPr/>
              <p:nvPr/>
            </p:nvSpPr>
            <p:spPr bwMode="auto">
              <a:xfrm flipH="1">
                <a:off x="955040" y="4993640"/>
                <a:ext cx="45720" cy="4572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932AB93F-7C6F-43A7-A9C8-0F558B2A17D9}"/>
                  </a:ext>
                </a:extLst>
              </p:cNvPr>
              <p:cNvCxnSpPr/>
              <p:nvPr/>
            </p:nvCxnSpPr>
            <p:spPr>
              <a:xfrm>
                <a:off x="625475" y="5019675"/>
                <a:ext cx="238125" cy="0"/>
              </a:xfrm>
              <a:prstGeom prst="line">
                <a:avLst/>
              </a:prstGeom>
              <a:noFill/>
              <a:ln w="12700" cap="flat" cmpd="sng" algn="ctr">
                <a:solidFill>
                  <a:srgbClr val="0078D7"/>
                </a:solidFill>
                <a:prstDash val="solid"/>
                <a:headEnd type="none"/>
                <a:tailEnd type="none"/>
              </a:ln>
              <a:effectLst/>
            </p:spPr>
          </p:cxnSp>
        </p:grpSp>
      </p:grpSp>
      <p:grpSp>
        <p:nvGrpSpPr>
          <p:cNvPr id="35" name="Group 34">
            <a:extLst>
              <a:ext uri="{FF2B5EF4-FFF2-40B4-BE49-F238E27FC236}">
                <a16:creationId xmlns:a16="http://schemas.microsoft.com/office/drawing/2014/main" id="{06C5C9C8-4FD0-4C0A-AA80-258A90276EB3}"/>
              </a:ext>
            </a:extLst>
          </p:cNvPr>
          <p:cNvGrpSpPr/>
          <p:nvPr/>
        </p:nvGrpSpPr>
        <p:grpSpPr>
          <a:xfrm>
            <a:off x="8413691" y="3306684"/>
            <a:ext cx="844678" cy="458340"/>
            <a:chOff x="8413691" y="3808951"/>
            <a:chExt cx="844678" cy="458340"/>
          </a:xfrm>
        </p:grpSpPr>
        <p:sp>
          <p:nvSpPr>
            <p:cNvPr id="36" name="Cylinder 513">
              <a:extLst>
                <a:ext uri="{FF2B5EF4-FFF2-40B4-BE49-F238E27FC236}">
                  <a16:creationId xmlns:a16="http://schemas.microsoft.com/office/drawing/2014/main" id="{970E1206-2E22-429A-8354-BEDC7FAA2ACF}"/>
                </a:ext>
              </a:extLst>
            </p:cNvPr>
            <p:cNvSpPr/>
            <p:nvPr/>
          </p:nvSpPr>
          <p:spPr bwMode="auto">
            <a:xfrm>
              <a:off x="8413691" y="3808951"/>
              <a:ext cx="348878" cy="458340"/>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1ABCE39E-3720-416A-8889-8D0220F4AB35}"/>
                </a:ext>
              </a:extLst>
            </p:cNvPr>
            <p:cNvGrpSpPr/>
            <p:nvPr/>
          </p:nvGrpSpPr>
          <p:grpSpPr>
            <a:xfrm>
              <a:off x="8825675" y="3831898"/>
              <a:ext cx="432694" cy="388197"/>
              <a:chOff x="1275510" y="6072184"/>
              <a:chExt cx="508602" cy="456298"/>
            </a:xfrm>
            <a:solidFill>
              <a:srgbClr val="FFFFFF">
                <a:lumMod val="95000"/>
              </a:srgbClr>
            </a:solidFill>
          </p:grpSpPr>
          <p:grpSp>
            <p:nvGrpSpPr>
              <p:cNvPr id="38" name="Group 37">
                <a:extLst>
                  <a:ext uri="{FF2B5EF4-FFF2-40B4-BE49-F238E27FC236}">
                    <a16:creationId xmlns:a16="http://schemas.microsoft.com/office/drawing/2014/main" id="{B898CE5F-EDBD-4EA6-AF27-54C31370B915}"/>
                  </a:ext>
                </a:extLst>
              </p:cNvPr>
              <p:cNvGrpSpPr/>
              <p:nvPr/>
            </p:nvGrpSpPr>
            <p:grpSpPr>
              <a:xfrm>
                <a:off x="1275510" y="6224584"/>
                <a:ext cx="508602" cy="151498"/>
                <a:chOff x="551886" y="4945335"/>
                <a:chExt cx="508602" cy="151498"/>
              </a:xfrm>
              <a:grpFill/>
            </p:grpSpPr>
            <p:sp>
              <p:nvSpPr>
                <p:cNvPr id="47" name="Rectangle 46">
                  <a:extLst>
                    <a:ext uri="{FF2B5EF4-FFF2-40B4-BE49-F238E27FC236}">
                      <a16:creationId xmlns:a16="http://schemas.microsoft.com/office/drawing/2014/main" id="{36294B36-9887-493C-8DF1-8BB3234384F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8" name="Oval 47">
                  <a:extLst>
                    <a:ext uri="{FF2B5EF4-FFF2-40B4-BE49-F238E27FC236}">
                      <a16:creationId xmlns:a16="http://schemas.microsoft.com/office/drawing/2014/main" id="{6A885560-DBB1-41B1-A214-A204D0A74AE2}"/>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a:extLst>
                    <a:ext uri="{FF2B5EF4-FFF2-40B4-BE49-F238E27FC236}">
                      <a16:creationId xmlns:a16="http://schemas.microsoft.com/office/drawing/2014/main" id="{83B40091-DEAA-4457-87A0-0D99FC84A06D}"/>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39" name="Group 38">
                <a:extLst>
                  <a:ext uri="{FF2B5EF4-FFF2-40B4-BE49-F238E27FC236}">
                    <a16:creationId xmlns:a16="http://schemas.microsoft.com/office/drawing/2014/main" id="{4FDF94ED-C02B-44E2-BE65-39A886AABD0B}"/>
                  </a:ext>
                </a:extLst>
              </p:cNvPr>
              <p:cNvGrpSpPr/>
              <p:nvPr/>
            </p:nvGrpSpPr>
            <p:grpSpPr>
              <a:xfrm>
                <a:off x="1275510" y="6376984"/>
                <a:ext cx="508602" cy="151498"/>
                <a:chOff x="551886" y="4945335"/>
                <a:chExt cx="508602" cy="151498"/>
              </a:xfrm>
              <a:grpFill/>
            </p:grpSpPr>
            <p:sp>
              <p:nvSpPr>
                <p:cNvPr id="44" name="Rectangle 43">
                  <a:extLst>
                    <a:ext uri="{FF2B5EF4-FFF2-40B4-BE49-F238E27FC236}">
                      <a16:creationId xmlns:a16="http://schemas.microsoft.com/office/drawing/2014/main" id="{14F3BACE-BF15-4930-B2CC-0A48B8B65B97}"/>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a:extLst>
                    <a:ext uri="{FF2B5EF4-FFF2-40B4-BE49-F238E27FC236}">
                      <a16:creationId xmlns:a16="http://schemas.microsoft.com/office/drawing/2014/main" id="{AFF5F549-ACDD-4699-A677-D43BE912C62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a:extLst>
                    <a:ext uri="{FF2B5EF4-FFF2-40B4-BE49-F238E27FC236}">
                      <a16:creationId xmlns:a16="http://schemas.microsoft.com/office/drawing/2014/main" id="{AA1BE85F-4EE8-460E-8AF0-402F82A8CFD6}"/>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40" name="Group 39">
                <a:extLst>
                  <a:ext uri="{FF2B5EF4-FFF2-40B4-BE49-F238E27FC236}">
                    <a16:creationId xmlns:a16="http://schemas.microsoft.com/office/drawing/2014/main" id="{260C1B25-967C-4A8F-8C5F-94848E3832F3}"/>
                  </a:ext>
                </a:extLst>
              </p:cNvPr>
              <p:cNvGrpSpPr/>
              <p:nvPr/>
            </p:nvGrpSpPr>
            <p:grpSpPr>
              <a:xfrm>
                <a:off x="1275510" y="6072184"/>
                <a:ext cx="508602" cy="151498"/>
                <a:chOff x="551886" y="4945335"/>
                <a:chExt cx="508602" cy="151498"/>
              </a:xfrm>
              <a:grpFill/>
            </p:grpSpPr>
            <p:sp>
              <p:nvSpPr>
                <p:cNvPr id="41" name="Rectangle 40">
                  <a:extLst>
                    <a:ext uri="{FF2B5EF4-FFF2-40B4-BE49-F238E27FC236}">
                      <a16:creationId xmlns:a16="http://schemas.microsoft.com/office/drawing/2014/main" id="{E19E4E29-7A41-440F-865C-87FDB0D8F999}"/>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42" name="Oval 41">
                  <a:extLst>
                    <a:ext uri="{FF2B5EF4-FFF2-40B4-BE49-F238E27FC236}">
                      <a16:creationId xmlns:a16="http://schemas.microsoft.com/office/drawing/2014/main" id="{1AED2C37-7454-4888-9D03-C180F9903DA1}"/>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F472DFC9-7D07-482E-B09B-0BA13E29DF78}"/>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sp>
        <p:nvSpPr>
          <p:cNvPr id="50" name="Cylinder 513">
            <a:extLst>
              <a:ext uri="{FF2B5EF4-FFF2-40B4-BE49-F238E27FC236}">
                <a16:creationId xmlns:a16="http://schemas.microsoft.com/office/drawing/2014/main" id="{0C922111-2EA5-4649-A973-524666DD13A4}"/>
              </a:ext>
            </a:extLst>
          </p:cNvPr>
          <p:cNvSpPr/>
          <p:nvPr/>
        </p:nvSpPr>
        <p:spPr bwMode="auto">
          <a:xfrm>
            <a:off x="9977371" y="40860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51" name="Group 50">
            <a:extLst>
              <a:ext uri="{FF2B5EF4-FFF2-40B4-BE49-F238E27FC236}">
                <a16:creationId xmlns:a16="http://schemas.microsoft.com/office/drawing/2014/main" id="{CB4A9B0E-894D-426D-A93B-4E342D7F35B1}"/>
              </a:ext>
            </a:extLst>
          </p:cNvPr>
          <p:cNvGrpSpPr/>
          <p:nvPr/>
        </p:nvGrpSpPr>
        <p:grpSpPr>
          <a:xfrm>
            <a:off x="10255893" y="4101532"/>
            <a:ext cx="292523" cy="262441"/>
            <a:chOff x="1275510" y="6072184"/>
            <a:chExt cx="508602" cy="456298"/>
          </a:xfrm>
          <a:solidFill>
            <a:srgbClr val="FFFFFF">
              <a:lumMod val="95000"/>
            </a:srgbClr>
          </a:solidFill>
        </p:grpSpPr>
        <p:grpSp>
          <p:nvGrpSpPr>
            <p:cNvPr id="52" name="Group 51">
              <a:extLst>
                <a:ext uri="{FF2B5EF4-FFF2-40B4-BE49-F238E27FC236}">
                  <a16:creationId xmlns:a16="http://schemas.microsoft.com/office/drawing/2014/main" id="{75AEE731-25C9-4E72-8352-13508BA45622}"/>
                </a:ext>
              </a:extLst>
            </p:cNvPr>
            <p:cNvGrpSpPr/>
            <p:nvPr/>
          </p:nvGrpSpPr>
          <p:grpSpPr>
            <a:xfrm>
              <a:off x="1275510" y="6224584"/>
              <a:ext cx="508602" cy="151498"/>
              <a:chOff x="551886" y="4945335"/>
              <a:chExt cx="508602" cy="151498"/>
            </a:xfrm>
            <a:grpFill/>
          </p:grpSpPr>
          <p:sp>
            <p:nvSpPr>
              <p:cNvPr id="61" name="Rectangle 60">
                <a:extLst>
                  <a:ext uri="{FF2B5EF4-FFF2-40B4-BE49-F238E27FC236}">
                    <a16:creationId xmlns:a16="http://schemas.microsoft.com/office/drawing/2014/main" id="{147A2C07-499A-489E-891B-16CB7B7ACB00}"/>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61">
                <a:extLst>
                  <a:ext uri="{FF2B5EF4-FFF2-40B4-BE49-F238E27FC236}">
                    <a16:creationId xmlns:a16="http://schemas.microsoft.com/office/drawing/2014/main" id="{0CFD3CA2-A4A5-4511-8FDB-340D6DE76A0F}"/>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3" name="Straight Connector 62">
                <a:extLst>
                  <a:ext uri="{FF2B5EF4-FFF2-40B4-BE49-F238E27FC236}">
                    <a16:creationId xmlns:a16="http://schemas.microsoft.com/office/drawing/2014/main" id="{AEFF5C21-6214-4637-AB50-89918B9F5E9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3" name="Group 52">
              <a:extLst>
                <a:ext uri="{FF2B5EF4-FFF2-40B4-BE49-F238E27FC236}">
                  <a16:creationId xmlns:a16="http://schemas.microsoft.com/office/drawing/2014/main" id="{4B6B698A-A0BD-42EA-9343-A32420FC67FE}"/>
                </a:ext>
              </a:extLst>
            </p:cNvPr>
            <p:cNvGrpSpPr/>
            <p:nvPr/>
          </p:nvGrpSpPr>
          <p:grpSpPr>
            <a:xfrm>
              <a:off x="1275510" y="6376984"/>
              <a:ext cx="508602" cy="151498"/>
              <a:chOff x="551886" y="4945335"/>
              <a:chExt cx="508602" cy="151498"/>
            </a:xfrm>
            <a:grpFill/>
          </p:grpSpPr>
          <p:sp>
            <p:nvSpPr>
              <p:cNvPr id="58" name="Rectangle 57">
                <a:extLst>
                  <a:ext uri="{FF2B5EF4-FFF2-40B4-BE49-F238E27FC236}">
                    <a16:creationId xmlns:a16="http://schemas.microsoft.com/office/drawing/2014/main" id="{3F4233C2-EE7E-48E7-835B-A4103C6E9CBC}"/>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8E2684AC-DF7D-46C0-9F0D-3A9C812C5A76}"/>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60" name="Straight Connector 59">
                <a:extLst>
                  <a:ext uri="{FF2B5EF4-FFF2-40B4-BE49-F238E27FC236}">
                    <a16:creationId xmlns:a16="http://schemas.microsoft.com/office/drawing/2014/main" id="{9F135E6E-6F9E-408A-925F-42C789CF5CF7}"/>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54" name="Group 53">
              <a:extLst>
                <a:ext uri="{FF2B5EF4-FFF2-40B4-BE49-F238E27FC236}">
                  <a16:creationId xmlns:a16="http://schemas.microsoft.com/office/drawing/2014/main" id="{10A71233-5485-4F8A-9F62-C370CFD531C3}"/>
                </a:ext>
              </a:extLst>
            </p:cNvPr>
            <p:cNvGrpSpPr/>
            <p:nvPr/>
          </p:nvGrpSpPr>
          <p:grpSpPr>
            <a:xfrm>
              <a:off x="1275510" y="6072184"/>
              <a:ext cx="508602" cy="151498"/>
              <a:chOff x="551886" y="4945335"/>
              <a:chExt cx="508602" cy="151498"/>
            </a:xfrm>
            <a:grpFill/>
          </p:grpSpPr>
          <p:sp>
            <p:nvSpPr>
              <p:cNvPr id="55" name="Rectangle 54">
                <a:extLst>
                  <a:ext uri="{FF2B5EF4-FFF2-40B4-BE49-F238E27FC236}">
                    <a16:creationId xmlns:a16="http://schemas.microsoft.com/office/drawing/2014/main" id="{AB338542-E0C8-41BF-83EE-5E66590A0FFE}"/>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56" name="Oval 55">
                <a:extLst>
                  <a:ext uri="{FF2B5EF4-FFF2-40B4-BE49-F238E27FC236}">
                    <a16:creationId xmlns:a16="http://schemas.microsoft.com/office/drawing/2014/main" id="{DEC6655B-49F6-4395-B441-B46859A846D2}"/>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C27C7BE8-5D10-4081-84D0-2F71B46266C2}"/>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nvGrpSpPr>
          <p:cNvPr id="64" name="Group 63">
            <a:extLst>
              <a:ext uri="{FF2B5EF4-FFF2-40B4-BE49-F238E27FC236}">
                <a16:creationId xmlns:a16="http://schemas.microsoft.com/office/drawing/2014/main" id="{7CBE8D8E-024F-4CC2-A83F-86C425AE56DC}"/>
              </a:ext>
            </a:extLst>
          </p:cNvPr>
          <p:cNvGrpSpPr/>
          <p:nvPr/>
        </p:nvGrpSpPr>
        <p:grpSpPr>
          <a:xfrm>
            <a:off x="10649258" y="2971252"/>
            <a:ext cx="571045" cy="309861"/>
            <a:chOff x="10649258" y="3473519"/>
            <a:chExt cx="571045" cy="309861"/>
          </a:xfrm>
        </p:grpSpPr>
        <p:sp>
          <p:nvSpPr>
            <p:cNvPr id="65" name="Cylinder 513">
              <a:extLst>
                <a:ext uri="{FF2B5EF4-FFF2-40B4-BE49-F238E27FC236}">
                  <a16:creationId xmlns:a16="http://schemas.microsoft.com/office/drawing/2014/main" id="{BE19E1A0-ADF4-4720-8F4F-F851AB5FFEE1}"/>
                </a:ext>
              </a:extLst>
            </p:cNvPr>
            <p:cNvSpPr/>
            <p:nvPr/>
          </p:nvSpPr>
          <p:spPr bwMode="auto">
            <a:xfrm>
              <a:off x="10649258" y="34735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66" name="Group 65">
              <a:extLst>
                <a:ext uri="{FF2B5EF4-FFF2-40B4-BE49-F238E27FC236}">
                  <a16:creationId xmlns:a16="http://schemas.microsoft.com/office/drawing/2014/main" id="{1199A488-D950-4652-A29C-8F78165D0836}"/>
                </a:ext>
              </a:extLst>
            </p:cNvPr>
            <p:cNvGrpSpPr/>
            <p:nvPr/>
          </p:nvGrpSpPr>
          <p:grpSpPr>
            <a:xfrm>
              <a:off x="10927780" y="3489032"/>
              <a:ext cx="292523" cy="262441"/>
              <a:chOff x="1275510" y="6072184"/>
              <a:chExt cx="508602" cy="456298"/>
            </a:xfrm>
            <a:solidFill>
              <a:srgbClr val="FFFFFF">
                <a:lumMod val="95000"/>
              </a:srgbClr>
            </a:solidFill>
          </p:grpSpPr>
          <p:grpSp>
            <p:nvGrpSpPr>
              <p:cNvPr id="67" name="Group 66">
                <a:extLst>
                  <a:ext uri="{FF2B5EF4-FFF2-40B4-BE49-F238E27FC236}">
                    <a16:creationId xmlns:a16="http://schemas.microsoft.com/office/drawing/2014/main" id="{0BFEE75E-FA3A-4354-8ED1-5AECF48C020A}"/>
                  </a:ext>
                </a:extLst>
              </p:cNvPr>
              <p:cNvGrpSpPr/>
              <p:nvPr/>
            </p:nvGrpSpPr>
            <p:grpSpPr>
              <a:xfrm>
                <a:off x="1275510" y="6224584"/>
                <a:ext cx="508602" cy="151498"/>
                <a:chOff x="551886" y="4945335"/>
                <a:chExt cx="508602" cy="151498"/>
              </a:xfrm>
              <a:grpFill/>
            </p:grpSpPr>
            <p:sp>
              <p:nvSpPr>
                <p:cNvPr id="76" name="Rectangle 75">
                  <a:extLst>
                    <a:ext uri="{FF2B5EF4-FFF2-40B4-BE49-F238E27FC236}">
                      <a16:creationId xmlns:a16="http://schemas.microsoft.com/office/drawing/2014/main" id="{79D9B137-9750-48D0-A3A9-1DC3B8C0E80F}"/>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0A4648D5-0030-440B-9474-32C89407EE4A}"/>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8" name="Straight Connector 77">
                  <a:extLst>
                    <a:ext uri="{FF2B5EF4-FFF2-40B4-BE49-F238E27FC236}">
                      <a16:creationId xmlns:a16="http://schemas.microsoft.com/office/drawing/2014/main" id="{2A8C5EA0-0E95-43C6-82E9-B3B5594F29AE}"/>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8" name="Group 67">
                <a:extLst>
                  <a:ext uri="{FF2B5EF4-FFF2-40B4-BE49-F238E27FC236}">
                    <a16:creationId xmlns:a16="http://schemas.microsoft.com/office/drawing/2014/main" id="{C05B6165-E4A0-4882-A1DE-218688AA35EA}"/>
                  </a:ext>
                </a:extLst>
              </p:cNvPr>
              <p:cNvGrpSpPr/>
              <p:nvPr/>
            </p:nvGrpSpPr>
            <p:grpSpPr>
              <a:xfrm>
                <a:off x="1275510" y="6376984"/>
                <a:ext cx="508602" cy="151498"/>
                <a:chOff x="551886" y="4945335"/>
                <a:chExt cx="508602" cy="151498"/>
              </a:xfrm>
              <a:grpFill/>
            </p:grpSpPr>
            <p:sp>
              <p:nvSpPr>
                <p:cNvPr id="73" name="Rectangle 72">
                  <a:extLst>
                    <a:ext uri="{FF2B5EF4-FFF2-40B4-BE49-F238E27FC236}">
                      <a16:creationId xmlns:a16="http://schemas.microsoft.com/office/drawing/2014/main" id="{F4EFC2FA-FD13-402E-A4CF-978007A13069}"/>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a:extLst>
                    <a:ext uri="{FF2B5EF4-FFF2-40B4-BE49-F238E27FC236}">
                      <a16:creationId xmlns:a16="http://schemas.microsoft.com/office/drawing/2014/main" id="{542CC346-B888-4A4D-9F50-3E4B3F8E363F}"/>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5" name="Straight Connector 74">
                  <a:extLst>
                    <a:ext uri="{FF2B5EF4-FFF2-40B4-BE49-F238E27FC236}">
                      <a16:creationId xmlns:a16="http://schemas.microsoft.com/office/drawing/2014/main" id="{1CA03E30-AD1B-4BBF-95B6-550D9232ECE0}"/>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69" name="Group 68">
                <a:extLst>
                  <a:ext uri="{FF2B5EF4-FFF2-40B4-BE49-F238E27FC236}">
                    <a16:creationId xmlns:a16="http://schemas.microsoft.com/office/drawing/2014/main" id="{6061B68B-E593-40AE-B045-4ABF87206E93}"/>
                  </a:ext>
                </a:extLst>
              </p:cNvPr>
              <p:cNvGrpSpPr/>
              <p:nvPr/>
            </p:nvGrpSpPr>
            <p:grpSpPr>
              <a:xfrm>
                <a:off x="1275510" y="6072184"/>
                <a:ext cx="508602" cy="151498"/>
                <a:chOff x="551886" y="4945335"/>
                <a:chExt cx="508602" cy="151498"/>
              </a:xfrm>
              <a:grpFill/>
            </p:grpSpPr>
            <p:sp>
              <p:nvSpPr>
                <p:cNvPr id="70" name="Rectangle 69">
                  <a:extLst>
                    <a:ext uri="{FF2B5EF4-FFF2-40B4-BE49-F238E27FC236}">
                      <a16:creationId xmlns:a16="http://schemas.microsoft.com/office/drawing/2014/main" id="{F2B5E5DF-985F-47B6-B70F-F907CDB3E84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71" name="Oval 70">
                  <a:extLst>
                    <a:ext uri="{FF2B5EF4-FFF2-40B4-BE49-F238E27FC236}">
                      <a16:creationId xmlns:a16="http://schemas.microsoft.com/office/drawing/2014/main" id="{1C51FC01-496F-495A-AA10-6129E714F363}"/>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a:extLst>
                    <a:ext uri="{FF2B5EF4-FFF2-40B4-BE49-F238E27FC236}">
                      <a16:creationId xmlns:a16="http://schemas.microsoft.com/office/drawing/2014/main" id="{ACF8EA9B-1057-4392-A994-3668796A781B}"/>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grpSp>
        <p:nvGrpSpPr>
          <p:cNvPr id="79" name="Group 78">
            <a:extLst>
              <a:ext uri="{FF2B5EF4-FFF2-40B4-BE49-F238E27FC236}">
                <a16:creationId xmlns:a16="http://schemas.microsoft.com/office/drawing/2014/main" id="{6451523D-826F-4AA0-A57F-718C8D64133D}"/>
              </a:ext>
            </a:extLst>
          </p:cNvPr>
          <p:cNvGrpSpPr/>
          <p:nvPr/>
        </p:nvGrpSpPr>
        <p:grpSpPr>
          <a:xfrm>
            <a:off x="8808259" y="3202382"/>
            <a:ext cx="2176184" cy="2062983"/>
            <a:chOff x="8808259" y="3704649"/>
            <a:chExt cx="2176184" cy="2062983"/>
          </a:xfrm>
        </p:grpSpPr>
        <p:cxnSp>
          <p:nvCxnSpPr>
            <p:cNvPr id="80" name="Connector: Elbow 79">
              <a:extLst>
                <a:ext uri="{FF2B5EF4-FFF2-40B4-BE49-F238E27FC236}">
                  <a16:creationId xmlns:a16="http://schemas.microsoft.com/office/drawing/2014/main" id="{29D198B6-1C43-449B-B3D7-7AB8FE8E08AB}"/>
                </a:ext>
              </a:extLst>
            </p:cNvPr>
            <p:cNvCxnSpPr>
              <a:stCxn id="65" idx="2"/>
              <a:endCxn id="50" idx="2"/>
            </p:cNvCxnSpPr>
            <p:nvPr/>
          </p:nvCxnSpPr>
          <p:spPr>
            <a:xfrm rot="10800000" flipV="1">
              <a:off x="9977372" y="3704649"/>
              <a:ext cx="671887" cy="1114767"/>
            </a:xfrm>
            <a:prstGeom prst="bentConnector3">
              <a:avLst>
                <a:gd name="adj1" fmla="val 134024"/>
              </a:avLst>
            </a:prstGeom>
            <a:noFill/>
            <a:ln w="12700" cap="flat" cmpd="sng" algn="ctr">
              <a:solidFill>
                <a:srgbClr val="0078D7"/>
              </a:solidFill>
              <a:prstDash val="solid"/>
              <a:headEnd type="none"/>
              <a:tailEnd type="none"/>
            </a:ln>
            <a:effectLst/>
          </p:spPr>
        </p:cxnSp>
        <p:cxnSp>
          <p:nvCxnSpPr>
            <p:cNvPr id="81" name="Connector: Elbow 80">
              <a:extLst>
                <a:ext uri="{FF2B5EF4-FFF2-40B4-BE49-F238E27FC236}">
                  <a16:creationId xmlns:a16="http://schemas.microsoft.com/office/drawing/2014/main" id="{B29C7D6D-1225-4C57-B978-6568E3F15687}"/>
                </a:ext>
              </a:extLst>
            </p:cNvPr>
            <p:cNvCxnSpPr>
              <a:cxnSpLocks/>
              <a:stCxn id="84" idx="2"/>
              <a:endCxn id="21" idx="2"/>
            </p:cNvCxnSpPr>
            <p:nvPr/>
          </p:nvCxnSpPr>
          <p:spPr>
            <a:xfrm rot="10800000" flipH="1" flipV="1">
              <a:off x="10370316" y="4232180"/>
              <a:ext cx="614127" cy="1535452"/>
            </a:xfrm>
            <a:prstGeom prst="bentConnector3">
              <a:avLst>
                <a:gd name="adj1" fmla="val -37224"/>
              </a:avLst>
            </a:prstGeom>
            <a:noFill/>
            <a:ln w="12700" cap="flat" cmpd="sng" algn="ctr">
              <a:solidFill>
                <a:srgbClr val="0078D7"/>
              </a:solidFill>
              <a:prstDash val="solid"/>
              <a:headEnd type="none"/>
              <a:tailEnd type="none"/>
            </a:ln>
            <a:effectLst/>
          </p:spPr>
        </p:cxnSp>
        <p:cxnSp>
          <p:nvCxnSpPr>
            <p:cNvPr id="82" name="Connector: Elbow 81">
              <a:extLst>
                <a:ext uri="{FF2B5EF4-FFF2-40B4-BE49-F238E27FC236}">
                  <a16:creationId xmlns:a16="http://schemas.microsoft.com/office/drawing/2014/main" id="{AFB885A3-67E8-4018-B7E6-49910E49C5EA}"/>
                </a:ext>
              </a:extLst>
            </p:cNvPr>
            <p:cNvCxnSpPr>
              <a:cxnSpLocks/>
            </p:cNvCxnSpPr>
            <p:nvPr/>
          </p:nvCxnSpPr>
          <p:spPr>
            <a:xfrm rot="16200000" flipH="1">
              <a:off x="9159651" y="4002500"/>
              <a:ext cx="234393" cy="937177"/>
            </a:xfrm>
            <a:prstGeom prst="bentConnector2">
              <a:avLst/>
            </a:prstGeom>
            <a:noFill/>
            <a:ln w="12700" cap="flat" cmpd="sng" algn="ctr">
              <a:solidFill>
                <a:srgbClr val="0078D7"/>
              </a:solidFill>
              <a:prstDash val="solid"/>
              <a:headEnd type="none"/>
              <a:tailEnd type="none"/>
            </a:ln>
            <a:effectLst/>
          </p:spPr>
        </p:cxnSp>
      </p:grpSp>
      <p:grpSp>
        <p:nvGrpSpPr>
          <p:cNvPr id="83" name="Group 82">
            <a:extLst>
              <a:ext uri="{FF2B5EF4-FFF2-40B4-BE49-F238E27FC236}">
                <a16:creationId xmlns:a16="http://schemas.microsoft.com/office/drawing/2014/main" id="{78694C88-3482-4843-8163-E76A513F7D63}"/>
              </a:ext>
            </a:extLst>
          </p:cNvPr>
          <p:cNvGrpSpPr/>
          <p:nvPr/>
        </p:nvGrpSpPr>
        <p:grpSpPr>
          <a:xfrm>
            <a:off x="10370317" y="3574982"/>
            <a:ext cx="571045" cy="309861"/>
            <a:chOff x="10649258" y="3473519"/>
            <a:chExt cx="571045" cy="309861"/>
          </a:xfrm>
        </p:grpSpPr>
        <p:sp>
          <p:nvSpPr>
            <p:cNvPr id="84" name="Cylinder 513">
              <a:extLst>
                <a:ext uri="{FF2B5EF4-FFF2-40B4-BE49-F238E27FC236}">
                  <a16:creationId xmlns:a16="http://schemas.microsoft.com/office/drawing/2014/main" id="{70F6DEE4-2B28-4B8E-913F-5C602D3E0C40}"/>
                </a:ext>
              </a:extLst>
            </p:cNvPr>
            <p:cNvSpPr/>
            <p:nvPr/>
          </p:nvSpPr>
          <p:spPr bwMode="auto">
            <a:xfrm>
              <a:off x="10649258" y="3473519"/>
              <a:ext cx="235859" cy="309861"/>
            </a:xfrm>
            <a:prstGeom prst="flowChartMagneticDisk">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85" name="Group 84">
              <a:extLst>
                <a:ext uri="{FF2B5EF4-FFF2-40B4-BE49-F238E27FC236}">
                  <a16:creationId xmlns:a16="http://schemas.microsoft.com/office/drawing/2014/main" id="{947D539E-33ED-46F9-994B-1D3EFBB782B8}"/>
                </a:ext>
              </a:extLst>
            </p:cNvPr>
            <p:cNvGrpSpPr/>
            <p:nvPr/>
          </p:nvGrpSpPr>
          <p:grpSpPr>
            <a:xfrm>
              <a:off x="10927780" y="3489032"/>
              <a:ext cx="292523" cy="262441"/>
              <a:chOff x="1275510" y="6072184"/>
              <a:chExt cx="508602" cy="456298"/>
            </a:xfrm>
            <a:solidFill>
              <a:srgbClr val="FFFFFF">
                <a:lumMod val="95000"/>
              </a:srgbClr>
            </a:solidFill>
          </p:grpSpPr>
          <p:grpSp>
            <p:nvGrpSpPr>
              <p:cNvPr id="86" name="Group 85">
                <a:extLst>
                  <a:ext uri="{FF2B5EF4-FFF2-40B4-BE49-F238E27FC236}">
                    <a16:creationId xmlns:a16="http://schemas.microsoft.com/office/drawing/2014/main" id="{B19E7122-0700-45EB-B72F-6D5D561DB50A}"/>
                  </a:ext>
                </a:extLst>
              </p:cNvPr>
              <p:cNvGrpSpPr/>
              <p:nvPr/>
            </p:nvGrpSpPr>
            <p:grpSpPr>
              <a:xfrm>
                <a:off x="1275510" y="6224584"/>
                <a:ext cx="508602" cy="151498"/>
                <a:chOff x="551886" y="4945335"/>
                <a:chExt cx="508602" cy="151498"/>
              </a:xfrm>
              <a:grpFill/>
            </p:grpSpPr>
            <p:sp>
              <p:nvSpPr>
                <p:cNvPr id="95" name="Rectangle 94">
                  <a:extLst>
                    <a:ext uri="{FF2B5EF4-FFF2-40B4-BE49-F238E27FC236}">
                      <a16:creationId xmlns:a16="http://schemas.microsoft.com/office/drawing/2014/main" id="{B1D7B419-A3B4-4F20-B887-A8BCF5AD18AE}"/>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6" name="Oval 95">
                  <a:extLst>
                    <a:ext uri="{FF2B5EF4-FFF2-40B4-BE49-F238E27FC236}">
                      <a16:creationId xmlns:a16="http://schemas.microsoft.com/office/drawing/2014/main" id="{927AF574-CD8B-4CCF-BD36-07D1B1B15B57}"/>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EA06850D-A2F4-49C4-B82F-2D54D1271DA3}"/>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87" name="Group 86">
                <a:extLst>
                  <a:ext uri="{FF2B5EF4-FFF2-40B4-BE49-F238E27FC236}">
                    <a16:creationId xmlns:a16="http://schemas.microsoft.com/office/drawing/2014/main" id="{D4936706-0857-443F-8A58-0F027E30DC73}"/>
                  </a:ext>
                </a:extLst>
              </p:cNvPr>
              <p:cNvGrpSpPr/>
              <p:nvPr/>
            </p:nvGrpSpPr>
            <p:grpSpPr>
              <a:xfrm>
                <a:off x="1275510" y="6376984"/>
                <a:ext cx="508602" cy="151498"/>
                <a:chOff x="551886" y="4945335"/>
                <a:chExt cx="508602" cy="151498"/>
              </a:xfrm>
              <a:grpFill/>
            </p:grpSpPr>
            <p:sp>
              <p:nvSpPr>
                <p:cNvPr id="92" name="Rectangle 91">
                  <a:extLst>
                    <a:ext uri="{FF2B5EF4-FFF2-40B4-BE49-F238E27FC236}">
                      <a16:creationId xmlns:a16="http://schemas.microsoft.com/office/drawing/2014/main" id="{EDB4DDC0-03E6-4436-8151-A689AE63FDEA}"/>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3" name="Oval 92">
                  <a:extLst>
                    <a:ext uri="{FF2B5EF4-FFF2-40B4-BE49-F238E27FC236}">
                      <a16:creationId xmlns:a16="http://schemas.microsoft.com/office/drawing/2014/main" id="{C293AA7F-B000-49EF-9546-AD47E9395268}"/>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4" name="Straight Connector 93">
                  <a:extLst>
                    <a:ext uri="{FF2B5EF4-FFF2-40B4-BE49-F238E27FC236}">
                      <a16:creationId xmlns:a16="http://schemas.microsoft.com/office/drawing/2014/main" id="{380FF67C-6AD5-4571-BCC0-8DA3E13CE82A}"/>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nvGrpSpPr>
              <p:cNvPr id="88" name="Group 87">
                <a:extLst>
                  <a:ext uri="{FF2B5EF4-FFF2-40B4-BE49-F238E27FC236}">
                    <a16:creationId xmlns:a16="http://schemas.microsoft.com/office/drawing/2014/main" id="{5F6C2559-DD47-4632-973A-FC886AB49037}"/>
                  </a:ext>
                </a:extLst>
              </p:cNvPr>
              <p:cNvGrpSpPr/>
              <p:nvPr/>
            </p:nvGrpSpPr>
            <p:grpSpPr>
              <a:xfrm>
                <a:off x="1275510" y="6072184"/>
                <a:ext cx="508602" cy="151498"/>
                <a:chOff x="551886" y="4945335"/>
                <a:chExt cx="508602" cy="151498"/>
              </a:xfrm>
              <a:grpFill/>
            </p:grpSpPr>
            <p:sp>
              <p:nvSpPr>
                <p:cNvPr id="89" name="Rectangle 88">
                  <a:extLst>
                    <a:ext uri="{FF2B5EF4-FFF2-40B4-BE49-F238E27FC236}">
                      <a16:creationId xmlns:a16="http://schemas.microsoft.com/office/drawing/2014/main" id="{A57DB276-517A-4CEB-A5D0-016B444CE493}"/>
                    </a:ext>
                  </a:extLst>
                </p:cNvPr>
                <p:cNvSpPr/>
                <p:nvPr/>
              </p:nvSpPr>
              <p:spPr bwMode="auto">
                <a:xfrm>
                  <a:off x="551886" y="4945335"/>
                  <a:ext cx="508602" cy="151498"/>
                </a:xfrm>
                <a:prstGeom prst="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90" name="Oval 89">
                  <a:extLst>
                    <a:ext uri="{FF2B5EF4-FFF2-40B4-BE49-F238E27FC236}">
                      <a16:creationId xmlns:a16="http://schemas.microsoft.com/office/drawing/2014/main" id="{DAD7C03C-0900-437A-B20A-18DDB45B83A5}"/>
                    </a:ext>
                  </a:extLst>
                </p:cNvPr>
                <p:cNvSpPr/>
                <p:nvPr/>
              </p:nvSpPr>
              <p:spPr bwMode="auto">
                <a:xfrm flipH="1">
                  <a:off x="955040" y="4993640"/>
                  <a:ext cx="45720" cy="4572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91" name="Straight Connector 90">
                  <a:extLst>
                    <a:ext uri="{FF2B5EF4-FFF2-40B4-BE49-F238E27FC236}">
                      <a16:creationId xmlns:a16="http://schemas.microsoft.com/office/drawing/2014/main" id="{EBE11BAC-AE50-410C-BDD0-B16B0A3521BC}"/>
                    </a:ext>
                  </a:extLst>
                </p:cNvPr>
                <p:cNvCxnSpPr/>
                <p:nvPr/>
              </p:nvCxnSpPr>
              <p:spPr>
                <a:xfrm>
                  <a:off x="625475" y="5019675"/>
                  <a:ext cx="238125" cy="0"/>
                </a:xfrm>
                <a:prstGeom prst="line">
                  <a:avLst/>
                </a:prstGeom>
                <a:grpFill/>
                <a:ln w="12700" cap="flat" cmpd="sng" algn="ctr">
                  <a:solidFill>
                    <a:srgbClr val="0078D7"/>
                  </a:solidFill>
                  <a:prstDash val="solid"/>
                  <a:headEnd type="none"/>
                  <a:tailEnd type="none"/>
                </a:ln>
                <a:effectLst/>
              </p:spPr>
            </p:cxnSp>
          </p:grpSp>
        </p:grpSp>
      </p:grpSp>
      <p:grpSp>
        <p:nvGrpSpPr>
          <p:cNvPr id="98" name="Group 97">
            <a:extLst>
              <a:ext uri="{FF2B5EF4-FFF2-40B4-BE49-F238E27FC236}">
                <a16:creationId xmlns:a16="http://schemas.microsoft.com/office/drawing/2014/main" id="{148EBD96-478F-4DAD-A8CD-4366A3232442}"/>
              </a:ext>
            </a:extLst>
          </p:cNvPr>
          <p:cNvGrpSpPr/>
          <p:nvPr/>
        </p:nvGrpSpPr>
        <p:grpSpPr>
          <a:xfrm>
            <a:off x="10548416" y="3215560"/>
            <a:ext cx="593113" cy="1894874"/>
            <a:chOff x="10548416" y="3717827"/>
            <a:chExt cx="593113" cy="1894874"/>
          </a:xfrm>
        </p:grpSpPr>
        <p:cxnSp>
          <p:nvCxnSpPr>
            <p:cNvPr id="99" name="Straight Connector 98">
              <a:extLst>
                <a:ext uri="{FF2B5EF4-FFF2-40B4-BE49-F238E27FC236}">
                  <a16:creationId xmlns:a16="http://schemas.microsoft.com/office/drawing/2014/main" id="{3810BB19-673B-44C7-A832-6BE86FF28BE7}"/>
                </a:ext>
              </a:extLst>
            </p:cNvPr>
            <p:cNvCxnSpPr>
              <a:cxnSpLocks/>
            </p:cNvCxnSpPr>
            <p:nvPr/>
          </p:nvCxnSpPr>
          <p:spPr>
            <a:xfrm>
              <a:off x="11134672" y="3751473"/>
              <a:ext cx="0" cy="1861228"/>
            </a:xfrm>
            <a:prstGeom prst="line">
              <a:avLst/>
            </a:prstGeom>
            <a:noFill/>
            <a:ln w="12700" cap="flat" cmpd="sng" algn="ctr">
              <a:solidFill>
                <a:srgbClr val="0078D7"/>
              </a:solidFill>
              <a:prstDash val="solid"/>
              <a:headEnd type="none"/>
              <a:tailEnd type="none"/>
            </a:ln>
            <a:effectLst/>
          </p:spPr>
        </p:cxnSp>
        <p:cxnSp>
          <p:nvCxnSpPr>
            <p:cNvPr id="100" name="Straight Connector 99">
              <a:extLst>
                <a:ext uri="{FF2B5EF4-FFF2-40B4-BE49-F238E27FC236}">
                  <a16:creationId xmlns:a16="http://schemas.microsoft.com/office/drawing/2014/main" id="{B3BCECC8-2C01-4AF0-9E3F-3DCA645057FC}"/>
                </a:ext>
              </a:extLst>
            </p:cNvPr>
            <p:cNvCxnSpPr>
              <a:stCxn id="95" idx="3"/>
            </p:cNvCxnSpPr>
            <p:nvPr/>
          </p:nvCxnSpPr>
          <p:spPr>
            <a:xfrm flipV="1">
              <a:off x="10941362" y="3717827"/>
              <a:ext cx="191095" cy="0"/>
            </a:xfrm>
            <a:prstGeom prst="line">
              <a:avLst/>
            </a:prstGeom>
            <a:noFill/>
            <a:ln w="12700" cap="flat" cmpd="sng" algn="ctr">
              <a:solidFill>
                <a:srgbClr val="0078D7"/>
              </a:solidFill>
              <a:prstDash val="solid"/>
              <a:headEnd type="none"/>
              <a:tailEnd type="none"/>
            </a:ln>
            <a:effectLst/>
          </p:spPr>
        </p:cxnSp>
        <p:cxnSp>
          <p:nvCxnSpPr>
            <p:cNvPr id="101" name="Straight Connector 100">
              <a:extLst>
                <a:ext uri="{FF2B5EF4-FFF2-40B4-BE49-F238E27FC236}">
                  <a16:creationId xmlns:a16="http://schemas.microsoft.com/office/drawing/2014/main" id="{98C73850-6D2E-436A-96EE-FEFF3D28B948}"/>
                </a:ext>
              </a:extLst>
            </p:cNvPr>
            <p:cNvCxnSpPr>
              <a:cxnSpLocks/>
              <a:stCxn id="61" idx="3"/>
            </p:cNvCxnSpPr>
            <p:nvPr/>
          </p:nvCxnSpPr>
          <p:spPr>
            <a:xfrm>
              <a:off x="10548416" y="4232752"/>
              <a:ext cx="593113" cy="363"/>
            </a:xfrm>
            <a:prstGeom prst="line">
              <a:avLst/>
            </a:prstGeom>
            <a:noFill/>
            <a:ln w="12700" cap="flat" cmpd="sng" algn="ctr">
              <a:solidFill>
                <a:srgbClr val="0078D7"/>
              </a:solidFill>
              <a:prstDash val="solid"/>
              <a:headEnd type="none"/>
              <a:tailEnd type="none"/>
            </a:ln>
            <a:effectLst/>
          </p:spPr>
        </p:cxnSp>
      </p:grpSp>
      <p:cxnSp>
        <p:nvCxnSpPr>
          <p:cNvPr id="102" name="Connector: Elbow 101">
            <a:extLst>
              <a:ext uri="{FF2B5EF4-FFF2-40B4-BE49-F238E27FC236}">
                <a16:creationId xmlns:a16="http://schemas.microsoft.com/office/drawing/2014/main" id="{FBA47955-F98E-4AD5-96AF-340C60249567}"/>
              </a:ext>
            </a:extLst>
          </p:cNvPr>
          <p:cNvCxnSpPr>
            <a:stCxn id="65" idx="2"/>
          </p:cNvCxnSpPr>
          <p:nvPr/>
        </p:nvCxnSpPr>
        <p:spPr>
          <a:xfrm rot="10800000" flipV="1">
            <a:off x="8762570" y="3126183"/>
            <a:ext cx="1886689" cy="132030"/>
          </a:xfrm>
          <a:prstGeom prst="bentConnector3">
            <a:avLst>
              <a:gd name="adj1" fmla="val 100005"/>
            </a:avLst>
          </a:prstGeom>
          <a:noFill/>
          <a:ln w="12700" cap="flat" cmpd="sng" algn="ctr">
            <a:solidFill>
              <a:srgbClr val="0078D7"/>
            </a:solidFill>
            <a:prstDash val="solid"/>
            <a:headEnd type="none"/>
            <a:tailEnd type="none"/>
          </a:ln>
          <a:effectLst/>
        </p:spPr>
      </p:cxnSp>
      <p:cxnSp>
        <p:nvCxnSpPr>
          <p:cNvPr id="103" name="Connector: Elbow 102">
            <a:extLst>
              <a:ext uri="{FF2B5EF4-FFF2-40B4-BE49-F238E27FC236}">
                <a16:creationId xmlns:a16="http://schemas.microsoft.com/office/drawing/2014/main" id="{CB00B5A3-862D-4AB0-88DE-F2C48FD73B00}"/>
              </a:ext>
            </a:extLst>
          </p:cNvPr>
          <p:cNvCxnSpPr>
            <a:stCxn id="5" idx="2"/>
            <a:endCxn id="36" idx="1"/>
          </p:cNvCxnSpPr>
          <p:nvPr/>
        </p:nvCxnSpPr>
        <p:spPr>
          <a:xfrm rot="5400000">
            <a:off x="8684722" y="2329310"/>
            <a:ext cx="880783" cy="1073965"/>
          </a:xfrm>
          <a:prstGeom prst="bentConnector3">
            <a:avLst>
              <a:gd name="adj1" fmla="val 19514"/>
            </a:avLst>
          </a:prstGeom>
          <a:noFill/>
          <a:ln w="12700" cap="flat" cmpd="sng" algn="ctr">
            <a:solidFill>
              <a:srgbClr val="0078D7"/>
            </a:solidFill>
            <a:prstDash val="dash"/>
            <a:headEnd type="none"/>
            <a:tailEnd type="triangle"/>
          </a:ln>
          <a:effectLst/>
        </p:spPr>
      </p:cxnSp>
      <p:cxnSp>
        <p:nvCxnSpPr>
          <p:cNvPr id="104" name="Connector: Elbow 103">
            <a:extLst>
              <a:ext uri="{FF2B5EF4-FFF2-40B4-BE49-F238E27FC236}">
                <a16:creationId xmlns:a16="http://schemas.microsoft.com/office/drawing/2014/main" id="{9DA260CA-FF78-47C5-9713-BF9515D0F4D5}"/>
              </a:ext>
            </a:extLst>
          </p:cNvPr>
          <p:cNvCxnSpPr>
            <a:stCxn id="5" idx="2"/>
            <a:endCxn id="65" idx="1"/>
          </p:cNvCxnSpPr>
          <p:nvPr/>
        </p:nvCxnSpPr>
        <p:spPr>
          <a:xfrm rot="16200000" flipH="1">
            <a:off x="9941966" y="2146029"/>
            <a:ext cx="545351" cy="1105093"/>
          </a:xfrm>
          <a:prstGeom prst="bentConnector3">
            <a:avLst>
              <a:gd name="adj1" fmla="val 31370"/>
            </a:avLst>
          </a:prstGeom>
          <a:noFill/>
          <a:ln w="12700" cap="flat" cmpd="sng" algn="ctr">
            <a:solidFill>
              <a:srgbClr val="0078D7"/>
            </a:solidFill>
            <a:prstDash val="dash"/>
            <a:headEnd type="none"/>
            <a:tailEnd type="triangle"/>
          </a:ln>
          <a:effectLst/>
        </p:spPr>
      </p:cxnSp>
      <p:grpSp>
        <p:nvGrpSpPr>
          <p:cNvPr id="105" name="Group 104">
            <a:extLst>
              <a:ext uri="{FF2B5EF4-FFF2-40B4-BE49-F238E27FC236}">
                <a16:creationId xmlns:a16="http://schemas.microsoft.com/office/drawing/2014/main" id="{917A3657-94CB-433F-B59C-47F24DDB38D3}"/>
              </a:ext>
            </a:extLst>
          </p:cNvPr>
          <p:cNvGrpSpPr/>
          <p:nvPr/>
        </p:nvGrpSpPr>
        <p:grpSpPr>
          <a:xfrm>
            <a:off x="8413691" y="3306684"/>
            <a:ext cx="844678" cy="458340"/>
            <a:chOff x="8413691" y="3808951"/>
            <a:chExt cx="844678" cy="458340"/>
          </a:xfrm>
        </p:grpSpPr>
        <p:sp>
          <p:nvSpPr>
            <p:cNvPr id="106" name="Cylinder 513">
              <a:extLst>
                <a:ext uri="{FF2B5EF4-FFF2-40B4-BE49-F238E27FC236}">
                  <a16:creationId xmlns:a16="http://schemas.microsoft.com/office/drawing/2014/main" id="{DBB66EE0-C662-4247-B7A1-CF741651BA3E}"/>
                </a:ext>
              </a:extLst>
            </p:cNvPr>
            <p:cNvSpPr/>
            <p:nvPr/>
          </p:nvSpPr>
          <p:spPr bwMode="auto">
            <a:xfrm>
              <a:off x="8413691" y="3808951"/>
              <a:ext cx="348878" cy="458340"/>
            </a:xfrm>
            <a:prstGeom prst="flowChartMagneticDisk">
              <a:avLst/>
            </a:prstGeom>
            <a:solidFill>
              <a:srgbClr val="FFFFFF">
                <a:lumMod val="95000"/>
              </a:srgbClr>
            </a:solid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grpSp>
          <p:nvGrpSpPr>
            <p:cNvPr id="107" name="Group 106">
              <a:extLst>
                <a:ext uri="{FF2B5EF4-FFF2-40B4-BE49-F238E27FC236}">
                  <a16:creationId xmlns:a16="http://schemas.microsoft.com/office/drawing/2014/main" id="{9572D570-3F30-47F3-B326-F2EAC16D28C9}"/>
                </a:ext>
              </a:extLst>
            </p:cNvPr>
            <p:cNvGrpSpPr/>
            <p:nvPr/>
          </p:nvGrpSpPr>
          <p:grpSpPr>
            <a:xfrm>
              <a:off x="8825675" y="3831898"/>
              <a:ext cx="432694" cy="388197"/>
              <a:chOff x="1275510" y="6072184"/>
              <a:chExt cx="508602" cy="456298"/>
            </a:xfrm>
            <a:solidFill>
              <a:srgbClr val="FFFFFF">
                <a:lumMod val="95000"/>
              </a:srgbClr>
            </a:solidFill>
          </p:grpSpPr>
          <p:grpSp>
            <p:nvGrpSpPr>
              <p:cNvPr id="108" name="Group 107">
                <a:extLst>
                  <a:ext uri="{FF2B5EF4-FFF2-40B4-BE49-F238E27FC236}">
                    <a16:creationId xmlns:a16="http://schemas.microsoft.com/office/drawing/2014/main" id="{B34CDD34-349D-4AD6-9E8A-380EB0D6F6A0}"/>
                  </a:ext>
                </a:extLst>
              </p:cNvPr>
              <p:cNvGrpSpPr/>
              <p:nvPr/>
            </p:nvGrpSpPr>
            <p:grpSpPr>
              <a:xfrm>
                <a:off x="1275510" y="6224584"/>
                <a:ext cx="508602" cy="151498"/>
                <a:chOff x="551886" y="4945335"/>
                <a:chExt cx="508602" cy="151498"/>
              </a:xfrm>
              <a:grpFill/>
            </p:grpSpPr>
            <p:sp>
              <p:nvSpPr>
                <p:cNvPr id="117" name="Rectangle 116">
                  <a:extLst>
                    <a:ext uri="{FF2B5EF4-FFF2-40B4-BE49-F238E27FC236}">
                      <a16:creationId xmlns:a16="http://schemas.microsoft.com/office/drawing/2014/main" id="{3EAAE0D6-C3E8-45E1-8164-A971087EF276}"/>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8" name="Oval 117">
                  <a:extLst>
                    <a:ext uri="{FF2B5EF4-FFF2-40B4-BE49-F238E27FC236}">
                      <a16:creationId xmlns:a16="http://schemas.microsoft.com/office/drawing/2014/main" id="{9F89AC08-E3E2-4C80-ABBD-4AFC2D9EBF65}"/>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9" name="Straight Connector 118">
                  <a:extLst>
                    <a:ext uri="{FF2B5EF4-FFF2-40B4-BE49-F238E27FC236}">
                      <a16:creationId xmlns:a16="http://schemas.microsoft.com/office/drawing/2014/main" id="{818140D2-DBC2-4569-AC05-EDE67318D1E7}"/>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nvGrpSpPr>
              <p:cNvPr id="109" name="Group 108">
                <a:extLst>
                  <a:ext uri="{FF2B5EF4-FFF2-40B4-BE49-F238E27FC236}">
                    <a16:creationId xmlns:a16="http://schemas.microsoft.com/office/drawing/2014/main" id="{8A239FE1-9119-46CB-B2AA-90DDE9318357}"/>
                  </a:ext>
                </a:extLst>
              </p:cNvPr>
              <p:cNvGrpSpPr/>
              <p:nvPr/>
            </p:nvGrpSpPr>
            <p:grpSpPr>
              <a:xfrm>
                <a:off x="1275510" y="6376984"/>
                <a:ext cx="508602" cy="151498"/>
                <a:chOff x="551886" y="4945335"/>
                <a:chExt cx="508602" cy="151498"/>
              </a:xfrm>
              <a:grpFill/>
            </p:grpSpPr>
            <p:sp>
              <p:nvSpPr>
                <p:cNvPr id="114" name="Rectangle 113">
                  <a:extLst>
                    <a:ext uri="{FF2B5EF4-FFF2-40B4-BE49-F238E27FC236}">
                      <a16:creationId xmlns:a16="http://schemas.microsoft.com/office/drawing/2014/main" id="{19106A46-C4D9-4ECC-B56C-EF74FAB7355E}"/>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5" name="Oval 114">
                  <a:extLst>
                    <a:ext uri="{FF2B5EF4-FFF2-40B4-BE49-F238E27FC236}">
                      <a16:creationId xmlns:a16="http://schemas.microsoft.com/office/drawing/2014/main" id="{72E9A0BE-AE76-4A46-B5FE-C0D83C654CDB}"/>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6" name="Straight Connector 115">
                  <a:extLst>
                    <a:ext uri="{FF2B5EF4-FFF2-40B4-BE49-F238E27FC236}">
                      <a16:creationId xmlns:a16="http://schemas.microsoft.com/office/drawing/2014/main" id="{F186D876-ACBC-4E00-93FE-7B8E0BF99B27}"/>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nvGrpSpPr>
              <p:cNvPr id="110" name="Group 109">
                <a:extLst>
                  <a:ext uri="{FF2B5EF4-FFF2-40B4-BE49-F238E27FC236}">
                    <a16:creationId xmlns:a16="http://schemas.microsoft.com/office/drawing/2014/main" id="{9C6BB911-F051-496A-8A45-C4D95EB1B9F0}"/>
                  </a:ext>
                </a:extLst>
              </p:cNvPr>
              <p:cNvGrpSpPr/>
              <p:nvPr/>
            </p:nvGrpSpPr>
            <p:grpSpPr>
              <a:xfrm>
                <a:off x="1275510" y="6072184"/>
                <a:ext cx="508602" cy="151498"/>
                <a:chOff x="551886" y="4945335"/>
                <a:chExt cx="508602" cy="151498"/>
              </a:xfrm>
              <a:grpFill/>
            </p:grpSpPr>
            <p:sp>
              <p:nvSpPr>
                <p:cNvPr id="111" name="Rectangle 110">
                  <a:extLst>
                    <a:ext uri="{FF2B5EF4-FFF2-40B4-BE49-F238E27FC236}">
                      <a16:creationId xmlns:a16="http://schemas.microsoft.com/office/drawing/2014/main" id="{21796357-8A99-464A-B6B2-D091A80806F6}"/>
                    </a:ext>
                  </a:extLst>
                </p:cNvPr>
                <p:cNvSpPr/>
                <p:nvPr/>
              </p:nvSpPr>
              <p:spPr bwMode="auto">
                <a:xfrm>
                  <a:off x="551886" y="4945335"/>
                  <a:ext cx="508602" cy="151498"/>
                </a:xfrm>
                <a:prstGeom prst="rect">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112" name="Oval 111">
                  <a:extLst>
                    <a:ext uri="{FF2B5EF4-FFF2-40B4-BE49-F238E27FC236}">
                      <a16:creationId xmlns:a16="http://schemas.microsoft.com/office/drawing/2014/main" id="{EE229B6A-A387-47CD-9635-28D4F76932B6}"/>
                    </a:ext>
                  </a:extLst>
                </p:cNvPr>
                <p:cNvSpPr/>
                <p:nvPr/>
              </p:nvSpPr>
              <p:spPr bwMode="auto">
                <a:xfrm flipH="1">
                  <a:off x="955040" y="4993640"/>
                  <a:ext cx="45720" cy="45720"/>
                </a:xfrm>
                <a:prstGeom prst="ellipse">
                  <a:avLst/>
                </a:prstGeom>
                <a:grpFill/>
                <a:ln w="12700" cap="flat" cmpd="sng" algn="ctr">
                  <a:solidFill>
                    <a:srgbClr val="D2D2D2">
                      <a:lumMod val="9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113" name="Straight Connector 112">
                  <a:extLst>
                    <a:ext uri="{FF2B5EF4-FFF2-40B4-BE49-F238E27FC236}">
                      <a16:creationId xmlns:a16="http://schemas.microsoft.com/office/drawing/2014/main" id="{81DE7AD6-53EA-47DB-854D-E9F27B8BCE18}"/>
                    </a:ext>
                  </a:extLst>
                </p:cNvPr>
                <p:cNvCxnSpPr/>
                <p:nvPr/>
              </p:nvCxnSpPr>
              <p:spPr>
                <a:xfrm>
                  <a:off x="625475" y="5019675"/>
                  <a:ext cx="238125" cy="0"/>
                </a:xfrm>
                <a:prstGeom prst="line">
                  <a:avLst/>
                </a:prstGeom>
                <a:grpFill/>
                <a:ln w="12700" cap="flat" cmpd="sng" algn="ctr">
                  <a:solidFill>
                    <a:srgbClr val="D2D2D2">
                      <a:lumMod val="90000"/>
                    </a:srgbClr>
                  </a:solidFill>
                  <a:prstDash val="solid"/>
                  <a:headEnd type="none"/>
                  <a:tailEnd type="none"/>
                </a:ln>
                <a:effectLst/>
              </p:spPr>
            </p:cxnSp>
          </p:grpSp>
        </p:grpSp>
      </p:grpSp>
    </p:spTree>
    <p:extLst>
      <p:ext uri="{BB962C8B-B14F-4D97-AF65-F5344CB8AC3E}">
        <p14:creationId xmlns:p14="http://schemas.microsoft.com/office/powerpoint/2010/main" val="721641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9"/>
                                        </p:tgtEl>
                                      </p:cBhvr>
                                    </p:animEffect>
                                    <p:set>
                                      <p:cBhvr>
                                        <p:cTn id="7" dur="1" fill="hold">
                                          <p:stCondLst>
                                            <p:cond delay="499"/>
                                          </p:stCondLst>
                                        </p:cTn>
                                        <p:tgtEl>
                                          <p:spTgt spid="79"/>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xit" presetSubtype="0" fill="hold" nodeType="withEffect">
                                  <p:stCondLst>
                                    <p:cond delay="0"/>
                                  </p:stCondLst>
                                  <p:childTnLst>
                                    <p:animEffect transition="out" filter="fade">
                                      <p:cBhvr>
                                        <p:cTn id="12" dur="500"/>
                                        <p:tgtEl>
                                          <p:spTgt spid="103"/>
                                        </p:tgtEl>
                                      </p:cBhvr>
                                    </p:animEffect>
                                    <p:set>
                                      <p:cBhvr>
                                        <p:cTn id="13" dur="1" fill="hold">
                                          <p:stCondLst>
                                            <p:cond delay="499"/>
                                          </p:stCondLst>
                                        </p:cTn>
                                        <p:tgtEl>
                                          <p:spTgt spid="103"/>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104"/>
                                        </p:tgtEl>
                                        <p:attrNameLst>
                                          <p:attrName>style.visibility</p:attrName>
                                        </p:attrNameLst>
                                      </p:cBhvr>
                                      <p:to>
                                        <p:strVal val="visible"/>
                                      </p:to>
                                    </p:set>
                                    <p:animEffect transition="in" filter="fade">
                                      <p:cBhvr>
                                        <p:cTn id="16" dur="500"/>
                                        <p:tgtEl>
                                          <p:spTgt spid="104"/>
                                        </p:tgtEl>
                                      </p:cBhvr>
                                    </p:animEffect>
                                  </p:childTnLst>
                                </p:cTn>
                              </p:par>
                              <p:par>
                                <p:cTn id="17" presetID="22" presetClass="entr" presetSubtype="1" fill="hold" nodeType="withEffect">
                                  <p:stCondLst>
                                    <p:cond delay="250"/>
                                  </p:stCondLst>
                                  <p:childTnLst>
                                    <p:set>
                                      <p:cBhvr>
                                        <p:cTn id="18" dur="1" fill="hold">
                                          <p:stCondLst>
                                            <p:cond delay="0"/>
                                          </p:stCondLst>
                                        </p:cTn>
                                        <p:tgtEl>
                                          <p:spTgt spid="98"/>
                                        </p:tgtEl>
                                        <p:attrNameLst>
                                          <p:attrName>style.visibility</p:attrName>
                                        </p:attrNameLst>
                                      </p:cBhvr>
                                      <p:to>
                                        <p:strVal val="visible"/>
                                      </p:to>
                                    </p:set>
                                    <p:animEffect transition="in" filter="wipe(up)">
                                      <p:cBhvr>
                                        <p:cTn id="19" dur="500"/>
                                        <p:tgtEl>
                                          <p:spTgt spid="9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2" fill="hold" nodeType="clickEffect">
                                  <p:stCondLst>
                                    <p:cond delay="0"/>
                                  </p:stCondLst>
                                  <p:childTnLst>
                                    <p:set>
                                      <p:cBhvr>
                                        <p:cTn id="23" dur="1" fill="hold">
                                          <p:stCondLst>
                                            <p:cond delay="0"/>
                                          </p:stCondLst>
                                        </p:cTn>
                                        <p:tgtEl>
                                          <p:spTgt spid="102"/>
                                        </p:tgtEl>
                                        <p:attrNameLst>
                                          <p:attrName>style.visibility</p:attrName>
                                        </p:attrNameLst>
                                      </p:cBhvr>
                                      <p:to>
                                        <p:strVal val="visible"/>
                                      </p:to>
                                    </p:set>
                                    <p:animEffect transition="in" filter="wipe(right)">
                                      <p:cBhvr>
                                        <p:cTn id="24" dur="500"/>
                                        <p:tgtEl>
                                          <p:spTgt spid="102"/>
                                        </p:tgtEl>
                                      </p:cBhvr>
                                    </p:animEffect>
                                  </p:childTnLst>
                                </p:cTn>
                              </p:par>
                              <p:par>
                                <p:cTn id="25" presetID="22" presetClass="exit" presetSubtype="2" fill="hold" nodeType="withEffect">
                                  <p:stCondLst>
                                    <p:cond delay="250"/>
                                  </p:stCondLst>
                                  <p:childTnLst>
                                    <p:animEffect transition="out" filter="wipe(right)">
                                      <p:cBhvr>
                                        <p:cTn id="26" dur="500"/>
                                        <p:tgtEl>
                                          <p:spTgt spid="98"/>
                                        </p:tgtEl>
                                      </p:cBhvr>
                                    </p:animEffect>
                                    <p:set>
                                      <p:cBhvr>
                                        <p:cTn id="27" dur="1" fill="hold">
                                          <p:stCondLst>
                                            <p:cond delay="499"/>
                                          </p:stCondLst>
                                        </p:cTn>
                                        <p:tgtEl>
                                          <p:spTgt spid="98"/>
                                        </p:tgtEl>
                                        <p:attrNameLst>
                                          <p:attrName>style.visibility</p:attrName>
                                        </p:attrNameLst>
                                      </p:cBhvr>
                                      <p:to>
                                        <p:strVal val="hidden"/>
                                      </p:to>
                                    </p:set>
                                  </p:childTnLst>
                                </p:cTn>
                              </p:par>
                              <p:par>
                                <p:cTn id="28" presetID="10" presetClass="exit" presetSubtype="0" fill="hold" nodeType="withEffect">
                                  <p:stCondLst>
                                    <p:cond delay="250"/>
                                  </p:stCondLst>
                                  <p:childTnLst>
                                    <p:animEffect transition="out" filter="fade">
                                      <p:cBhvr>
                                        <p:cTn id="29" dur="500"/>
                                        <p:tgtEl>
                                          <p:spTgt spid="105"/>
                                        </p:tgtEl>
                                      </p:cBhvr>
                                    </p:animEffect>
                                    <p:set>
                                      <p:cBhvr>
                                        <p:cTn id="30" dur="1" fill="hold">
                                          <p:stCondLst>
                                            <p:cond delay="499"/>
                                          </p:stCondLst>
                                        </p:cTn>
                                        <p:tgtEl>
                                          <p:spTgt spid="105"/>
                                        </p:tgtEl>
                                        <p:attrNameLst>
                                          <p:attrName>style.visibility</p:attrName>
                                        </p:attrNameLst>
                                      </p:cBhvr>
                                      <p:to>
                                        <p:strVal val="hidden"/>
                                      </p:to>
                                    </p:set>
                                  </p:childTnLst>
                                </p:cTn>
                              </p:par>
                            </p:childTnLst>
                          </p:cTn>
                        </p:par>
                        <p:par>
                          <p:cTn id="31" fill="hold">
                            <p:stCondLst>
                              <p:cond delay="750"/>
                            </p:stCondLst>
                            <p:childTnLst>
                              <p:par>
                                <p:cTn id="32" presetID="22" presetClass="exit" presetSubtype="2" fill="hold" nodeType="afterEffect">
                                  <p:stCondLst>
                                    <p:cond delay="0"/>
                                  </p:stCondLst>
                                  <p:childTnLst>
                                    <p:animEffect transition="out" filter="wipe(right)">
                                      <p:cBhvr>
                                        <p:cTn id="33" dur="500"/>
                                        <p:tgtEl>
                                          <p:spTgt spid="104"/>
                                        </p:tgtEl>
                                      </p:cBhvr>
                                    </p:animEffect>
                                    <p:set>
                                      <p:cBhvr>
                                        <p:cTn id="34" dur="1" fill="hold">
                                          <p:stCondLst>
                                            <p:cond delay="499"/>
                                          </p:stCondLst>
                                        </p:cTn>
                                        <p:tgtEl>
                                          <p:spTgt spid="104"/>
                                        </p:tgtEl>
                                        <p:attrNameLst>
                                          <p:attrName>style.visibility</p:attrName>
                                        </p:attrNameLst>
                                      </p:cBhvr>
                                      <p:to>
                                        <p:strVal val="hidden"/>
                                      </p:to>
                                    </p:set>
                                  </p:childTnLst>
                                </p:cTn>
                              </p:par>
                              <p:par>
                                <p:cTn id="35" presetID="22" presetClass="entr" presetSubtype="2"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animEffect transition="in" filter="wipe(right)">
                                      <p:cBhvr>
                                        <p:cTn id="37" dur="500"/>
                                        <p:tgtEl>
                                          <p:spTgt spid="103"/>
                                        </p:tgtEl>
                                      </p:cBhvr>
                                    </p:animEffect>
                                  </p:childTnLst>
                                </p:cTn>
                              </p:par>
                              <p:par>
                                <p:cTn id="38" presetID="10" presetClass="entr" presetSubtype="0" fill="hold" nodeType="withEffect">
                                  <p:stCondLst>
                                    <p:cond delay="0"/>
                                  </p:stCondLst>
                                  <p:childTnLst>
                                    <p:set>
                                      <p:cBhvr>
                                        <p:cTn id="39" dur="1" fill="hold">
                                          <p:stCondLst>
                                            <p:cond delay="0"/>
                                          </p:stCondLst>
                                        </p:cTn>
                                        <p:tgtEl>
                                          <p:spTgt spid="79"/>
                                        </p:tgtEl>
                                        <p:attrNameLst>
                                          <p:attrName>style.visibility</p:attrName>
                                        </p:attrNameLst>
                                      </p:cBhvr>
                                      <p:to>
                                        <p:strVal val="visible"/>
                                      </p:to>
                                    </p:set>
                                    <p:animEffect transition="in" filter="fade">
                                      <p:cBhvr>
                                        <p:cTn id="40" dur="500"/>
                                        <p:tgtEl>
                                          <p:spTgt spid="79"/>
                                        </p:tgtEl>
                                      </p:cBhvr>
                                    </p:animEffect>
                                  </p:childTnLst>
                                </p:cTn>
                              </p:par>
                              <p:par>
                                <p:cTn id="41" presetID="10" presetClass="exit" presetSubtype="0" fill="hold" nodeType="withEffect">
                                  <p:stCondLst>
                                    <p:cond delay="0"/>
                                  </p:stCondLst>
                                  <p:childTnLst>
                                    <p:animEffect transition="out" filter="fade">
                                      <p:cBhvr>
                                        <p:cTn id="42" dur="500"/>
                                        <p:tgtEl>
                                          <p:spTgt spid="102"/>
                                        </p:tgtEl>
                                      </p:cBhvr>
                                    </p:animEffect>
                                    <p:set>
                                      <p:cBhvr>
                                        <p:cTn id="43" dur="1" fill="hold">
                                          <p:stCondLst>
                                            <p:cond delay="499"/>
                                          </p:stCondLst>
                                        </p:cTn>
                                        <p:tgtEl>
                                          <p:spTgt spid="10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failover group capabilities</a:t>
            </a:r>
          </a:p>
        </p:txBody>
      </p:sp>
      <p:graphicFrame>
        <p:nvGraphicFramePr>
          <p:cNvPr id="5" name="Content Placeholder 4">
            <a:extLst>
              <a:ext uri="{FF2B5EF4-FFF2-40B4-BE49-F238E27FC236}">
                <a16:creationId xmlns:a16="http://schemas.microsoft.com/office/drawing/2014/main" id="{853338C4-BDD5-4C8A-8F71-95F747F65D2C}"/>
              </a:ext>
            </a:extLst>
          </p:cNvPr>
          <p:cNvGraphicFramePr>
            <a:graphicFrameLocks noGrp="1"/>
          </p:cNvGraphicFramePr>
          <p:nvPr>
            <p:ph sz="quarter" idx="13"/>
            <p:extLst>
              <p:ext uri="{D42A27DB-BD31-4B8C-83A1-F6EECF244321}">
                <p14:modId xmlns:p14="http://schemas.microsoft.com/office/powerpoint/2010/main" val="400442073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58189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ccelerated Database Recovery (ADR)</a:t>
            </a:r>
          </a:p>
        </p:txBody>
      </p:sp>
      <p:graphicFrame>
        <p:nvGraphicFramePr>
          <p:cNvPr id="5" name="Content Placeholder 4">
            <a:extLst>
              <a:ext uri="{FF2B5EF4-FFF2-40B4-BE49-F238E27FC236}">
                <a16:creationId xmlns:a16="http://schemas.microsoft.com/office/drawing/2014/main" id="{70D96E77-07B1-4B28-B3BC-BDA8FD0C018B}"/>
              </a:ext>
            </a:extLst>
          </p:cNvPr>
          <p:cNvGraphicFramePr>
            <a:graphicFrameLocks noGrp="1"/>
          </p:cNvGraphicFramePr>
          <p:nvPr>
            <p:ph sz="quarter" idx="13"/>
            <p:extLst>
              <p:ext uri="{D42A27DB-BD31-4B8C-83A1-F6EECF244321}">
                <p14:modId xmlns:p14="http://schemas.microsoft.com/office/powerpoint/2010/main" val="373923534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952350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ccelerated Database Recovery – without ADR</a:t>
            </a:r>
          </a:p>
        </p:txBody>
      </p:sp>
      <p:pic>
        <p:nvPicPr>
          <p:cNvPr id="5" name="Picture 4">
            <a:extLst>
              <a:ext uri="{FF2B5EF4-FFF2-40B4-BE49-F238E27FC236}">
                <a16:creationId xmlns:a16="http://schemas.microsoft.com/office/drawing/2014/main" id="{D7218A1A-749E-400B-B30B-5AF8E1EB8725}"/>
              </a:ext>
            </a:extLst>
          </p:cNvPr>
          <p:cNvPicPr>
            <a:picLocks noChangeAspect="1"/>
          </p:cNvPicPr>
          <p:nvPr/>
        </p:nvPicPr>
        <p:blipFill>
          <a:blip r:embed="rId3"/>
          <a:stretch>
            <a:fillRect/>
          </a:stretch>
        </p:blipFill>
        <p:spPr>
          <a:xfrm>
            <a:off x="655636" y="1424443"/>
            <a:ext cx="10698163" cy="4819650"/>
          </a:xfrm>
          <a:prstGeom prst="rect">
            <a:avLst/>
          </a:prstGeom>
        </p:spPr>
      </p:pic>
    </p:spTree>
    <p:extLst>
      <p:ext uri="{BB962C8B-B14F-4D97-AF65-F5344CB8AC3E}">
        <p14:creationId xmlns:p14="http://schemas.microsoft.com/office/powerpoint/2010/main" val="25342349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1C9BA-1A6B-4AC8-9436-AF53F6F19496}"/>
              </a:ext>
            </a:extLst>
          </p:cNvPr>
          <p:cNvSpPr>
            <a:spLocks noGrp="1"/>
          </p:cNvSpPr>
          <p:nvPr>
            <p:ph type="title"/>
          </p:nvPr>
        </p:nvSpPr>
        <p:spPr/>
        <p:txBody>
          <a:bodyPr/>
          <a:lstStyle/>
          <a:p>
            <a:r>
              <a:rPr lang="en-US" dirty="0"/>
              <a:t>Accelerated Database Recovery – with ADR</a:t>
            </a:r>
          </a:p>
        </p:txBody>
      </p:sp>
      <p:pic>
        <p:nvPicPr>
          <p:cNvPr id="4" name="Picture 3">
            <a:extLst>
              <a:ext uri="{FF2B5EF4-FFF2-40B4-BE49-F238E27FC236}">
                <a16:creationId xmlns:a16="http://schemas.microsoft.com/office/drawing/2014/main" id="{D26CC073-5E88-4AF6-9769-9AFCFA598D1E}"/>
              </a:ext>
            </a:extLst>
          </p:cNvPr>
          <p:cNvPicPr>
            <a:picLocks noChangeAspect="1"/>
          </p:cNvPicPr>
          <p:nvPr/>
        </p:nvPicPr>
        <p:blipFill>
          <a:blip r:embed="rId3"/>
          <a:stretch>
            <a:fillRect/>
          </a:stretch>
        </p:blipFill>
        <p:spPr>
          <a:xfrm>
            <a:off x="666522" y="1408115"/>
            <a:ext cx="10306278" cy="4819649"/>
          </a:xfrm>
          <a:prstGeom prst="rect">
            <a:avLst/>
          </a:prstGeom>
        </p:spPr>
      </p:pic>
    </p:spTree>
    <p:extLst>
      <p:ext uri="{BB962C8B-B14F-4D97-AF65-F5344CB8AC3E}">
        <p14:creationId xmlns:p14="http://schemas.microsoft.com/office/powerpoint/2010/main" val="3934127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US" b="1" dirty="0"/>
              <a:t>Geo Replication</a:t>
            </a:r>
          </a:p>
          <a:p>
            <a:pPr lvl="1"/>
            <a:r>
              <a:rPr lang="en-US" dirty="0"/>
              <a:t>Setup Geo Replication for an Azure SQL Databas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3532435"/>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pPr algn="l"/>
            <a:r>
              <a:rPr lang="en-US" dirty="0"/>
              <a:t>Configure Geo Replication for an Azure SQL Databas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a:xfrm>
            <a:off x="655320" y="3584448"/>
            <a:ext cx="4450080" cy="2643188"/>
          </a:xfrm>
        </p:spPr>
        <p:txBody>
          <a:bodyPr/>
          <a:lstStyle/>
          <a:p>
            <a:pPr marL="342900" indent="-342900">
              <a:buFont typeface="Arial" panose="020B0604020202020204" pitchFamily="34" charset="0"/>
              <a:buChar char="•"/>
            </a:pPr>
            <a:r>
              <a:rPr lang="en-US" b="1" dirty="0"/>
              <a:t>Exercise 1: </a:t>
            </a:r>
            <a:r>
              <a:rPr lang="en-US" dirty="0"/>
              <a:t>Create a Failover Group.</a:t>
            </a:r>
          </a:p>
          <a:p>
            <a:pPr marL="342900" indent="-342900">
              <a:buFont typeface="Arial" panose="020B0604020202020204" pitchFamily="34" charset="0"/>
              <a:buChar char="•"/>
            </a:pPr>
            <a:r>
              <a:rPr lang="en-US" b="1" dirty="0"/>
              <a:t>Exercise 2</a:t>
            </a:r>
            <a:r>
              <a:rPr lang="en-US" dirty="0"/>
              <a:t>: Verify the functionality of the secondary.</a:t>
            </a:r>
          </a:p>
          <a:p>
            <a:pPr marL="342900" indent="-342900">
              <a:buFont typeface="Arial" panose="020B0604020202020204" pitchFamily="34" charset="0"/>
              <a:buChar char="•"/>
            </a:pPr>
            <a:r>
              <a:rPr lang="en-US" b="1" dirty="0"/>
              <a:t>Exercise 3</a:t>
            </a:r>
            <a:r>
              <a:rPr lang="en-US" dirty="0"/>
              <a:t>: Perform a Failover.</a:t>
            </a:r>
          </a:p>
          <a:p>
            <a:pPr marL="342900" indent="-342900">
              <a:buFont typeface="Arial" panose="020B0604020202020204" pitchFamily="34" charset="0"/>
              <a:buChar char="•"/>
            </a:pPr>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9" y="2979777"/>
            <a:ext cx="8107361" cy="604798"/>
          </a:xfrm>
        </p:spPr>
        <p:txBody>
          <a:bodyPr/>
          <a:lstStyle/>
          <a:p>
            <a:r>
              <a:rPr lang="en-US" dirty="0"/>
              <a:t>Lesson 1: Business Continuity Features in Azure SQL Database</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455264299"/>
              </p:ext>
            </p:extLst>
          </p:nvPr>
        </p:nvGraphicFramePr>
        <p:xfrm>
          <a:off x="655638" y="1408113"/>
          <a:ext cx="10880725" cy="2935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0C4DDF9B-EA8A-4584-BDA7-05A385F52E7D}"/>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EFBAC271-C5E2-4127-9368-761652EECB7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Module Summary</a:t>
            </a:r>
          </a:p>
        </p:txBody>
      </p:sp>
      <p:graphicFrame>
        <p:nvGraphicFramePr>
          <p:cNvPr id="5" name="Diagram 4">
            <a:extLst>
              <a:ext uri="{FF2B5EF4-FFF2-40B4-BE49-F238E27FC236}">
                <a16:creationId xmlns:a16="http://schemas.microsoft.com/office/drawing/2014/main" id="{9D786396-8886-485A-8B68-490D282F3302}"/>
              </a:ext>
            </a:extLst>
          </p:cNvPr>
          <p:cNvGraphicFramePr/>
          <p:nvPr>
            <p:extLst>
              <p:ext uri="{D42A27DB-BD31-4B8C-83A1-F6EECF244321}">
                <p14:modId xmlns:p14="http://schemas.microsoft.com/office/powerpoint/2010/main" val="3978207329"/>
              </p:ext>
            </p:extLst>
          </p:nvPr>
        </p:nvGraphicFramePr>
        <p:xfrm>
          <a:off x="5008562" y="630238"/>
          <a:ext cx="6726237" cy="55975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15604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1FC52799-7694-4970-8E83-4D6F7BE9FA94}"/>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40779399-893A-485D-855D-4B7D1E07AEF5}"/>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graphicEl>
                                              <a:dgm id="{3F3807C8-8193-4D23-AFE3-FC50D610842C}"/>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graphicEl>
                                              <a:dgm id="{DC693925-943A-404B-9137-34B727E90154}"/>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graphicEl>
                                              <a:dgm id="{EADF2CB0-78F7-4FF9-8CB4-2B61C89CB16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various business continuity options within Azure SQL Database.</a:t>
            </a:r>
          </a:p>
          <a:p>
            <a:r>
              <a:rPr lang="en-US" dirty="0"/>
              <a:t>Understand how to copy and export Azure SQL Databases.</a:t>
            </a:r>
          </a:p>
          <a:p>
            <a:r>
              <a:rPr lang="en-US" dirty="0"/>
              <a:t>Understand how to perform a point-in-time restore.</a:t>
            </a:r>
          </a:p>
          <a:p>
            <a:r>
              <a:rPr lang="en-US" dirty="0"/>
              <a:t>Understand how to perform a restore of a deleted database.</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p:txBody>
          <a:bodyPr/>
          <a:lstStyle/>
          <a:p>
            <a:r>
              <a:rPr lang="en-US" dirty="0"/>
              <a:t>Business Continuity Problems</a:t>
            </a:r>
          </a:p>
        </p:txBody>
      </p:sp>
      <p:graphicFrame>
        <p:nvGraphicFramePr>
          <p:cNvPr id="2" name="Content Placeholder 1">
            <a:extLst>
              <a:ext uri="{FF2B5EF4-FFF2-40B4-BE49-F238E27FC236}">
                <a16:creationId xmlns:a16="http://schemas.microsoft.com/office/drawing/2014/main" id="{B50F7D6A-41E1-4F20-9CB2-6F0AEE8FC8E0}"/>
              </a:ext>
            </a:extLst>
          </p:cNvPr>
          <p:cNvGraphicFramePr>
            <a:graphicFrameLocks noGrp="1"/>
          </p:cNvGraphicFramePr>
          <p:nvPr>
            <p:ph sz="quarter" idx="13"/>
            <p:extLst>
              <p:ext uri="{D42A27DB-BD31-4B8C-83A1-F6EECF244321}">
                <p14:modId xmlns:p14="http://schemas.microsoft.com/office/powerpoint/2010/main" val="1916131314"/>
              </p:ext>
            </p:extLst>
          </p:nvPr>
        </p:nvGraphicFramePr>
        <p:xfrm>
          <a:off x="658951" y="1019175"/>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18470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p:txBody>
          <a:bodyPr/>
          <a:lstStyle/>
          <a:p>
            <a:r>
              <a:rPr lang="en-US" dirty="0"/>
              <a:t>Basic, Standard, and General-Purpose service tier availability</a:t>
            </a:r>
          </a:p>
        </p:txBody>
      </p:sp>
      <p:graphicFrame>
        <p:nvGraphicFramePr>
          <p:cNvPr id="2" name="Content Placeholder 1">
            <a:extLst>
              <a:ext uri="{FF2B5EF4-FFF2-40B4-BE49-F238E27FC236}">
                <a16:creationId xmlns:a16="http://schemas.microsoft.com/office/drawing/2014/main" id="{C90ECA4A-BE6C-46B4-BAE1-F4A3B84338BC}"/>
              </a:ext>
            </a:extLst>
          </p:cNvPr>
          <p:cNvGraphicFramePr>
            <a:graphicFrameLocks noGrp="1"/>
          </p:cNvGraphicFramePr>
          <p:nvPr>
            <p:ph sz="quarter" idx="13"/>
            <p:extLst>
              <p:ext uri="{D42A27DB-BD31-4B8C-83A1-F6EECF244321}">
                <p14:modId xmlns:p14="http://schemas.microsoft.com/office/powerpoint/2010/main" val="4129454395"/>
              </p:ext>
            </p:extLst>
          </p:nvPr>
        </p:nvGraphicFramePr>
        <p:xfrm>
          <a:off x="685455" y="1255165"/>
          <a:ext cx="62023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F97D9A63-2DBC-4F73-BFCF-9F5850F30CAD}"/>
              </a:ext>
            </a:extLst>
          </p:cNvPr>
          <p:cNvPicPr>
            <a:picLocks noChangeAspect="1"/>
          </p:cNvPicPr>
          <p:nvPr/>
        </p:nvPicPr>
        <p:blipFill>
          <a:blip r:embed="rId8"/>
          <a:stretch>
            <a:fillRect/>
          </a:stretch>
        </p:blipFill>
        <p:spPr>
          <a:xfrm>
            <a:off x="7391400" y="1567070"/>
            <a:ext cx="4343400" cy="450774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649826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p:txBody>
          <a:bodyPr/>
          <a:lstStyle/>
          <a:p>
            <a:r>
              <a:rPr lang="en-US" dirty="0"/>
              <a:t>Premium and Business Critical service tier availability</a:t>
            </a:r>
          </a:p>
        </p:txBody>
      </p:sp>
      <p:graphicFrame>
        <p:nvGraphicFramePr>
          <p:cNvPr id="99" name="Content Placeholder 98">
            <a:extLst>
              <a:ext uri="{FF2B5EF4-FFF2-40B4-BE49-F238E27FC236}">
                <a16:creationId xmlns:a16="http://schemas.microsoft.com/office/drawing/2014/main" id="{3A9774A9-2F24-4E8B-A5B4-9A9E05979F49}"/>
              </a:ext>
            </a:extLst>
          </p:cNvPr>
          <p:cNvGraphicFramePr>
            <a:graphicFrameLocks noGrp="1"/>
          </p:cNvGraphicFramePr>
          <p:nvPr>
            <p:ph sz="quarter" idx="13"/>
            <p:extLst>
              <p:ext uri="{D42A27DB-BD31-4B8C-83A1-F6EECF244321}">
                <p14:modId xmlns:p14="http://schemas.microsoft.com/office/powerpoint/2010/main" val="2310228575"/>
              </p:ext>
            </p:extLst>
          </p:nvPr>
        </p:nvGraphicFramePr>
        <p:xfrm>
          <a:off x="655638" y="1408114"/>
          <a:ext cx="71167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1AE7BF7A-3B56-4812-9A29-E9B0CCD144BA}"/>
              </a:ext>
            </a:extLst>
          </p:cNvPr>
          <p:cNvPicPr>
            <a:picLocks noChangeAspect="1"/>
          </p:cNvPicPr>
          <p:nvPr/>
        </p:nvPicPr>
        <p:blipFill>
          <a:blip r:embed="rId8"/>
          <a:stretch>
            <a:fillRect/>
          </a:stretch>
        </p:blipFill>
        <p:spPr>
          <a:xfrm>
            <a:off x="8153400" y="1981200"/>
            <a:ext cx="3533775" cy="35052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05450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2" name="TextBox 121">
            <a:extLst>
              <a:ext uri="{FF2B5EF4-FFF2-40B4-BE49-F238E27FC236}">
                <a16:creationId xmlns:a16="http://schemas.microsoft.com/office/drawing/2014/main" id="{B2C7901B-6B75-42BF-877C-4E603C76587E}"/>
              </a:ext>
            </a:extLst>
          </p:cNvPr>
          <p:cNvSpPr txBox="1"/>
          <p:nvPr/>
        </p:nvSpPr>
        <p:spPr>
          <a:xfrm>
            <a:off x="7773272" y="1471247"/>
            <a:ext cx="3837849" cy="4438138"/>
          </a:xfrm>
          <a:prstGeom prst="rect">
            <a:avLst/>
          </a:prstGeom>
          <a:noFill/>
        </p:spPr>
        <p:txBody>
          <a:bodyPr wrap="square" lIns="182880" tIns="146304" rIns="182880" bIns="146304" rtlCol="0">
            <a:spAutoFit/>
          </a:bodyPr>
          <a:lstStyle/>
          <a:p>
            <a:pPr defTabSz="932742">
              <a:lnSpc>
                <a:spcPct val="90000"/>
              </a:lnSpc>
              <a:spcAft>
                <a:spcPts val="600"/>
              </a:spcAft>
            </a:pPr>
            <a:r>
              <a:rPr lang="en-US" dirty="0">
                <a:gradFill>
                  <a:gsLst>
                    <a:gs pos="2917">
                      <a:srgbClr val="505050"/>
                    </a:gs>
                    <a:gs pos="30000">
                      <a:srgbClr val="505050"/>
                    </a:gs>
                  </a:gsLst>
                  <a:lin ang="5400000" scaled="0"/>
                </a:gradFill>
                <a:latin typeface="Segoe UI" panose="020B0502040204020203" pitchFamily="34" charset="0"/>
              </a:rPr>
              <a:t>In Hyperscale databases, data </a:t>
            </a:r>
            <a:r>
              <a:rPr lang="en-US" b="1" dirty="0">
                <a:gradFill>
                  <a:gsLst>
                    <a:gs pos="2917">
                      <a:srgbClr val="505050"/>
                    </a:gs>
                    <a:gs pos="30000">
                      <a:srgbClr val="505050"/>
                    </a:gs>
                  </a:gsLst>
                  <a:lin ang="5400000" scaled="0"/>
                </a:gradFill>
                <a:latin typeface="Segoe UI" panose="020B0502040204020203" pitchFamily="34" charset="0"/>
              </a:rPr>
              <a:t>resiliency is provided at the storage level</a:t>
            </a:r>
            <a:r>
              <a:rPr lang="en-US" dirty="0">
                <a:gradFill>
                  <a:gsLst>
                    <a:gs pos="2917">
                      <a:srgbClr val="505050"/>
                    </a:gs>
                    <a:gs pos="30000">
                      <a:srgbClr val="505050"/>
                    </a:gs>
                  </a:gsLst>
                  <a:lin ang="5400000" scaled="0"/>
                </a:gradFill>
                <a:latin typeface="Segoe UI" panose="020B0502040204020203" pitchFamily="34" charset="0"/>
              </a:rPr>
              <a:t>. When the compute replica is down, a new replica is created automatically with no data loss.</a:t>
            </a:r>
          </a:p>
          <a:p>
            <a:pPr defTabSz="932742">
              <a:lnSpc>
                <a:spcPct val="90000"/>
              </a:lnSpc>
              <a:spcAft>
                <a:spcPts val="600"/>
              </a:spcAft>
            </a:pPr>
            <a:endParaRPr lang="en-US" dirty="0">
              <a:gradFill>
                <a:gsLst>
                  <a:gs pos="2917">
                    <a:srgbClr val="505050"/>
                  </a:gs>
                  <a:gs pos="30000">
                    <a:srgbClr val="505050"/>
                  </a:gs>
                </a:gsLst>
                <a:lin ang="5400000" scaled="0"/>
              </a:gradFill>
              <a:latin typeface="Segoe UI" panose="020B0502040204020203" pitchFamily="34" charset="0"/>
            </a:endParaRPr>
          </a:p>
          <a:p>
            <a:pPr defTabSz="932742">
              <a:lnSpc>
                <a:spcPct val="90000"/>
              </a:lnSpc>
              <a:spcAft>
                <a:spcPts val="600"/>
              </a:spcAft>
            </a:pPr>
            <a:r>
              <a:rPr lang="en-US" dirty="0">
                <a:gradFill>
                  <a:gsLst>
                    <a:gs pos="2917">
                      <a:srgbClr val="505050"/>
                    </a:gs>
                    <a:gs pos="30000">
                      <a:srgbClr val="505050"/>
                    </a:gs>
                  </a:gsLst>
                  <a:lin ang="5400000" scaled="0"/>
                </a:gradFill>
                <a:latin typeface="Segoe UI" panose="020B0502040204020203" pitchFamily="34" charset="0"/>
              </a:rPr>
              <a:t>However, if there’s only one replica, it may take some time to build the local cache in the new replica after failover. During the cache rebuild phase, </a:t>
            </a:r>
            <a:r>
              <a:rPr lang="en-US" b="1" dirty="0">
                <a:gradFill>
                  <a:gsLst>
                    <a:gs pos="2917">
                      <a:srgbClr val="505050"/>
                    </a:gs>
                    <a:gs pos="30000">
                      <a:srgbClr val="505050"/>
                    </a:gs>
                  </a:gsLst>
                  <a:lin ang="5400000" scaled="0"/>
                </a:gradFill>
                <a:latin typeface="Segoe UI" panose="020B0502040204020203" pitchFamily="34" charset="0"/>
              </a:rPr>
              <a:t>the database fetches data directly from the page servers</a:t>
            </a:r>
            <a:r>
              <a:rPr lang="en-US" dirty="0">
                <a:gradFill>
                  <a:gsLst>
                    <a:gs pos="2917">
                      <a:srgbClr val="505050"/>
                    </a:gs>
                    <a:gs pos="30000">
                      <a:srgbClr val="505050"/>
                    </a:gs>
                  </a:gsLst>
                  <a:lin ang="5400000" scaled="0"/>
                </a:gradFill>
                <a:latin typeface="Segoe UI" panose="020B0502040204020203" pitchFamily="34" charset="0"/>
              </a:rPr>
              <a:t>, resulting in </a:t>
            </a:r>
            <a:r>
              <a:rPr lang="en-US" b="1" dirty="0">
                <a:gradFill>
                  <a:gsLst>
                    <a:gs pos="2917">
                      <a:srgbClr val="505050"/>
                    </a:gs>
                    <a:gs pos="30000">
                      <a:srgbClr val="505050"/>
                    </a:gs>
                  </a:gsLst>
                  <a:lin ang="5400000" scaled="0"/>
                </a:gradFill>
                <a:latin typeface="Segoe UI" panose="020B0502040204020203" pitchFamily="34" charset="0"/>
              </a:rPr>
              <a:t>higher storage latency and degraded query performance</a:t>
            </a:r>
            <a:r>
              <a:rPr lang="en-US" dirty="0">
                <a:gradFill>
                  <a:gsLst>
                    <a:gs pos="2917">
                      <a:srgbClr val="505050"/>
                    </a:gs>
                    <a:gs pos="30000">
                      <a:srgbClr val="505050"/>
                    </a:gs>
                  </a:gsLst>
                  <a:lin ang="5400000" scaled="0"/>
                </a:gradFill>
                <a:latin typeface="Segoe UI" panose="020B0502040204020203" pitchFamily="34" charset="0"/>
              </a:rPr>
              <a:t>.</a:t>
            </a:r>
          </a:p>
        </p:txBody>
      </p:sp>
      <p:sp>
        <p:nvSpPr>
          <p:cNvPr id="5" name="Title 4">
            <a:extLst>
              <a:ext uri="{FF2B5EF4-FFF2-40B4-BE49-F238E27FC236}">
                <a16:creationId xmlns:a16="http://schemas.microsoft.com/office/drawing/2014/main" id="{EE1AC3C7-034D-4D76-8A4B-7B32534D1BDE}"/>
              </a:ext>
            </a:extLst>
          </p:cNvPr>
          <p:cNvSpPr>
            <a:spLocks noGrp="1"/>
          </p:cNvSpPr>
          <p:nvPr>
            <p:ph type="title"/>
          </p:nvPr>
        </p:nvSpPr>
        <p:spPr/>
        <p:txBody>
          <a:bodyPr/>
          <a:lstStyle/>
          <a:p>
            <a:r>
              <a:rPr lang="en-US" dirty="0"/>
              <a:t>Hyperscale High Availability</a:t>
            </a:r>
          </a:p>
        </p:txBody>
      </p:sp>
      <p:sp>
        <p:nvSpPr>
          <p:cNvPr id="123" name="TextBox 122">
            <a:extLst>
              <a:ext uri="{FF2B5EF4-FFF2-40B4-BE49-F238E27FC236}">
                <a16:creationId xmlns:a16="http://schemas.microsoft.com/office/drawing/2014/main" id="{4F8F6952-11A9-4B23-AAE4-50DF063546AB}"/>
              </a:ext>
            </a:extLst>
          </p:cNvPr>
          <p:cNvSpPr txBox="1"/>
          <p:nvPr/>
        </p:nvSpPr>
        <p:spPr>
          <a:xfrm>
            <a:off x="7724217" y="2440755"/>
            <a:ext cx="3812145" cy="2539157"/>
          </a:xfrm>
          <a:prstGeom prst="rect">
            <a:avLst/>
          </a:prstGeom>
          <a:noFill/>
        </p:spPr>
        <p:txBody>
          <a:bodyPr wrap="square" lIns="182880" tIns="146304" rIns="182880" bIns="146304" rtlCol="0">
            <a:spAutoFit/>
          </a:bodyPr>
          <a:lstStyle/>
          <a:p>
            <a:pPr defTabSz="932742">
              <a:lnSpc>
                <a:spcPct val="90000"/>
              </a:lnSpc>
              <a:spcAft>
                <a:spcPts val="600"/>
              </a:spcAft>
            </a:pPr>
            <a:r>
              <a:rPr lang="en-US" dirty="0">
                <a:gradFill>
                  <a:gsLst>
                    <a:gs pos="2917">
                      <a:srgbClr val="505050"/>
                    </a:gs>
                    <a:gs pos="30000">
                      <a:srgbClr val="505050"/>
                    </a:gs>
                  </a:gsLst>
                  <a:lin ang="5400000" scaled="0"/>
                </a:gradFill>
                <a:latin typeface="Segoe UI" panose="020B0502040204020203" pitchFamily="34" charset="0"/>
              </a:rPr>
              <a:t>For mission-critical apps that require high availability with minimal failover impact, you should </a:t>
            </a:r>
            <a:r>
              <a:rPr lang="en-US" b="1" dirty="0">
                <a:gradFill>
                  <a:gsLst>
                    <a:gs pos="2917">
                      <a:srgbClr val="505050"/>
                    </a:gs>
                    <a:gs pos="30000">
                      <a:srgbClr val="505050"/>
                    </a:gs>
                  </a:gsLst>
                  <a:lin ang="5400000" scaled="0"/>
                </a:gradFill>
                <a:latin typeface="Segoe UI" panose="020B0502040204020203" pitchFamily="34" charset="0"/>
              </a:rPr>
              <a:t>provision at least 2 compute replicas </a:t>
            </a:r>
            <a:r>
              <a:rPr lang="en-US" dirty="0">
                <a:gradFill>
                  <a:gsLst>
                    <a:gs pos="2917">
                      <a:srgbClr val="505050"/>
                    </a:gs>
                    <a:gs pos="30000">
                      <a:srgbClr val="505050"/>
                    </a:gs>
                  </a:gsLst>
                  <a:lin ang="5400000" scaled="0"/>
                </a:gradFill>
                <a:latin typeface="Segoe UI" panose="020B0502040204020203" pitchFamily="34" charset="0"/>
              </a:rPr>
              <a:t>including the primary compute replica. That way there is a </a:t>
            </a:r>
            <a:r>
              <a:rPr lang="en-US" b="1" dirty="0">
                <a:gradFill>
                  <a:gsLst>
                    <a:gs pos="2917">
                      <a:srgbClr val="505050"/>
                    </a:gs>
                    <a:gs pos="30000">
                      <a:srgbClr val="505050"/>
                    </a:gs>
                  </a:gsLst>
                  <a:lin ang="5400000" scaled="0"/>
                </a:gradFill>
                <a:latin typeface="Segoe UI" panose="020B0502040204020203" pitchFamily="34" charset="0"/>
              </a:rPr>
              <a:t>hot-standby </a:t>
            </a:r>
            <a:r>
              <a:rPr lang="en-US" dirty="0">
                <a:gradFill>
                  <a:gsLst>
                    <a:gs pos="2917">
                      <a:srgbClr val="505050"/>
                    </a:gs>
                    <a:gs pos="30000">
                      <a:srgbClr val="505050"/>
                    </a:gs>
                  </a:gsLst>
                  <a:lin ang="5400000" scaled="0"/>
                </a:gradFill>
                <a:latin typeface="Segoe UI" panose="020B0502040204020203" pitchFamily="34" charset="0"/>
              </a:rPr>
              <a:t>replica available that serves as a failover target.</a:t>
            </a:r>
          </a:p>
        </p:txBody>
      </p:sp>
      <p:pic>
        <p:nvPicPr>
          <p:cNvPr id="6" name="Picture 5">
            <a:extLst>
              <a:ext uri="{FF2B5EF4-FFF2-40B4-BE49-F238E27FC236}">
                <a16:creationId xmlns:a16="http://schemas.microsoft.com/office/drawing/2014/main" id="{A44A5ECC-13D3-4F0A-9896-EB47436A376B}"/>
              </a:ext>
            </a:extLst>
          </p:cNvPr>
          <p:cNvPicPr>
            <a:picLocks noChangeAspect="1"/>
          </p:cNvPicPr>
          <p:nvPr/>
        </p:nvPicPr>
        <p:blipFill>
          <a:blip r:embed="rId3"/>
          <a:stretch>
            <a:fillRect/>
          </a:stretch>
        </p:blipFill>
        <p:spPr>
          <a:xfrm>
            <a:off x="642785" y="1699591"/>
            <a:ext cx="7019925" cy="3981450"/>
          </a:xfrm>
          <a:prstGeom prst="rect">
            <a:avLst/>
          </a:prstGeom>
        </p:spPr>
      </p:pic>
    </p:spTree>
    <p:extLst>
      <p:ext uri="{BB962C8B-B14F-4D97-AF65-F5344CB8AC3E}">
        <p14:creationId xmlns:p14="http://schemas.microsoft.com/office/powerpoint/2010/main" val="775669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1" nodeType="clickEffect">
                                  <p:stCondLst>
                                    <p:cond delay="0"/>
                                  </p:stCondLst>
                                  <p:childTnLst>
                                    <p:animEffect transition="out" filter="fade">
                                      <p:cBhvr>
                                        <p:cTn id="10" dur="500"/>
                                        <p:tgtEl>
                                          <p:spTgt spid="122"/>
                                        </p:tgtEl>
                                      </p:cBhvr>
                                    </p:animEffect>
                                    <p:set>
                                      <p:cBhvr>
                                        <p:cTn id="11" dur="1" fill="hold">
                                          <p:stCondLst>
                                            <p:cond delay="499"/>
                                          </p:stCondLst>
                                        </p:cTn>
                                        <p:tgtEl>
                                          <p:spTgt spid="122"/>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p:bldP spid="122" grpId="1"/>
      <p:bldP spid="123" grpId="0"/>
    </p:bldLst>
  </p:timing>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mso-contentType ?>
<FormTemplates xmlns="http://schemas.microsoft.com/sharepoint/v3/contenttype/forms">
  <Display>DocumentLibraryForm</Display>
  <Edit>DocumentLibraryForm</Edit>
  <New>DocumentLibraryForm</New>
</FormTemplates>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0b15a96f-9efd-4f0c-b199-c53b2a01cb9d" xsi:nil="true"/>
    <_Flow_SignoffStatus xmlns="0b15a96f-9efd-4f0c-b199-c53b2a01cb9d" xsi:nil="true"/>
  </documentManagement>
</p:properties>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4" ma:contentTypeDescription="Create a new document." ma:contentTypeScope="" ma:versionID="1df681d697d8aac7f77a088f07a7b417">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5129d515aaa5dedb4e6d2d94ccbda6ba"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Flow_SignoffStatus" ma:index="21"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2361C0D1-ADD7-40E9-90E9-71E1ECA9843B}">
  <ds:schemaRefs>
    <ds:schemaRef ds:uri="Strauss.PersonalizationDefinition"/>
  </ds:schemaRefs>
</ds:datastoreItem>
</file>

<file path=customXml/itemProps10.xml><?xml version="1.0" encoding="utf-8"?>
<ds:datastoreItem xmlns:ds="http://schemas.openxmlformats.org/officeDocument/2006/customXml" ds:itemID="{9CFE9A22-C3CB-45B7-B365-FE59FD6BB66B}">
  <ds:schemaRefs>
    <ds:schemaRef ds:uri="Strauss.PersonalizationDefinition"/>
  </ds:schemaRefs>
</ds:datastoreItem>
</file>

<file path=customXml/itemProps11.xml><?xml version="1.0" encoding="utf-8"?>
<ds:datastoreItem xmlns:ds="http://schemas.openxmlformats.org/officeDocument/2006/customXml" ds:itemID="{CABB132F-6A91-4948-84C3-38F2A2D81997}">
  <ds:schemaRefs>
    <ds:schemaRef ds:uri="http://schemas.microsoft.com/sharepoint/v3/contenttype/forms"/>
  </ds:schemaRefs>
</ds:datastoreItem>
</file>

<file path=customXml/itemProps2.xml><?xml version="1.0" encoding="utf-8"?>
<ds:datastoreItem xmlns:ds="http://schemas.openxmlformats.org/officeDocument/2006/customXml" ds:itemID="{7C42A160-080E-4178-8FDB-B5422D4D778A}">
  <ds:schemaRefs>
    <ds:schemaRef ds:uri="Strauss.PersonalizationDefinition"/>
  </ds:schemaRefs>
</ds:datastoreItem>
</file>

<file path=customXml/itemProps3.xml><?xml version="1.0" encoding="utf-8"?>
<ds:datastoreItem xmlns:ds="http://schemas.openxmlformats.org/officeDocument/2006/customXml" ds:itemID="{75081501-3553-4AD4-B536-1F552725C1E4}">
  <ds:schemaRefs>
    <ds:schemaRef ds:uri="http://schemas.microsoft.com/office/2006/metadata/properties"/>
    <ds:schemaRef ds:uri="http://schemas.microsoft.com/office/infopath/2007/PartnerControls"/>
    <ds:schemaRef ds:uri="http://schemas.microsoft.com/sharepoint/v3"/>
    <ds:schemaRef ds:uri="0b15a96f-9efd-4f0c-b199-c53b2a01cb9d"/>
  </ds:schemaRefs>
</ds:datastoreItem>
</file>

<file path=customXml/itemProps4.xml><?xml version="1.0" encoding="utf-8"?>
<ds:datastoreItem xmlns:ds="http://schemas.openxmlformats.org/officeDocument/2006/customXml" ds:itemID="{57D4A26D-4C9D-4855-BD2B-D10D69A37001}">
  <ds:schemaRefs>
    <ds:schemaRef ds:uri="Strauss.PersonalizationDefinition"/>
  </ds:schemaRefs>
</ds:datastoreItem>
</file>

<file path=customXml/itemProps5.xml><?xml version="1.0" encoding="utf-8"?>
<ds:datastoreItem xmlns:ds="http://schemas.openxmlformats.org/officeDocument/2006/customXml" ds:itemID="{9EEC7FED-AC7D-45C9-8F29-C2C8A7233C3D}">
  <ds:schemaRefs>
    <ds:schemaRef ds:uri="Strauss.PersonalizationDefinition"/>
  </ds:schemaRefs>
</ds:datastoreItem>
</file>

<file path=customXml/itemProps6.xml><?xml version="1.0" encoding="utf-8"?>
<ds:datastoreItem xmlns:ds="http://schemas.openxmlformats.org/officeDocument/2006/customXml" ds:itemID="{75C05EC8-D295-4080-807A-6EA8C339A657}">
  <ds:schemaRefs>
    <ds:schemaRef ds:uri="Strauss.PersonalizationDefinition"/>
  </ds:schemaRefs>
</ds:datastoreItem>
</file>

<file path=customXml/itemProps7.xml><?xml version="1.0" encoding="utf-8"?>
<ds:datastoreItem xmlns:ds="http://schemas.openxmlformats.org/officeDocument/2006/customXml" ds:itemID="{404105A3-1210-4043-98B3-6FD10072A2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EBCC33FC-94BB-4B1D-A4C6-D2E6A3A4B1FD}">
  <ds:schemaRefs>
    <ds:schemaRef ds:uri="Strauss.PersonalizationDefinition"/>
  </ds:schemaRefs>
</ds:datastoreItem>
</file>

<file path=customXml/itemProps9.xml><?xml version="1.0" encoding="utf-8"?>
<ds:datastoreItem xmlns:ds="http://schemas.openxmlformats.org/officeDocument/2006/customXml" ds:itemID="{CD086AF5-CCD3-41C8-B98A-2B159789D38E}">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740</TotalTime>
  <Words>9396</Words>
  <Application>Microsoft Office PowerPoint</Application>
  <PresentationFormat>Widescreen</PresentationFormat>
  <Paragraphs>537</Paragraphs>
  <Slides>42</Slides>
  <Notes>36</Notes>
  <HiddenSlides>6</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2</vt:i4>
      </vt:variant>
    </vt:vector>
  </HeadingPairs>
  <TitlesOfParts>
    <vt:vector size="52" baseType="lpstr">
      <vt:lpstr>Arial</vt:lpstr>
      <vt:lpstr>Calibri Light</vt:lpstr>
      <vt:lpstr>Comic Sans MS</vt:lpstr>
      <vt:lpstr>Consolas</vt:lpstr>
      <vt:lpstr>Segoe UI</vt:lpstr>
      <vt:lpstr>Segoe UI Light</vt:lpstr>
      <vt:lpstr>Segoe UI Semibold</vt:lpstr>
      <vt:lpstr>Segoe UI Semilight</vt:lpstr>
      <vt:lpstr>Wingdings</vt:lpstr>
      <vt:lpstr>Dark Blue</vt:lpstr>
      <vt:lpstr>Azure SQL Database Business Continuity</vt:lpstr>
      <vt:lpstr>PowerPoint Presentation</vt:lpstr>
      <vt:lpstr>Learning Units covered in this Module</vt:lpstr>
      <vt:lpstr>Lesson 1: Business Continuity Features in Azure SQL Database</vt:lpstr>
      <vt:lpstr>Objectives</vt:lpstr>
      <vt:lpstr>Business Continuity Problems</vt:lpstr>
      <vt:lpstr>Basic, Standard, and General-Purpose service tier availability</vt:lpstr>
      <vt:lpstr>Premium and Business Critical service tier availability</vt:lpstr>
      <vt:lpstr>Hyperscale High Availability</vt:lpstr>
      <vt:lpstr>Zone redundant configuration</vt:lpstr>
      <vt:lpstr>Automatic Backups</vt:lpstr>
      <vt:lpstr>Azure SQL Database Backup Retention Periods</vt:lpstr>
      <vt:lpstr>How to change backup retention period</vt:lpstr>
      <vt:lpstr>Extending the Retention Period</vt:lpstr>
      <vt:lpstr>How SQL Database long-term retention works</vt:lpstr>
      <vt:lpstr>Hyperscale Backup &amp; Restore</vt:lpstr>
      <vt:lpstr>Demonstration</vt:lpstr>
      <vt:lpstr>Copy &amp; Export</vt:lpstr>
      <vt:lpstr>Point In Time Restore</vt:lpstr>
      <vt:lpstr>Recover an Azure SQL database by using automated database backups</vt:lpstr>
      <vt:lpstr>Restore Deleted Database</vt:lpstr>
      <vt:lpstr>Factors Affecting Recovery Time</vt:lpstr>
      <vt:lpstr>Demonstration</vt:lpstr>
      <vt:lpstr>Point in time restore of an Azure SQL Database</vt:lpstr>
      <vt:lpstr>Questions?</vt:lpstr>
      <vt:lpstr>Knowledge Check</vt:lpstr>
      <vt:lpstr>Lesson 2: Disaster Recovery Features in Azure SQL Database</vt:lpstr>
      <vt:lpstr>Objectives</vt:lpstr>
      <vt:lpstr>Geo-Restore </vt:lpstr>
      <vt:lpstr>Active Geo-replication </vt:lpstr>
      <vt:lpstr>Active geo-replication capabilities</vt:lpstr>
      <vt:lpstr>Failover groups extend geo-replication</vt:lpstr>
      <vt:lpstr>Auto-failover group capabilities</vt:lpstr>
      <vt:lpstr>Accelerated Database Recovery (ADR)</vt:lpstr>
      <vt:lpstr>Accelerated Database Recovery – without ADR</vt:lpstr>
      <vt:lpstr>Accelerated Database Recovery – with ADR</vt:lpstr>
      <vt:lpstr>Demonstration</vt:lpstr>
      <vt:lpstr>Configure Geo Replication for an Azure SQL Database</vt:lpstr>
      <vt:lpstr>Questions?</vt:lpstr>
      <vt:lpstr>Knowledge Check</vt:lpstr>
      <vt:lpstr>Module 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52</cp:revision>
  <dcterms:created xsi:type="dcterms:W3CDTF">2019-08-12T16:24:54Z</dcterms:created>
  <dcterms:modified xsi:type="dcterms:W3CDTF">2022-01-19T10:0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